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theme/theme3.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7.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8.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0.xml" ContentType="application/vnd.openxmlformats-officedocument.theme+xml"/>
  <Override PartName="/ppt/slideLayouts/slideLayout141.xml" ContentType="application/vnd.openxmlformats-officedocument.presentationml.slideLayout+xml"/>
  <Override PartName="/ppt/theme/theme11.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2.xml" ContentType="application/vnd.openxmlformats-officedocument.theme+xml"/>
  <Override PartName="/ppt/tags/tag2.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notesSlides/notesSlide14.xml" ContentType="application/vnd.openxmlformats-officedocument.presentationml.notesSlide+xml"/>
  <Override PartName="/ppt/tags/tag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560" r:id="rId4"/>
    <p:sldMasterId id="2147486605" r:id="rId5"/>
    <p:sldMasterId id="2147486657" r:id="rId6"/>
    <p:sldMasterId id="2147486662" r:id="rId7"/>
    <p:sldMasterId id="2147486760" r:id="rId8"/>
    <p:sldMasterId id="2147483911" r:id="rId9"/>
    <p:sldMasterId id="2147485154" r:id="rId10"/>
    <p:sldMasterId id="2147493371" r:id="rId11"/>
    <p:sldMasterId id="2147493387" r:id="rId12"/>
    <p:sldMasterId id="2147493393" r:id="rId13"/>
    <p:sldMasterId id="2147483684" r:id="rId14"/>
    <p:sldMasterId id="2147493408" r:id="rId15"/>
    <p:sldMasterId id="2147493440" r:id="rId16"/>
  </p:sldMasterIdLst>
  <p:notesMasterIdLst>
    <p:notesMasterId r:id="rId41"/>
  </p:notesMasterIdLst>
  <p:sldIdLst>
    <p:sldId id="2076138468" r:id="rId17"/>
    <p:sldId id="2076137113" r:id="rId18"/>
    <p:sldId id="259" r:id="rId19"/>
    <p:sldId id="258" r:id="rId20"/>
    <p:sldId id="2076138469" r:id="rId21"/>
    <p:sldId id="2076138464" r:id="rId22"/>
    <p:sldId id="2134805064" r:id="rId23"/>
    <p:sldId id="2134805065" r:id="rId24"/>
    <p:sldId id="2134805066" r:id="rId25"/>
    <p:sldId id="2076138470" r:id="rId26"/>
    <p:sldId id="2076137116" r:id="rId27"/>
    <p:sldId id="2076137117" r:id="rId28"/>
    <p:sldId id="2076137118" r:id="rId29"/>
    <p:sldId id="2076137122" r:id="rId30"/>
    <p:sldId id="2076137119" r:id="rId31"/>
    <p:sldId id="2076138471" r:id="rId32"/>
    <p:sldId id="2134805038" r:id="rId33"/>
    <p:sldId id="2134805053" r:id="rId34"/>
    <p:sldId id="2134805054" r:id="rId35"/>
    <p:sldId id="2134805055" r:id="rId36"/>
    <p:sldId id="2076136866" r:id="rId37"/>
    <p:sldId id="2134805062" r:id="rId38"/>
    <p:sldId id="2076138472" r:id="rId39"/>
    <p:sldId id="2076138474"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129B63-1A49-421C-8E17-39BA78C04D03}" v="12" dt="2020-06-25T15:03:32.880"/>
    <p1510:client id="{2AFE1EE9-4BFE-425F-9112-2BC682F0273A}" v="2515" dt="2020-06-26T07:25:50.815"/>
    <p1510:client id="{4164E4B5-3F14-49D0-BED8-005D632963F8}" v="720" dt="2020-06-26T06:50:58.207"/>
    <p1510:client id="{4BBA370A-3BCE-43DB-B2F2-BD4E6345EB3D}" v="878" dt="2020-06-26T08:05:32.643"/>
    <p1510:client id="{EEABC871-E53E-4DAE-9AF4-540032E91333}" v="126" dt="2020-06-26T05:18:29.550"/>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microsoft.com/office/2016/11/relationships/changesInfo" Target="changesInfos/changesInfo1.xml"/><Relationship Id="rId20" Type="http://schemas.openxmlformats.org/officeDocument/2006/relationships/slide" Target="slides/slide4.xml"/><Relationship Id="rId41"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zabolcs Lippe" userId="S::slippe@microsoft.com::60ab914d-7da0-4594-b174-98427b7ed644" providerId="AD" clId="Web-{6E64B743-8BCC-2EDE-E03A-780F6C753344}"/>
    <pc:docChg chg="modSld">
      <pc:chgData name="Szabolcs Lippe" userId="S::slippe@microsoft.com::60ab914d-7da0-4594-b174-98427b7ed644" providerId="AD" clId="Web-{6E64B743-8BCC-2EDE-E03A-780F6C753344}" dt="2020-06-25T07:40:56.934" v="401" actId="20577"/>
      <pc:docMkLst>
        <pc:docMk/>
      </pc:docMkLst>
      <pc:sldChg chg="modSp">
        <pc:chgData name="Szabolcs Lippe" userId="S::slippe@microsoft.com::60ab914d-7da0-4594-b174-98427b7ed644" providerId="AD" clId="Web-{6E64B743-8BCC-2EDE-E03A-780F6C753344}" dt="2020-06-25T07:40:56.934" v="400" actId="20577"/>
        <pc:sldMkLst>
          <pc:docMk/>
          <pc:sldMk cId="484947355" sldId="2076137113"/>
        </pc:sldMkLst>
        <pc:spChg chg="mod">
          <ac:chgData name="Szabolcs Lippe" userId="S::slippe@microsoft.com::60ab914d-7da0-4594-b174-98427b7ed644" providerId="AD" clId="Web-{6E64B743-8BCC-2EDE-E03A-780F6C753344}" dt="2020-06-25T07:40:56.934" v="400" actId="20577"/>
          <ac:spMkLst>
            <pc:docMk/>
            <pc:sldMk cId="484947355" sldId="2076137113"/>
            <ac:spMk id="3" creationId="{59B37F65-A65B-4C39-AC76-75D5E701E696}"/>
          </ac:spMkLst>
        </pc:spChg>
      </pc:sldChg>
    </pc:docChg>
  </pc:docChgLst>
  <pc:docChgLst>
    <pc:chgData name="Tomas Pavlu" userId="21c870a1-123a-4582-9a47-5c5e69fc8e38" providerId="ADAL" clId="{17129B63-1A49-421C-8E17-39BA78C04D03}"/>
    <pc:docChg chg="delSld modSld">
      <pc:chgData name="Tomas Pavlu" userId="21c870a1-123a-4582-9a47-5c5e69fc8e38" providerId="ADAL" clId="{17129B63-1A49-421C-8E17-39BA78C04D03}" dt="2020-06-25T15:03:32.880" v="7" actId="1076"/>
      <pc:docMkLst>
        <pc:docMk/>
      </pc:docMkLst>
      <pc:sldChg chg="modSp mod">
        <pc:chgData name="Tomas Pavlu" userId="21c870a1-123a-4582-9a47-5c5e69fc8e38" providerId="ADAL" clId="{17129B63-1A49-421C-8E17-39BA78C04D03}" dt="2020-06-25T15:03:32.880" v="7" actId="1076"/>
        <pc:sldMkLst>
          <pc:docMk/>
          <pc:sldMk cId="454745434" sldId="2076138471"/>
        </pc:sldMkLst>
        <pc:spChg chg="mod">
          <ac:chgData name="Tomas Pavlu" userId="21c870a1-123a-4582-9a47-5c5e69fc8e38" providerId="ADAL" clId="{17129B63-1A49-421C-8E17-39BA78C04D03}" dt="2020-06-25T15:03:32.880" v="7" actId="1076"/>
          <ac:spMkLst>
            <pc:docMk/>
            <pc:sldMk cId="454745434" sldId="2076138471"/>
            <ac:spMk id="9" creationId="{6CF67FE7-FDF2-485E-920B-C579DAED9632}"/>
          </ac:spMkLst>
        </pc:spChg>
      </pc:sldChg>
      <pc:sldChg chg="del">
        <pc:chgData name="Tomas Pavlu" userId="21c870a1-123a-4582-9a47-5c5e69fc8e38" providerId="ADAL" clId="{17129B63-1A49-421C-8E17-39BA78C04D03}" dt="2020-06-25T14:37:47.944" v="0" actId="47"/>
        <pc:sldMkLst>
          <pc:docMk/>
          <pc:sldMk cId="3361435658" sldId="2076138473"/>
        </pc:sldMkLst>
      </pc:sldChg>
    </pc:docChg>
  </pc:docChgLst>
  <pc:docChgLst>
    <pc:chgData name="Peter Kuna" userId="7390eacb-db33-4931-a7e3-c9002f6a3a83" providerId="ADAL" clId="{EEABC871-E53E-4DAE-9AF4-540032E91333}"/>
    <pc:docChg chg="custSel addSld delSld modSld">
      <pc:chgData name="Peter Kuna" userId="7390eacb-db33-4931-a7e3-c9002f6a3a83" providerId="ADAL" clId="{EEABC871-E53E-4DAE-9AF4-540032E91333}" dt="2020-06-25T07:48:52.648" v="118" actId="47"/>
      <pc:docMkLst>
        <pc:docMk/>
      </pc:docMkLst>
      <pc:sldChg chg="modSp add mod">
        <pc:chgData name="Peter Kuna" userId="7390eacb-db33-4931-a7e3-c9002f6a3a83" providerId="ADAL" clId="{EEABC871-E53E-4DAE-9AF4-540032E91333}" dt="2020-06-25T07:42:24.039" v="28" actId="20577"/>
        <pc:sldMkLst>
          <pc:docMk/>
          <pc:sldMk cId="1298655023" sldId="2076137116"/>
        </pc:sldMkLst>
        <pc:spChg chg="mod">
          <ac:chgData name="Peter Kuna" userId="7390eacb-db33-4931-a7e3-c9002f6a3a83" providerId="ADAL" clId="{EEABC871-E53E-4DAE-9AF4-540032E91333}" dt="2020-06-25T07:42:24.039" v="28" actId="20577"/>
          <ac:spMkLst>
            <pc:docMk/>
            <pc:sldMk cId="1298655023" sldId="2076137116"/>
            <ac:spMk id="2" creationId="{52F46A5A-F333-4CA2-A850-0D6D21573DC7}"/>
          </ac:spMkLst>
        </pc:spChg>
      </pc:sldChg>
      <pc:sldChg chg="modSp add mod">
        <pc:chgData name="Peter Kuna" userId="7390eacb-db33-4931-a7e3-c9002f6a3a83" providerId="ADAL" clId="{EEABC871-E53E-4DAE-9AF4-540032E91333}" dt="2020-06-25T07:42:28.763" v="29" actId="14100"/>
        <pc:sldMkLst>
          <pc:docMk/>
          <pc:sldMk cId="1934583575" sldId="2076137117"/>
        </pc:sldMkLst>
        <pc:spChg chg="mod">
          <ac:chgData name="Peter Kuna" userId="7390eacb-db33-4931-a7e3-c9002f6a3a83" providerId="ADAL" clId="{EEABC871-E53E-4DAE-9AF4-540032E91333}" dt="2020-06-25T07:42:28.763" v="29" actId="14100"/>
          <ac:spMkLst>
            <pc:docMk/>
            <pc:sldMk cId="1934583575" sldId="2076137117"/>
            <ac:spMk id="23" creationId="{E4EB9DD4-631C-4B63-90E6-2AC021DA6C03}"/>
          </ac:spMkLst>
        </pc:spChg>
      </pc:sldChg>
      <pc:sldChg chg="modSp add mod">
        <pc:chgData name="Peter Kuna" userId="7390eacb-db33-4931-a7e3-c9002f6a3a83" providerId="ADAL" clId="{EEABC871-E53E-4DAE-9AF4-540032E91333}" dt="2020-06-25T07:42:32.909" v="30" actId="14100"/>
        <pc:sldMkLst>
          <pc:docMk/>
          <pc:sldMk cId="60975120" sldId="2076137118"/>
        </pc:sldMkLst>
        <pc:spChg chg="mod">
          <ac:chgData name="Peter Kuna" userId="7390eacb-db33-4931-a7e3-c9002f6a3a83" providerId="ADAL" clId="{EEABC871-E53E-4DAE-9AF4-540032E91333}" dt="2020-06-25T07:42:32.909" v="30" actId="14100"/>
          <ac:spMkLst>
            <pc:docMk/>
            <pc:sldMk cId="60975120" sldId="2076137118"/>
            <ac:spMk id="23" creationId="{E4EB9DD4-631C-4B63-90E6-2AC021DA6C03}"/>
          </ac:spMkLst>
        </pc:spChg>
      </pc:sldChg>
      <pc:sldChg chg="modSp add mod">
        <pc:chgData name="Peter Kuna" userId="7390eacb-db33-4931-a7e3-c9002f6a3a83" providerId="ADAL" clId="{EEABC871-E53E-4DAE-9AF4-540032E91333}" dt="2020-06-25T07:42:36.412" v="31" actId="14100"/>
        <pc:sldMkLst>
          <pc:docMk/>
          <pc:sldMk cId="2561438837" sldId="2076137119"/>
        </pc:sldMkLst>
        <pc:spChg chg="mod">
          <ac:chgData name="Peter Kuna" userId="7390eacb-db33-4931-a7e3-c9002f6a3a83" providerId="ADAL" clId="{EEABC871-E53E-4DAE-9AF4-540032E91333}" dt="2020-06-25T07:42:36.412" v="31" actId="14100"/>
          <ac:spMkLst>
            <pc:docMk/>
            <pc:sldMk cId="2561438837" sldId="2076137119"/>
            <ac:spMk id="23" creationId="{E4EB9DD4-631C-4B63-90E6-2AC021DA6C03}"/>
          </ac:spMkLst>
        </pc:spChg>
      </pc:sldChg>
      <pc:sldChg chg="modSp add del mod">
        <pc:chgData name="Peter Kuna" userId="7390eacb-db33-4931-a7e3-c9002f6a3a83" providerId="ADAL" clId="{EEABC871-E53E-4DAE-9AF4-540032E91333}" dt="2020-06-25T07:48:52.648" v="118" actId="47"/>
        <pc:sldMkLst>
          <pc:docMk/>
          <pc:sldMk cId="438989686" sldId="2076137120"/>
        </pc:sldMkLst>
        <pc:spChg chg="mod">
          <ac:chgData name="Peter Kuna" userId="7390eacb-db33-4931-a7e3-c9002f6a3a83" providerId="ADAL" clId="{EEABC871-E53E-4DAE-9AF4-540032E91333}" dt="2020-06-25T07:42:39.935" v="32" actId="14100"/>
          <ac:spMkLst>
            <pc:docMk/>
            <pc:sldMk cId="438989686" sldId="2076137120"/>
            <ac:spMk id="23" creationId="{E4EB9DD4-631C-4B63-90E6-2AC021DA6C03}"/>
          </ac:spMkLst>
        </pc:spChg>
      </pc:sldChg>
      <pc:sldChg chg="modSp add mod">
        <pc:chgData name="Peter Kuna" userId="7390eacb-db33-4931-a7e3-c9002f6a3a83" providerId="ADAL" clId="{EEABC871-E53E-4DAE-9AF4-540032E91333}" dt="2020-06-25T07:45:57.787" v="117" actId="113"/>
        <pc:sldMkLst>
          <pc:docMk/>
          <pc:sldMk cId="668669574" sldId="2076137122"/>
        </pc:sldMkLst>
        <pc:spChg chg="mod">
          <ac:chgData name="Peter Kuna" userId="7390eacb-db33-4931-a7e3-c9002f6a3a83" providerId="ADAL" clId="{EEABC871-E53E-4DAE-9AF4-540032E91333}" dt="2020-06-25T07:43:17.295" v="71" actId="6549"/>
          <ac:spMkLst>
            <pc:docMk/>
            <pc:sldMk cId="668669574" sldId="2076137122"/>
            <ac:spMk id="23" creationId="{E4EB9DD4-631C-4B63-90E6-2AC021DA6C03}"/>
          </ac:spMkLst>
        </pc:spChg>
        <pc:spChg chg="mod">
          <ac:chgData name="Peter Kuna" userId="7390eacb-db33-4931-a7e3-c9002f6a3a83" providerId="ADAL" clId="{EEABC871-E53E-4DAE-9AF4-540032E91333}" dt="2020-06-25T07:45:57.787" v="117" actId="113"/>
          <ac:spMkLst>
            <pc:docMk/>
            <pc:sldMk cId="668669574" sldId="2076137122"/>
            <ac:spMk id="37" creationId="{60EEB113-2B7D-446F-85A0-923FC1C7F2AB}"/>
          </ac:spMkLst>
        </pc:spChg>
      </pc:sldChg>
      <pc:sldMasterChg chg="addSldLayout">
        <pc:chgData name="Peter Kuna" userId="7390eacb-db33-4931-a7e3-c9002f6a3a83" providerId="ADAL" clId="{EEABC871-E53E-4DAE-9AF4-540032E91333}" dt="2020-06-25T07:42:05.329" v="0" actId="22"/>
        <pc:sldMasterMkLst>
          <pc:docMk/>
          <pc:sldMasterMk cId="3952837367" sldId="2147493387"/>
        </pc:sldMasterMkLst>
        <pc:sldLayoutChg chg="add">
          <pc:chgData name="Peter Kuna" userId="7390eacb-db33-4931-a7e3-c9002f6a3a83" providerId="ADAL" clId="{EEABC871-E53E-4DAE-9AF4-540032E91333}" dt="2020-06-25T07:42:05.329" v="0" actId="22"/>
          <pc:sldLayoutMkLst>
            <pc:docMk/>
            <pc:sldMasterMk cId="3952837367" sldId="2147493387"/>
            <pc:sldLayoutMk cId="1488734466" sldId="2147493390"/>
          </pc:sldLayoutMkLst>
        </pc:sldLayoutChg>
        <pc:sldLayoutChg chg="add replId">
          <pc:chgData name="Peter Kuna" userId="7390eacb-db33-4931-a7e3-c9002f6a3a83" providerId="ADAL" clId="{EEABC871-E53E-4DAE-9AF4-540032E91333}" dt="2020-06-25T07:42:05.329" v="0" actId="22"/>
          <pc:sldLayoutMkLst>
            <pc:docMk/>
            <pc:sldMasterMk cId="3952837367" sldId="2147493387"/>
            <pc:sldLayoutMk cId="1219216996" sldId="2147493391"/>
          </pc:sldLayoutMkLst>
        </pc:sldLayoutChg>
      </pc:sldMasterChg>
    </pc:docChg>
  </pc:docChgLst>
  <pc:docChgLst>
    <pc:chgData name="Szabolcs" userId="60ab914d-7da0-4594-b174-98427b7ed644" providerId="ADAL" clId="{2AFE1EE9-4BFE-425F-9112-2BC682F0273A}"/>
    <pc:docChg chg="undo custSel addSld delSld modSld">
      <pc:chgData name="Szabolcs" userId="60ab914d-7da0-4594-b174-98427b7ed644" providerId="ADAL" clId="{2AFE1EE9-4BFE-425F-9112-2BC682F0273A}" dt="2020-06-26T07:25:40.513" v="2739"/>
      <pc:docMkLst>
        <pc:docMk/>
      </pc:docMkLst>
      <pc:sldChg chg="modSp mod">
        <pc:chgData name="Szabolcs" userId="60ab914d-7da0-4594-b174-98427b7ed644" providerId="ADAL" clId="{2AFE1EE9-4BFE-425F-9112-2BC682F0273A}" dt="2020-06-26T07:23:58.212" v="2735" actId="20577"/>
        <pc:sldMkLst>
          <pc:docMk/>
          <pc:sldMk cId="484947355" sldId="2076137113"/>
        </pc:sldMkLst>
        <pc:spChg chg="mod">
          <ac:chgData name="Szabolcs" userId="60ab914d-7da0-4594-b174-98427b7ed644" providerId="ADAL" clId="{2AFE1EE9-4BFE-425F-9112-2BC682F0273A}" dt="2020-06-26T07:23:58.212" v="2735" actId="20577"/>
          <ac:spMkLst>
            <pc:docMk/>
            <pc:sldMk cId="484947355" sldId="2076137113"/>
            <ac:spMk id="3" creationId="{59B37F65-A65B-4C39-AC76-75D5E701E696}"/>
          </ac:spMkLst>
        </pc:spChg>
      </pc:sldChg>
      <pc:sldChg chg="add">
        <pc:chgData name="Szabolcs" userId="60ab914d-7da0-4594-b174-98427b7ed644" providerId="ADAL" clId="{2AFE1EE9-4BFE-425F-9112-2BC682F0273A}" dt="2020-06-25T07:42:07.904" v="0"/>
        <pc:sldMkLst>
          <pc:docMk/>
          <pc:sldMk cId="1068293769" sldId="2076137116"/>
        </pc:sldMkLst>
      </pc:sldChg>
      <pc:sldChg chg="del">
        <pc:chgData name="Szabolcs" userId="60ab914d-7da0-4594-b174-98427b7ed644" providerId="ADAL" clId="{2AFE1EE9-4BFE-425F-9112-2BC682F0273A}" dt="2020-06-25T08:02:00.015" v="2" actId="47"/>
        <pc:sldMkLst>
          <pc:docMk/>
          <pc:sldMk cId="1068293769" sldId="2076137121"/>
        </pc:sldMkLst>
      </pc:sldChg>
      <pc:sldChg chg="modSp mod">
        <pc:chgData name="Szabolcs" userId="60ab914d-7da0-4594-b174-98427b7ed644" providerId="ADAL" clId="{2AFE1EE9-4BFE-425F-9112-2BC682F0273A}" dt="2020-06-25T11:44:19.799" v="148" actId="20577"/>
        <pc:sldMkLst>
          <pc:docMk/>
          <pc:sldMk cId="209515617" sldId="2076138464"/>
        </pc:sldMkLst>
        <pc:graphicFrameChg chg="modGraphic">
          <ac:chgData name="Szabolcs" userId="60ab914d-7da0-4594-b174-98427b7ed644" providerId="ADAL" clId="{2AFE1EE9-4BFE-425F-9112-2BC682F0273A}" dt="2020-06-25T11:44:19.799" v="148" actId="20577"/>
          <ac:graphicFrameMkLst>
            <pc:docMk/>
            <pc:sldMk cId="209515617" sldId="2076138464"/>
            <ac:graphicFrameMk id="90" creationId="{3EE023A5-AFF3-42A9-B5D6-A8116BD1D960}"/>
          </ac:graphicFrameMkLst>
        </pc:graphicFrameChg>
      </pc:sldChg>
      <pc:sldChg chg="new del">
        <pc:chgData name="Szabolcs" userId="60ab914d-7da0-4594-b174-98427b7ed644" providerId="ADAL" clId="{2AFE1EE9-4BFE-425F-9112-2BC682F0273A}" dt="2020-06-25T12:03:16.721" v="749" actId="47"/>
        <pc:sldMkLst>
          <pc:docMk/>
          <pc:sldMk cId="3580221282" sldId="2076138465"/>
        </pc:sldMkLst>
      </pc:sldChg>
      <pc:sldChg chg="modSp new mod">
        <pc:chgData name="Szabolcs" userId="60ab914d-7da0-4594-b174-98427b7ed644" providerId="ADAL" clId="{2AFE1EE9-4BFE-425F-9112-2BC682F0273A}" dt="2020-06-25T14:36:47.114" v="1161" actId="1076"/>
        <pc:sldMkLst>
          <pc:docMk/>
          <pc:sldMk cId="2481583580" sldId="2076138466"/>
        </pc:sldMkLst>
        <pc:spChg chg="mod">
          <ac:chgData name="Szabolcs" userId="60ab914d-7da0-4594-b174-98427b7ed644" providerId="ADAL" clId="{2AFE1EE9-4BFE-425F-9112-2BC682F0273A}" dt="2020-06-25T11:26:52.209" v="23" actId="20577"/>
          <ac:spMkLst>
            <pc:docMk/>
            <pc:sldMk cId="2481583580" sldId="2076138466"/>
            <ac:spMk id="2" creationId="{F48D9470-2123-450E-9171-69FEA8F3C95C}"/>
          </ac:spMkLst>
        </pc:spChg>
        <pc:spChg chg="mod">
          <ac:chgData name="Szabolcs" userId="60ab914d-7da0-4594-b174-98427b7ed644" providerId="ADAL" clId="{2AFE1EE9-4BFE-425F-9112-2BC682F0273A}" dt="2020-06-25T14:36:47.114" v="1161" actId="1076"/>
          <ac:spMkLst>
            <pc:docMk/>
            <pc:sldMk cId="2481583580" sldId="2076138466"/>
            <ac:spMk id="3" creationId="{222E3F9F-1D30-4BB8-AC1F-5850089D596B}"/>
          </ac:spMkLst>
        </pc:spChg>
      </pc:sldChg>
      <pc:sldChg chg="addSp delSp modSp new mod modClrScheme chgLayout">
        <pc:chgData name="Szabolcs" userId="60ab914d-7da0-4594-b174-98427b7ed644" providerId="ADAL" clId="{2AFE1EE9-4BFE-425F-9112-2BC682F0273A}" dt="2020-06-26T06:18:23.556" v="2690" actId="2165"/>
        <pc:sldMkLst>
          <pc:docMk/>
          <pc:sldMk cId="1428436455" sldId="2076138467"/>
        </pc:sldMkLst>
        <pc:spChg chg="mod ord">
          <ac:chgData name="Szabolcs" userId="60ab914d-7da0-4594-b174-98427b7ed644" providerId="ADAL" clId="{2AFE1EE9-4BFE-425F-9112-2BC682F0273A}" dt="2020-06-25T12:12:09.985" v="806" actId="700"/>
          <ac:spMkLst>
            <pc:docMk/>
            <pc:sldMk cId="1428436455" sldId="2076138467"/>
            <ac:spMk id="2" creationId="{B3005C11-C499-4D0F-936D-38123986BE5E}"/>
          </ac:spMkLst>
        </pc:spChg>
        <pc:spChg chg="del mod ord">
          <ac:chgData name="Szabolcs" userId="60ab914d-7da0-4594-b174-98427b7ed644" providerId="ADAL" clId="{2AFE1EE9-4BFE-425F-9112-2BC682F0273A}" dt="2020-06-25T12:12:09.985" v="806" actId="700"/>
          <ac:spMkLst>
            <pc:docMk/>
            <pc:sldMk cId="1428436455" sldId="2076138467"/>
            <ac:spMk id="3" creationId="{188B7906-2F67-4B7C-9E90-2F0415F8CBD8}"/>
          </ac:spMkLst>
        </pc:spChg>
        <pc:spChg chg="add del mod ord">
          <ac:chgData name="Szabolcs" userId="60ab914d-7da0-4594-b174-98427b7ed644" providerId="ADAL" clId="{2AFE1EE9-4BFE-425F-9112-2BC682F0273A}" dt="2020-06-25T14:35:46.651" v="1159" actId="478"/>
          <ac:spMkLst>
            <pc:docMk/>
            <pc:sldMk cId="1428436455" sldId="2076138467"/>
            <ac:spMk id="4" creationId="{C3666364-F635-4D96-AF03-6646410D3629}"/>
          </ac:spMkLst>
        </pc:spChg>
        <pc:spChg chg="add del mod ord">
          <ac:chgData name="Szabolcs" userId="60ab914d-7da0-4594-b174-98427b7ed644" providerId="ADAL" clId="{2AFE1EE9-4BFE-425F-9112-2BC682F0273A}" dt="2020-06-25T14:35:50.556" v="1160" actId="478"/>
          <ac:spMkLst>
            <pc:docMk/>
            <pc:sldMk cId="1428436455" sldId="2076138467"/>
            <ac:spMk id="5" creationId="{FCF8192F-A277-4DA9-8838-FCB00A05FBDC}"/>
          </ac:spMkLst>
        </pc:spChg>
        <pc:spChg chg="add del mod">
          <ac:chgData name="Szabolcs" userId="60ab914d-7da0-4594-b174-98427b7ed644" providerId="ADAL" clId="{2AFE1EE9-4BFE-425F-9112-2BC682F0273A}" dt="2020-06-26T05:06:31.209" v="1484" actId="478"/>
          <ac:spMkLst>
            <pc:docMk/>
            <pc:sldMk cId="1428436455" sldId="2076138467"/>
            <ac:spMk id="9" creationId="{233AF6D0-B5D6-4C3B-98A2-27A963734807}"/>
          </ac:spMkLst>
        </pc:spChg>
        <pc:spChg chg="add del mod">
          <ac:chgData name="Szabolcs" userId="60ab914d-7da0-4594-b174-98427b7ed644" providerId="ADAL" clId="{2AFE1EE9-4BFE-425F-9112-2BC682F0273A}" dt="2020-06-26T05:02:42.003" v="1216" actId="478"/>
          <ac:spMkLst>
            <pc:docMk/>
            <pc:sldMk cId="1428436455" sldId="2076138467"/>
            <ac:spMk id="11" creationId="{C294746B-C4BF-42C4-BCC2-CEC3B2B5FAD3}"/>
          </ac:spMkLst>
        </pc:spChg>
        <pc:graphicFrameChg chg="add mod modGraphic">
          <ac:chgData name="Szabolcs" userId="60ab914d-7da0-4594-b174-98427b7ed644" providerId="ADAL" clId="{2AFE1EE9-4BFE-425F-9112-2BC682F0273A}" dt="2020-06-26T06:18:23.556" v="2690" actId="2165"/>
          <ac:graphicFrameMkLst>
            <pc:docMk/>
            <pc:sldMk cId="1428436455" sldId="2076138467"/>
            <ac:graphicFrameMk id="6" creationId="{C24D16CC-BDC9-4ED8-91CD-3FD181071F9C}"/>
          </ac:graphicFrameMkLst>
        </pc:graphicFrameChg>
      </pc:sldChg>
      <pc:sldChg chg="modSp mod">
        <pc:chgData name="Szabolcs" userId="60ab914d-7da0-4594-b174-98427b7ed644" providerId="ADAL" clId="{2AFE1EE9-4BFE-425F-9112-2BC682F0273A}" dt="2020-06-26T07:25:40.513" v="2739"/>
        <pc:sldMkLst>
          <pc:docMk/>
          <pc:sldMk cId="1605392380" sldId="2076138472"/>
        </pc:sldMkLst>
        <pc:spChg chg="mod">
          <ac:chgData name="Szabolcs" userId="60ab914d-7da0-4594-b174-98427b7ed644" providerId="ADAL" clId="{2AFE1EE9-4BFE-425F-9112-2BC682F0273A}" dt="2020-06-26T07:25:40.513" v="2739"/>
          <ac:spMkLst>
            <pc:docMk/>
            <pc:sldMk cId="1605392380" sldId="2076138472"/>
            <ac:spMk id="9" creationId="{6CF67FE7-FDF2-485E-920B-C579DAED9632}"/>
          </ac:spMkLst>
        </pc:spChg>
      </pc:sldChg>
      <pc:sldChg chg="addSp modSp new mod">
        <pc:chgData name="Szabolcs" userId="60ab914d-7da0-4594-b174-98427b7ed644" providerId="ADAL" clId="{2AFE1EE9-4BFE-425F-9112-2BC682F0273A}" dt="2020-06-26T05:28:08.941" v="2689" actId="20577"/>
        <pc:sldMkLst>
          <pc:docMk/>
          <pc:sldMk cId="1096631058" sldId="2134805063"/>
        </pc:sldMkLst>
        <pc:spChg chg="mod">
          <ac:chgData name="Szabolcs" userId="60ab914d-7da0-4594-b174-98427b7ed644" providerId="ADAL" clId="{2AFE1EE9-4BFE-425F-9112-2BC682F0273A}" dt="2020-06-26T05:27:18.735" v="2672" actId="20577"/>
          <ac:spMkLst>
            <pc:docMk/>
            <pc:sldMk cId="1096631058" sldId="2134805063"/>
            <ac:spMk id="2" creationId="{C16526BF-9892-4536-9B71-C0499E08AE4A}"/>
          </ac:spMkLst>
        </pc:spChg>
        <pc:spChg chg="mod">
          <ac:chgData name="Szabolcs" userId="60ab914d-7da0-4594-b174-98427b7ed644" providerId="ADAL" clId="{2AFE1EE9-4BFE-425F-9112-2BC682F0273A}" dt="2020-06-26T05:27:01.057" v="2639" actId="14100"/>
          <ac:spMkLst>
            <pc:docMk/>
            <pc:sldMk cId="1096631058" sldId="2134805063"/>
            <ac:spMk id="3" creationId="{31163D8F-7EFF-45A3-9C2B-5E8F99D6B980}"/>
          </ac:spMkLst>
        </pc:spChg>
        <pc:graphicFrameChg chg="add mod modGraphic">
          <ac:chgData name="Szabolcs" userId="60ab914d-7da0-4594-b174-98427b7ed644" providerId="ADAL" clId="{2AFE1EE9-4BFE-425F-9112-2BC682F0273A}" dt="2020-06-26T05:28:08.941" v="2689" actId="20577"/>
          <ac:graphicFrameMkLst>
            <pc:docMk/>
            <pc:sldMk cId="1096631058" sldId="2134805063"/>
            <ac:graphicFrameMk id="4" creationId="{58EC31A8-3202-4E7B-A747-4D415805C345}"/>
          </ac:graphicFrameMkLst>
        </pc:graphicFrameChg>
      </pc:sldChg>
      <pc:sldMasterChg chg="delSldLayout">
        <pc:chgData name="Szabolcs" userId="60ab914d-7da0-4594-b174-98427b7ed644" providerId="ADAL" clId="{2AFE1EE9-4BFE-425F-9112-2BC682F0273A}" dt="2020-06-25T08:02:00.015" v="2" actId="47"/>
        <pc:sldMasterMkLst>
          <pc:docMk/>
          <pc:sldMasterMk cId="3952837367" sldId="2147493387"/>
        </pc:sldMasterMkLst>
        <pc:sldLayoutChg chg="del">
          <pc:chgData name="Szabolcs" userId="60ab914d-7da0-4594-b174-98427b7ed644" providerId="ADAL" clId="{2AFE1EE9-4BFE-425F-9112-2BC682F0273A}" dt="2020-06-25T08:02:00.015" v="2" actId="47"/>
          <pc:sldLayoutMkLst>
            <pc:docMk/>
            <pc:sldMasterMk cId="3952837367" sldId="2147493387"/>
            <pc:sldLayoutMk cId="2918530481" sldId="2147493392"/>
          </pc:sldLayoutMkLst>
        </pc:sldLayoutChg>
      </pc:sldMasterChg>
    </pc:docChg>
  </pc:docChgLst>
  <pc:docChgLst>
    <pc:chgData name="Gabor Vass" userId="eeb79861-a192-4842-956e-094877f4a978" providerId="ADAL" clId="{4BBA370A-3BCE-43DB-B2F2-BD4E6345EB3D}"/>
    <pc:docChg chg="custSel modSld">
      <pc:chgData name="Gabor Vass" userId="eeb79861-a192-4842-956e-094877f4a978" providerId="ADAL" clId="{4BBA370A-3BCE-43DB-B2F2-BD4E6345EB3D}" dt="2020-06-26T08:05:32.644" v="873" actId="20577"/>
      <pc:docMkLst>
        <pc:docMk/>
      </pc:docMkLst>
      <pc:sldChg chg="modSp mod">
        <pc:chgData name="Gabor Vass" userId="eeb79861-a192-4842-956e-094877f4a978" providerId="ADAL" clId="{4BBA370A-3BCE-43DB-B2F2-BD4E6345EB3D}" dt="2020-06-26T08:05:32.644" v="873" actId="20577"/>
        <pc:sldMkLst>
          <pc:docMk/>
          <pc:sldMk cId="2382068258" sldId="258"/>
        </pc:sldMkLst>
        <pc:spChg chg="mod">
          <ac:chgData name="Gabor Vass" userId="eeb79861-a192-4842-956e-094877f4a978" providerId="ADAL" clId="{4BBA370A-3BCE-43DB-B2F2-BD4E6345EB3D}" dt="2020-06-26T08:05:32.644" v="873" actId="20577"/>
          <ac:spMkLst>
            <pc:docMk/>
            <pc:sldMk cId="2382068258" sldId="258"/>
            <ac:spMk id="3" creationId="{FECAD351-2738-4EED-BA9A-A670AF20E53D}"/>
          </ac:spMkLst>
        </pc:spChg>
      </pc:sldChg>
      <pc:sldChg chg="delSp modSp mod">
        <pc:chgData name="Gabor Vass" userId="eeb79861-a192-4842-956e-094877f4a978" providerId="ADAL" clId="{4BBA370A-3BCE-43DB-B2F2-BD4E6345EB3D}" dt="2020-06-26T08:04:38.256" v="869" actId="20577"/>
        <pc:sldMkLst>
          <pc:docMk/>
          <pc:sldMk cId="2868134669" sldId="259"/>
        </pc:sldMkLst>
        <pc:spChg chg="mod">
          <ac:chgData name="Gabor Vass" userId="eeb79861-a192-4842-956e-094877f4a978" providerId="ADAL" clId="{4BBA370A-3BCE-43DB-B2F2-BD4E6345EB3D}" dt="2020-06-25T13:45:10.990" v="215" actId="20577"/>
          <ac:spMkLst>
            <pc:docMk/>
            <pc:sldMk cId="2868134669" sldId="259"/>
            <ac:spMk id="3" creationId="{E4B4FACF-3FCA-4CC9-89AE-E6D42B34F486}"/>
          </ac:spMkLst>
        </pc:spChg>
        <pc:spChg chg="mod">
          <ac:chgData name="Gabor Vass" userId="eeb79861-a192-4842-956e-094877f4a978" providerId="ADAL" clId="{4BBA370A-3BCE-43DB-B2F2-BD4E6345EB3D}" dt="2020-06-25T13:39:32.361" v="41" actId="20577"/>
          <ac:spMkLst>
            <pc:docMk/>
            <pc:sldMk cId="2868134669" sldId="259"/>
            <ac:spMk id="8" creationId="{8417925A-C695-4D96-B43A-E36168E05D90}"/>
          </ac:spMkLst>
        </pc:spChg>
        <pc:spChg chg="mod">
          <ac:chgData name="Gabor Vass" userId="eeb79861-a192-4842-956e-094877f4a978" providerId="ADAL" clId="{4BBA370A-3BCE-43DB-B2F2-BD4E6345EB3D}" dt="2020-06-25T13:45:21.789" v="238" actId="6549"/>
          <ac:spMkLst>
            <pc:docMk/>
            <pc:sldMk cId="2868134669" sldId="259"/>
            <ac:spMk id="67" creationId="{E6EC7621-B153-468E-8889-5CB8FB2C8830}"/>
          </ac:spMkLst>
        </pc:spChg>
        <pc:spChg chg="mod">
          <ac:chgData name="Gabor Vass" userId="eeb79861-a192-4842-956e-094877f4a978" providerId="ADAL" clId="{4BBA370A-3BCE-43DB-B2F2-BD4E6345EB3D}" dt="2020-06-25T13:41:23.842" v="112" actId="1076"/>
          <ac:spMkLst>
            <pc:docMk/>
            <pc:sldMk cId="2868134669" sldId="259"/>
            <ac:spMk id="110" creationId="{AD95D61F-FFA6-41D7-9842-0997DE846D19}"/>
          </ac:spMkLst>
        </pc:spChg>
        <pc:spChg chg="mod">
          <ac:chgData name="Gabor Vass" userId="eeb79861-a192-4842-956e-094877f4a978" providerId="ADAL" clId="{4BBA370A-3BCE-43DB-B2F2-BD4E6345EB3D}" dt="2020-06-26T08:04:38.256" v="869" actId="20577"/>
          <ac:spMkLst>
            <pc:docMk/>
            <pc:sldMk cId="2868134669" sldId="259"/>
            <ac:spMk id="114" creationId="{205912A3-1942-4787-98E8-D0E037A29F3E}"/>
          </ac:spMkLst>
        </pc:spChg>
        <pc:spChg chg="mod">
          <ac:chgData name="Gabor Vass" userId="eeb79861-a192-4842-956e-094877f4a978" providerId="ADAL" clId="{4BBA370A-3BCE-43DB-B2F2-BD4E6345EB3D}" dt="2020-06-25T13:45:40.295" v="241" actId="1076"/>
          <ac:spMkLst>
            <pc:docMk/>
            <pc:sldMk cId="2868134669" sldId="259"/>
            <ac:spMk id="133" creationId="{311F559A-5F23-4D34-B2E2-DB6B54D80B19}"/>
          </ac:spMkLst>
        </pc:spChg>
        <pc:spChg chg="mod">
          <ac:chgData name="Gabor Vass" userId="eeb79861-a192-4842-956e-094877f4a978" providerId="ADAL" clId="{4BBA370A-3BCE-43DB-B2F2-BD4E6345EB3D}" dt="2020-06-25T13:48:07.331" v="295" actId="1076"/>
          <ac:spMkLst>
            <pc:docMk/>
            <pc:sldMk cId="2868134669" sldId="259"/>
            <ac:spMk id="145" creationId="{FBFEFACE-5DA4-4452-826E-CE1E1D607145}"/>
          </ac:spMkLst>
        </pc:spChg>
        <pc:spChg chg="mod">
          <ac:chgData name="Gabor Vass" userId="eeb79861-a192-4842-956e-094877f4a978" providerId="ADAL" clId="{4BBA370A-3BCE-43DB-B2F2-BD4E6345EB3D}" dt="2020-06-25T13:47:22.707" v="290" actId="14100"/>
          <ac:spMkLst>
            <pc:docMk/>
            <pc:sldMk cId="2868134669" sldId="259"/>
            <ac:spMk id="150" creationId="{EB33807C-6337-4A99-979D-EBA36268FE1D}"/>
          </ac:spMkLst>
        </pc:spChg>
        <pc:spChg chg="mod">
          <ac:chgData name="Gabor Vass" userId="eeb79861-a192-4842-956e-094877f4a978" providerId="ADAL" clId="{4BBA370A-3BCE-43DB-B2F2-BD4E6345EB3D}" dt="2020-06-25T13:42:55.399" v="206" actId="20577"/>
          <ac:spMkLst>
            <pc:docMk/>
            <pc:sldMk cId="2868134669" sldId="259"/>
            <ac:spMk id="154" creationId="{B001C1EB-6E84-4642-9FDE-566312277232}"/>
          </ac:spMkLst>
        </pc:spChg>
        <pc:spChg chg="mod">
          <ac:chgData name="Gabor Vass" userId="eeb79861-a192-4842-956e-094877f4a978" providerId="ADAL" clId="{4BBA370A-3BCE-43DB-B2F2-BD4E6345EB3D}" dt="2020-06-25T13:46:21.890" v="287" actId="20577"/>
          <ac:spMkLst>
            <pc:docMk/>
            <pc:sldMk cId="2868134669" sldId="259"/>
            <ac:spMk id="223" creationId="{DA3D9A79-C0CA-45A7-A8EF-DC7395D1A8DE}"/>
          </ac:spMkLst>
        </pc:spChg>
        <pc:spChg chg="mod">
          <ac:chgData name="Gabor Vass" userId="eeb79861-a192-4842-956e-094877f4a978" providerId="ADAL" clId="{4BBA370A-3BCE-43DB-B2F2-BD4E6345EB3D}" dt="2020-06-25T13:45:56.255" v="242" actId="20577"/>
          <ac:spMkLst>
            <pc:docMk/>
            <pc:sldMk cId="2868134669" sldId="259"/>
            <ac:spMk id="224" creationId="{AE397C3E-E5E5-4341-87D1-78B0FD755E9A}"/>
          </ac:spMkLst>
        </pc:spChg>
        <pc:picChg chg="del">
          <ac:chgData name="Gabor Vass" userId="eeb79861-a192-4842-956e-094877f4a978" providerId="ADAL" clId="{4BBA370A-3BCE-43DB-B2F2-BD4E6345EB3D}" dt="2020-06-25T13:41:14.625" v="108" actId="478"/>
          <ac:picMkLst>
            <pc:docMk/>
            <pc:sldMk cId="2868134669" sldId="259"/>
            <ac:picMk id="10" creationId="{4AA16E62-A8F5-4443-B5D9-DD00BC3F1DB4}"/>
          </ac:picMkLst>
        </pc:picChg>
        <pc:picChg chg="del mod">
          <ac:chgData name="Gabor Vass" userId="eeb79861-a192-4842-956e-094877f4a978" providerId="ADAL" clId="{4BBA370A-3BCE-43DB-B2F2-BD4E6345EB3D}" dt="2020-06-25T13:43:37.885" v="207" actId="478"/>
          <ac:picMkLst>
            <pc:docMk/>
            <pc:sldMk cId="2868134669" sldId="259"/>
            <ac:picMk id="109" creationId="{CA0F6E80-0C49-4F60-9EA4-6263B3451E37}"/>
          </ac:picMkLst>
        </pc:picChg>
        <pc:picChg chg="mod">
          <ac:chgData name="Gabor Vass" userId="eeb79861-a192-4842-956e-094877f4a978" providerId="ADAL" clId="{4BBA370A-3BCE-43DB-B2F2-BD4E6345EB3D}" dt="2020-06-25T13:41:21.084" v="111" actId="1076"/>
          <ac:picMkLst>
            <pc:docMk/>
            <pc:sldMk cId="2868134669" sldId="259"/>
            <ac:picMk id="112" creationId="{D5AE7003-D544-4B8A-A62B-013DC09F15C3}"/>
          </ac:picMkLst>
        </pc:picChg>
        <pc:cxnChg chg="mod">
          <ac:chgData name="Gabor Vass" userId="eeb79861-a192-4842-956e-094877f4a978" providerId="ADAL" clId="{4BBA370A-3BCE-43DB-B2F2-BD4E6345EB3D}" dt="2020-06-25T13:47:10.092" v="289" actId="1076"/>
          <ac:cxnSpMkLst>
            <pc:docMk/>
            <pc:sldMk cId="2868134669" sldId="259"/>
            <ac:cxnSpMk id="151" creationId="{962AD14D-36E9-4F37-A0F3-E121E0345955}"/>
          </ac:cxnSpMkLst>
        </pc:cxnChg>
      </pc:sldChg>
      <pc:sldChg chg="modSp mod">
        <pc:chgData name="Gabor Vass" userId="eeb79861-a192-4842-956e-094877f4a978" providerId="ADAL" clId="{4BBA370A-3BCE-43DB-B2F2-BD4E6345EB3D}" dt="2020-06-26T06:28:26.225" v="812" actId="13926"/>
        <pc:sldMkLst>
          <pc:docMk/>
          <pc:sldMk cId="484947355" sldId="2076137113"/>
        </pc:sldMkLst>
        <pc:spChg chg="mod">
          <ac:chgData name="Gabor Vass" userId="eeb79861-a192-4842-956e-094877f4a978" providerId="ADAL" clId="{4BBA370A-3BCE-43DB-B2F2-BD4E6345EB3D}" dt="2020-06-25T13:50:55.879" v="446" actId="790"/>
          <ac:spMkLst>
            <pc:docMk/>
            <pc:sldMk cId="484947355" sldId="2076137113"/>
            <ac:spMk id="2" creationId="{2028705E-50E1-40B1-BE92-C72EF8917031}"/>
          </ac:spMkLst>
        </pc:spChg>
        <pc:spChg chg="mod">
          <ac:chgData name="Gabor Vass" userId="eeb79861-a192-4842-956e-094877f4a978" providerId="ADAL" clId="{4BBA370A-3BCE-43DB-B2F2-BD4E6345EB3D}" dt="2020-06-26T06:28:26.225" v="812" actId="13926"/>
          <ac:spMkLst>
            <pc:docMk/>
            <pc:sldMk cId="484947355" sldId="2076137113"/>
            <ac:spMk id="3" creationId="{59B37F65-A65B-4C39-AC76-75D5E701E696}"/>
          </ac:spMkLst>
        </pc:spChg>
      </pc:sldChg>
      <pc:sldChg chg="modSp mod">
        <pc:chgData name="Gabor Vass" userId="eeb79861-a192-4842-956e-094877f4a978" providerId="ADAL" clId="{4BBA370A-3BCE-43DB-B2F2-BD4E6345EB3D}" dt="2020-06-25T13:51:13.907" v="447" actId="790"/>
        <pc:sldMkLst>
          <pc:docMk/>
          <pc:sldMk cId="790984812" sldId="2076138468"/>
        </pc:sldMkLst>
        <pc:spChg chg="mod">
          <ac:chgData name="Gabor Vass" userId="eeb79861-a192-4842-956e-094877f4a978" providerId="ADAL" clId="{4BBA370A-3BCE-43DB-B2F2-BD4E6345EB3D}" dt="2020-06-25T13:51:13.907" v="447" actId="790"/>
          <ac:spMkLst>
            <pc:docMk/>
            <pc:sldMk cId="790984812" sldId="2076138468"/>
            <ac:spMk id="9" creationId="{6CF67FE7-FDF2-485E-920B-C579DAED9632}"/>
          </ac:spMkLst>
        </pc:spChg>
        <pc:picChg chg="mod">
          <ac:chgData name="Gabor Vass" userId="eeb79861-a192-4842-956e-094877f4a978" providerId="ADAL" clId="{4BBA370A-3BCE-43DB-B2F2-BD4E6345EB3D}" dt="2020-06-25T13:48:40.833" v="298" actId="14100"/>
          <ac:picMkLst>
            <pc:docMk/>
            <pc:sldMk cId="790984812" sldId="2076138468"/>
            <ac:picMk id="4" creationId="{4A087096-836F-4480-BBA4-59BBA124932A}"/>
          </ac:picMkLst>
        </pc:picChg>
      </pc:sldChg>
    </pc:docChg>
  </pc:docChgLst>
  <pc:docChgLst>
    <pc:chgData name="Zita Hrubi" userId="8b1480d7-c069-4105-916e-12522ddfc292" providerId="ADAL" clId="{4164E4B5-3F14-49D0-BED8-005D632963F8}"/>
    <pc:docChg chg="undo custSel addSld delSld modSld sldOrd addMainMaster delMainMaster">
      <pc:chgData name="Zita Hrubi" userId="8b1480d7-c069-4105-916e-12522ddfc292" providerId="ADAL" clId="{4164E4B5-3F14-49D0-BED8-005D632963F8}" dt="2020-06-26T06:50:58.208" v="930" actId="20577"/>
      <pc:docMkLst>
        <pc:docMk/>
      </pc:docMkLst>
      <pc:sldChg chg="delSp modSp mod">
        <pc:chgData name="Zita Hrubi" userId="8b1480d7-c069-4105-916e-12522ddfc292" providerId="ADAL" clId="{4164E4B5-3F14-49D0-BED8-005D632963F8}" dt="2020-06-25T13:49:31.884" v="748" actId="2711"/>
        <pc:sldMkLst>
          <pc:docMk/>
          <pc:sldMk cId="2868134669" sldId="259"/>
        </pc:sldMkLst>
        <pc:spChg chg="mod">
          <ac:chgData name="Zita Hrubi" userId="8b1480d7-c069-4105-916e-12522ddfc292" providerId="ADAL" clId="{4164E4B5-3F14-49D0-BED8-005D632963F8}" dt="2020-06-25T06:52:50.333" v="270" actId="1035"/>
          <ac:spMkLst>
            <pc:docMk/>
            <pc:sldMk cId="2868134669" sldId="259"/>
            <ac:spMk id="3" creationId="{E4B4FACF-3FCA-4CC9-89AE-E6D42B34F486}"/>
          </ac:spMkLst>
        </pc:spChg>
        <pc:spChg chg="mod">
          <ac:chgData name="Zita Hrubi" userId="8b1480d7-c069-4105-916e-12522ddfc292" providerId="ADAL" clId="{4164E4B5-3F14-49D0-BED8-005D632963F8}" dt="2020-06-25T06:52:50.333" v="270" actId="1035"/>
          <ac:spMkLst>
            <pc:docMk/>
            <pc:sldMk cId="2868134669" sldId="259"/>
            <ac:spMk id="66" creationId="{023AD83B-098B-4637-9B4D-7914431954D1}"/>
          </ac:spMkLst>
        </pc:spChg>
        <pc:spChg chg="mod">
          <ac:chgData name="Zita Hrubi" userId="8b1480d7-c069-4105-916e-12522ddfc292" providerId="ADAL" clId="{4164E4B5-3F14-49D0-BED8-005D632963F8}" dt="2020-06-25T06:52:50.333" v="270" actId="1035"/>
          <ac:spMkLst>
            <pc:docMk/>
            <pc:sldMk cId="2868134669" sldId="259"/>
            <ac:spMk id="67" creationId="{E6EC7621-B153-468E-8889-5CB8FB2C8830}"/>
          </ac:spMkLst>
        </pc:spChg>
        <pc:spChg chg="mod">
          <ac:chgData name="Zita Hrubi" userId="8b1480d7-c069-4105-916e-12522ddfc292" providerId="ADAL" clId="{4164E4B5-3F14-49D0-BED8-005D632963F8}" dt="2020-06-25T06:52:50.333" v="270" actId="1035"/>
          <ac:spMkLst>
            <pc:docMk/>
            <pc:sldMk cId="2868134669" sldId="259"/>
            <ac:spMk id="68" creationId="{94EF3F47-3D4D-40B8-B52C-9DC2F6BEEA92}"/>
          </ac:spMkLst>
        </pc:spChg>
        <pc:spChg chg="mod">
          <ac:chgData name="Zita Hrubi" userId="8b1480d7-c069-4105-916e-12522ddfc292" providerId="ADAL" clId="{4164E4B5-3F14-49D0-BED8-005D632963F8}" dt="2020-06-25T06:52:50.333" v="270" actId="1035"/>
          <ac:spMkLst>
            <pc:docMk/>
            <pc:sldMk cId="2868134669" sldId="259"/>
            <ac:spMk id="69" creationId="{CDC8C4CF-BC1A-4065-9C0C-71BED2A958FC}"/>
          </ac:spMkLst>
        </pc:spChg>
        <pc:spChg chg="mod">
          <ac:chgData name="Zita Hrubi" userId="8b1480d7-c069-4105-916e-12522ddfc292" providerId="ADAL" clId="{4164E4B5-3F14-49D0-BED8-005D632963F8}" dt="2020-06-25T06:53:10.270" v="285" actId="1035"/>
          <ac:spMkLst>
            <pc:docMk/>
            <pc:sldMk cId="2868134669" sldId="259"/>
            <ac:spMk id="74" creationId="{4E010288-F6F5-4F0F-B036-BE6B89F531A8}"/>
          </ac:spMkLst>
        </pc:spChg>
        <pc:spChg chg="mod">
          <ac:chgData name="Zita Hrubi" userId="8b1480d7-c069-4105-916e-12522ddfc292" providerId="ADAL" clId="{4164E4B5-3F14-49D0-BED8-005D632963F8}" dt="2020-06-25T06:53:10.270" v="285" actId="1035"/>
          <ac:spMkLst>
            <pc:docMk/>
            <pc:sldMk cId="2868134669" sldId="259"/>
            <ac:spMk id="86" creationId="{E5D5F6F8-B1F1-4B03-B0F3-A64A38DF7A59}"/>
          </ac:spMkLst>
        </pc:spChg>
        <pc:spChg chg="mod">
          <ac:chgData name="Zita Hrubi" userId="8b1480d7-c069-4105-916e-12522ddfc292" providerId="ADAL" clId="{4164E4B5-3F14-49D0-BED8-005D632963F8}" dt="2020-06-25T06:52:45.626" v="261" actId="14100"/>
          <ac:spMkLst>
            <pc:docMk/>
            <pc:sldMk cId="2868134669" sldId="259"/>
            <ac:spMk id="89" creationId="{C29C8E01-67C8-42FA-A996-84C4CEEC5DA4}"/>
          </ac:spMkLst>
        </pc:spChg>
        <pc:spChg chg="mod">
          <ac:chgData name="Zita Hrubi" userId="8b1480d7-c069-4105-916e-12522ddfc292" providerId="ADAL" clId="{4164E4B5-3F14-49D0-BED8-005D632963F8}" dt="2020-06-25T13:48:40.607" v="744" actId="207"/>
          <ac:spMkLst>
            <pc:docMk/>
            <pc:sldMk cId="2868134669" sldId="259"/>
            <ac:spMk id="110" creationId="{AD95D61F-FFA6-41D7-9842-0997DE846D19}"/>
          </ac:spMkLst>
        </pc:spChg>
        <pc:spChg chg="mod">
          <ac:chgData name="Zita Hrubi" userId="8b1480d7-c069-4105-916e-12522ddfc292" providerId="ADAL" clId="{4164E4B5-3F14-49D0-BED8-005D632963F8}" dt="2020-06-25T13:48:44.952" v="745" actId="207"/>
          <ac:spMkLst>
            <pc:docMk/>
            <pc:sldMk cId="2868134669" sldId="259"/>
            <ac:spMk id="113" creationId="{62CABBD6-45C4-48B9-9C0E-58392E5E954C}"/>
          </ac:spMkLst>
        </pc:spChg>
        <pc:spChg chg="mod">
          <ac:chgData name="Zita Hrubi" userId="8b1480d7-c069-4105-916e-12522ddfc292" providerId="ADAL" clId="{4164E4B5-3F14-49D0-BED8-005D632963F8}" dt="2020-06-25T06:47:08.111" v="155" actId="20577"/>
          <ac:spMkLst>
            <pc:docMk/>
            <pc:sldMk cId="2868134669" sldId="259"/>
            <ac:spMk id="114" creationId="{205912A3-1942-4787-98E8-D0E037A29F3E}"/>
          </ac:spMkLst>
        </pc:spChg>
        <pc:spChg chg="mod">
          <ac:chgData name="Zita Hrubi" userId="8b1480d7-c069-4105-916e-12522ddfc292" providerId="ADAL" clId="{4164E4B5-3F14-49D0-BED8-005D632963F8}" dt="2020-06-25T06:52:50.333" v="270" actId="1035"/>
          <ac:spMkLst>
            <pc:docMk/>
            <pc:sldMk cId="2868134669" sldId="259"/>
            <ac:spMk id="119" creationId="{8E84838D-DC77-47AA-923F-1F5F47AFD3CC}"/>
          </ac:spMkLst>
        </pc:spChg>
        <pc:spChg chg="mod">
          <ac:chgData name="Zita Hrubi" userId="8b1480d7-c069-4105-916e-12522ddfc292" providerId="ADAL" clId="{4164E4B5-3F14-49D0-BED8-005D632963F8}" dt="2020-06-25T06:52:50.333" v="270" actId="1035"/>
          <ac:spMkLst>
            <pc:docMk/>
            <pc:sldMk cId="2868134669" sldId="259"/>
            <ac:spMk id="131" creationId="{7D84348E-4FA9-4A21-B96F-D466CE234E20}"/>
          </ac:spMkLst>
        </pc:spChg>
        <pc:spChg chg="mod">
          <ac:chgData name="Zita Hrubi" userId="8b1480d7-c069-4105-916e-12522ddfc292" providerId="ADAL" clId="{4164E4B5-3F14-49D0-BED8-005D632963F8}" dt="2020-06-25T06:52:50.333" v="270" actId="1035"/>
          <ac:spMkLst>
            <pc:docMk/>
            <pc:sldMk cId="2868134669" sldId="259"/>
            <ac:spMk id="133" creationId="{311F559A-5F23-4D34-B2E2-DB6B54D80B19}"/>
          </ac:spMkLst>
        </pc:spChg>
        <pc:spChg chg="mod">
          <ac:chgData name="Zita Hrubi" userId="8b1480d7-c069-4105-916e-12522ddfc292" providerId="ADAL" clId="{4164E4B5-3F14-49D0-BED8-005D632963F8}" dt="2020-06-25T13:49:23.587" v="747" actId="113"/>
          <ac:spMkLst>
            <pc:docMk/>
            <pc:sldMk cId="2868134669" sldId="259"/>
            <ac:spMk id="145" creationId="{FBFEFACE-5DA4-4452-826E-CE1E1D607145}"/>
          </ac:spMkLst>
        </pc:spChg>
        <pc:spChg chg="mod">
          <ac:chgData name="Zita Hrubi" userId="8b1480d7-c069-4105-916e-12522ddfc292" providerId="ADAL" clId="{4164E4B5-3F14-49D0-BED8-005D632963F8}" dt="2020-06-25T13:46:04.867" v="736" actId="207"/>
          <ac:spMkLst>
            <pc:docMk/>
            <pc:sldMk cId="2868134669" sldId="259"/>
            <ac:spMk id="154" creationId="{B001C1EB-6E84-4642-9FDE-566312277232}"/>
          </ac:spMkLst>
        </pc:spChg>
        <pc:spChg chg="mod">
          <ac:chgData name="Zita Hrubi" userId="8b1480d7-c069-4105-916e-12522ddfc292" providerId="ADAL" clId="{4164E4B5-3F14-49D0-BED8-005D632963F8}" dt="2020-06-25T13:47:00.228" v="740" actId="207"/>
          <ac:spMkLst>
            <pc:docMk/>
            <pc:sldMk cId="2868134669" sldId="259"/>
            <ac:spMk id="223" creationId="{DA3D9A79-C0CA-45A7-A8EF-DC7395D1A8DE}"/>
          </ac:spMkLst>
        </pc:spChg>
        <pc:spChg chg="mod">
          <ac:chgData name="Zita Hrubi" userId="8b1480d7-c069-4105-916e-12522ddfc292" providerId="ADAL" clId="{4164E4B5-3F14-49D0-BED8-005D632963F8}" dt="2020-06-25T13:49:31.884" v="748" actId="2711"/>
          <ac:spMkLst>
            <pc:docMk/>
            <pc:sldMk cId="2868134669" sldId="259"/>
            <ac:spMk id="224" creationId="{AE397C3E-E5E5-4341-87D1-78B0FD755E9A}"/>
          </ac:spMkLst>
        </pc:spChg>
        <pc:spChg chg="mod">
          <ac:chgData name="Zita Hrubi" userId="8b1480d7-c069-4105-916e-12522ddfc292" providerId="ADAL" clId="{4164E4B5-3F14-49D0-BED8-005D632963F8}" dt="2020-06-25T13:46:08.438" v="737" actId="207"/>
          <ac:spMkLst>
            <pc:docMk/>
            <pc:sldMk cId="2868134669" sldId="259"/>
            <ac:spMk id="225" creationId="{D94FF554-81B6-450E-8C5A-0339FCF651F7}"/>
          </ac:spMkLst>
        </pc:spChg>
        <pc:grpChg chg="del">
          <ac:chgData name="Zita Hrubi" userId="8b1480d7-c069-4105-916e-12522ddfc292" providerId="ADAL" clId="{4164E4B5-3F14-49D0-BED8-005D632963F8}" dt="2020-06-25T06:50:26.358" v="158" actId="478"/>
          <ac:grpSpMkLst>
            <pc:docMk/>
            <pc:sldMk cId="2868134669" sldId="259"/>
            <ac:grpSpMk id="7" creationId="{6489307F-0DB9-4F63-AECC-282D0D1DD11F}"/>
          </ac:grpSpMkLst>
        </pc:grpChg>
        <pc:picChg chg="mod">
          <ac:chgData name="Zita Hrubi" userId="8b1480d7-c069-4105-916e-12522ddfc292" providerId="ADAL" clId="{4164E4B5-3F14-49D0-BED8-005D632963F8}" dt="2020-06-25T06:52:50.333" v="270" actId="1035"/>
          <ac:picMkLst>
            <pc:docMk/>
            <pc:sldMk cId="2868134669" sldId="259"/>
            <ac:picMk id="16" creationId="{73F2E9BB-675C-4375-AE8B-6C9ABD228D6B}"/>
          </ac:picMkLst>
        </pc:picChg>
        <pc:picChg chg="del">
          <ac:chgData name="Zita Hrubi" userId="8b1480d7-c069-4105-916e-12522ddfc292" providerId="ADAL" clId="{4164E4B5-3F14-49D0-BED8-005D632963F8}" dt="2020-06-25T13:44:39.127" v="599" actId="478"/>
          <ac:picMkLst>
            <pc:docMk/>
            <pc:sldMk cId="2868134669" sldId="259"/>
            <ac:picMk id="112" creationId="{D5AE7003-D544-4B8A-A62B-013DC09F15C3}"/>
          </ac:picMkLst>
        </pc:picChg>
        <pc:cxnChg chg="mod">
          <ac:chgData name="Zita Hrubi" userId="8b1480d7-c069-4105-916e-12522ddfc292" providerId="ADAL" clId="{4164E4B5-3F14-49D0-BED8-005D632963F8}" dt="2020-06-25T06:52:50.333" v="270" actId="1035"/>
          <ac:cxnSpMkLst>
            <pc:docMk/>
            <pc:sldMk cId="2868134669" sldId="259"/>
            <ac:cxnSpMk id="11" creationId="{88F353CB-73B9-48D5-89DB-910DD4AFB125}"/>
          </ac:cxnSpMkLst>
        </pc:cxnChg>
        <pc:cxnChg chg="mod">
          <ac:chgData name="Zita Hrubi" userId="8b1480d7-c069-4105-916e-12522ddfc292" providerId="ADAL" clId="{4164E4B5-3F14-49D0-BED8-005D632963F8}" dt="2020-06-25T06:52:48.140" v="268" actId="1076"/>
          <ac:cxnSpMkLst>
            <pc:docMk/>
            <pc:sldMk cId="2868134669" sldId="259"/>
            <ac:cxnSpMk id="231" creationId="{52E44314-65A9-46EF-9BE1-F1FDF546FC72}"/>
          </ac:cxnSpMkLst>
        </pc:cxnChg>
      </pc:sldChg>
      <pc:sldChg chg="del">
        <pc:chgData name="Zita Hrubi" userId="8b1480d7-c069-4105-916e-12522ddfc292" providerId="ADAL" clId="{4164E4B5-3F14-49D0-BED8-005D632963F8}" dt="2020-06-25T06:40:04.049" v="0" actId="47"/>
        <pc:sldMkLst>
          <pc:docMk/>
          <pc:sldMk cId="3953852366" sldId="267"/>
        </pc:sldMkLst>
      </pc:sldChg>
      <pc:sldChg chg="del">
        <pc:chgData name="Zita Hrubi" userId="8b1480d7-c069-4105-916e-12522ddfc292" providerId="ADAL" clId="{4164E4B5-3F14-49D0-BED8-005D632963F8}" dt="2020-06-25T06:40:04.634" v="1" actId="47"/>
        <pc:sldMkLst>
          <pc:docMk/>
          <pc:sldMk cId="197835542" sldId="268"/>
        </pc:sldMkLst>
      </pc:sldChg>
      <pc:sldChg chg="modSp del mod">
        <pc:chgData name="Zita Hrubi" userId="8b1480d7-c069-4105-916e-12522ddfc292" providerId="ADAL" clId="{4164E4B5-3F14-49D0-BED8-005D632963F8}" dt="2020-06-25T13:35:28.290" v="385" actId="47"/>
        <pc:sldMkLst>
          <pc:docMk/>
          <pc:sldMk cId="2799811843" sldId="2076137111"/>
        </pc:sldMkLst>
        <pc:spChg chg="mod">
          <ac:chgData name="Zita Hrubi" userId="8b1480d7-c069-4105-916e-12522ddfc292" providerId="ADAL" clId="{4164E4B5-3F14-49D0-BED8-005D632963F8}" dt="2020-06-25T06:46:54.791" v="154" actId="20577"/>
          <ac:spMkLst>
            <pc:docMk/>
            <pc:sldMk cId="2799811843" sldId="2076137111"/>
            <ac:spMk id="11" creationId="{43941BA6-F33D-405E-8488-19B6F343FDC2}"/>
          </ac:spMkLst>
        </pc:spChg>
        <pc:picChg chg="mod">
          <ac:chgData name="Zita Hrubi" userId="8b1480d7-c069-4105-916e-12522ddfc292" providerId="ADAL" clId="{4164E4B5-3F14-49D0-BED8-005D632963F8}" dt="2020-06-25T06:46:50.026" v="152" actId="1076"/>
          <ac:picMkLst>
            <pc:docMk/>
            <pc:sldMk cId="2799811843" sldId="2076137111"/>
            <ac:picMk id="14" creationId="{5DC63D87-1B21-4B8B-921F-B71935EDAFCA}"/>
          </ac:picMkLst>
        </pc:picChg>
      </pc:sldChg>
      <pc:sldChg chg="delSp modSp del mod">
        <pc:chgData name="Zita Hrubi" userId="8b1480d7-c069-4105-916e-12522ddfc292" providerId="ADAL" clId="{4164E4B5-3F14-49D0-BED8-005D632963F8}" dt="2020-06-25T13:37:30.612" v="422" actId="47"/>
        <pc:sldMkLst>
          <pc:docMk/>
          <pc:sldMk cId="1970380466" sldId="2076137112"/>
        </pc:sldMkLst>
        <pc:spChg chg="mod">
          <ac:chgData name="Zita Hrubi" userId="8b1480d7-c069-4105-916e-12522ddfc292" providerId="ADAL" clId="{4164E4B5-3F14-49D0-BED8-005D632963F8}" dt="2020-06-25T06:42:54.791" v="71" actId="1076"/>
          <ac:spMkLst>
            <pc:docMk/>
            <pc:sldMk cId="1970380466" sldId="2076137112"/>
            <ac:spMk id="11" creationId="{43941BA6-F33D-405E-8488-19B6F343FDC2}"/>
          </ac:spMkLst>
        </pc:spChg>
        <pc:picChg chg="del">
          <ac:chgData name="Zita Hrubi" userId="8b1480d7-c069-4105-916e-12522ddfc292" providerId="ADAL" clId="{4164E4B5-3F14-49D0-BED8-005D632963F8}" dt="2020-06-25T06:42:04.900" v="13" actId="478"/>
          <ac:picMkLst>
            <pc:docMk/>
            <pc:sldMk cId="1970380466" sldId="2076137112"/>
            <ac:picMk id="14" creationId="{5DC63D87-1B21-4B8B-921F-B71935EDAFCA}"/>
          </ac:picMkLst>
        </pc:picChg>
      </pc:sldChg>
      <pc:sldChg chg="modSp new mod ord">
        <pc:chgData name="Zita Hrubi" userId="8b1480d7-c069-4105-916e-12522ddfc292" providerId="ADAL" clId="{4164E4B5-3F14-49D0-BED8-005D632963F8}" dt="2020-06-26T06:50:58.208" v="930" actId="20577"/>
        <pc:sldMkLst>
          <pc:docMk/>
          <pc:sldMk cId="484947355" sldId="2076137113"/>
        </pc:sldMkLst>
        <pc:spChg chg="mod">
          <ac:chgData name="Zita Hrubi" userId="8b1480d7-c069-4105-916e-12522ddfc292" providerId="ADAL" clId="{4164E4B5-3F14-49D0-BED8-005D632963F8}" dt="2020-06-25T06:43:38.850" v="127" actId="20577"/>
          <ac:spMkLst>
            <pc:docMk/>
            <pc:sldMk cId="484947355" sldId="2076137113"/>
            <ac:spMk id="2" creationId="{2028705E-50E1-40B1-BE92-C72EF8917031}"/>
          </ac:spMkLst>
        </pc:spChg>
        <pc:spChg chg="mod">
          <ac:chgData name="Zita Hrubi" userId="8b1480d7-c069-4105-916e-12522ddfc292" providerId="ADAL" clId="{4164E4B5-3F14-49D0-BED8-005D632963F8}" dt="2020-06-26T06:50:58.208" v="930" actId="20577"/>
          <ac:spMkLst>
            <pc:docMk/>
            <pc:sldMk cId="484947355" sldId="2076137113"/>
            <ac:spMk id="3" creationId="{59B37F65-A65B-4C39-AC76-75D5E701E696}"/>
          </ac:spMkLst>
        </pc:spChg>
      </pc:sldChg>
      <pc:sldChg chg="modSp add del mod">
        <pc:chgData name="Zita Hrubi" userId="8b1480d7-c069-4105-916e-12522ddfc292" providerId="ADAL" clId="{4164E4B5-3F14-49D0-BED8-005D632963F8}" dt="2020-06-25T13:37:48.035" v="464" actId="47"/>
        <pc:sldMkLst>
          <pc:docMk/>
          <pc:sldMk cId="399568134" sldId="2076137114"/>
        </pc:sldMkLst>
        <pc:spChg chg="mod">
          <ac:chgData name="Zita Hrubi" userId="8b1480d7-c069-4105-916e-12522ddfc292" providerId="ADAL" clId="{4164E4B5-3F14-49D0-BED8-005D632963F8}" dt="2020-06-25T06:43:05.379" v="103" actId="20577"/>
          <ac:spMkLst>
            <pc:docMk/>
            <pc:sldMk cId="399568134" sldId="2076137114"/>
            <ac:spMk id="11" creationId="{43941BA6-F33D-405E-8488-19B6F343FDC2}"/>
          </ac:spMkLst>
        </pc:spChg>
      </pc:sldChg>
      <pc:sldChg chg="add del">
        <pc:chgData name="Zita Hrubi" userId="8b1480d7-c069-4105-916e-12522ddfc292" providerId="ADAL" clId="{4164E4B5-3F14-49D0-BED8-005D632963F8}" dt="2020-06-25T06:42:37.790" v="52" actId="47"/>
        <pc:sldMkLst>
          <pc:docMk/>
          <pc:sldMk cId="1392215503" sldId="2076137114"/>
        </pc:sldMkLst>
      </pc:sldChg>
      <pc:sldChg chg="add del">
        <pc:chgData name="Zita Hrubi" userId="8b1480d7-c069-4105-916e-12522ddfc292" providerId="ADAL" clId="{4164E4B5-3F14-49D0-BED8-005D632963F8}" dt="2020-06-25T06:42:37.080" v="51" actId="47"/>
        <pc:sldMkLst>
          <pc:docMk/>
          <pc:sldMk cId="1289424218" sldId="2076137115"/>
        </pc:sldMkLst>
      </pc:sldChg>
      <pc:sldChg chg="modSp add del mod">
        <pc:chgData name="Zita Hrubi" userId="8b1480d7-c069-4105-916e-12522ddfc292" providerId="ADAL" clId="{4164E4B5-3F14-49D0-BED8-005D632963F8}" dt="2020-06-25T13:38:02.027" v="483" actId="47"/>
        <pc:sldMkLst>
          <pc:docMk/>
          <pc:sldMk cId="3159607699" sldId="2076137115"/>
        </pc:sldMkLst>
        <pc:spChg chg="mod">
          <ac:chgData name="Zita Hrubi" userId="8b1480d7-c069-4105-916e-12522ddfc292" providerId="ADAL" clId="{4164E4B5-3F14-49D0-BED8-005D632963F8}" dt="2020-06-25T06:43:27.286" v="121" actId="20577"/>
          <ac:spMkLst>
            <pc:docMk/>
            <pc:sldMk cId="3159607699" sldId="2076137115"/>
            <ac:spMk id="11" creationId="{43941BA6-F33D-405E-8488-19B6F343FDC2}"/>
          </ac:spMkLst>
        </pc:spChg>
      </pc:sldChg>
      <pc:sldChg chg="del">
        <pc:chgData name="Zita Hrubi" userId="8b1480d7-c069-4105-916e-12522ddfc292" providerId="ADAL" clId="{4164E4B5-3F14-49D0-BED8-005D632963F8}" dt="2020-06-26T06:47:16.265" v="861" actId="47"/>
        <pc:sldMkLst>
          <pc:docMk/>
          <pc:sldMk cId="2481583580" sldId="2076138466"/>
        </pc:sldMkLst>
      </pc:sldChg>
      <pc:sldChg chg="del">
        <pc:chgData name="Zita Hrubi" userId="8b1480d7-c069-4105-916e-12522ddfc292" providerId="ADAL" clId="{4164E4B5-3F14-49D0-BED8-005D632963F8}" dt="2020-06-26T06:43:34.789" v="833" actId="47"/>
        <pc:sldMkLst>
          <pc:docMk/>
          <pc:sldMk cId="1428436455" sldId="2076138467"/>
        </pc:sldMkLst>
      </pc:sldChg>
      <pc:sldChg chg="modSp add mod">
        <pc:chgData name="Zita Hrubi" userId="8b1480d7-c069-4105-916e-12522ddfc292" providerId="ADAL" clId="{4164E4B5-3F14-49D0-BED8-005D632963F8}" dt="2020-06-25T13:35:37.348" v="403" actId="1036"/>
        <pc:sldMkLst>
          <pc:docMk/>
          <pc:sldMk cId="790984812" sldId="2076138468"/>
        </pc:sldMkLst>
        <pc:spChg chg="mod">
          <ac:chgData name="Zita Hrubi" userId="8b1480d7-c069-4105-916e-12522ddfc292" providerId="ADAL" clId="{4164E4B5-3F14-49D0-BED8-005D632963F8}" dt="2020-06-25T13:35:37.348" v="403" actId="1036"/>
          <ac:spMkLst>
            <pc:docMk/>
            <pc:sldMk cId="790984812" sldId="2076138468"/>
            <ac:spMk id="9" creationId="{6CF67FE7-FDF2-485E-920B-C579DAED9632}"/>
          </ac:spMkLst>
        </pc:spChg>
        <pc:picChg chg="mod ord">
          <ac:chgData name="Zita Hrubi" userId="8b1480d7-c069-4105-916e-12522ddfc292" providerId="ADAL" clId="{4164E4B5-3F14-49D0-BED8-005D632963F8}" dt="2020-06-25T13:34:51.550" v="332" actId="1076"/>
          <ac:picMkLst>
            <pc:docMk/>
            <pc:sldMk cId="790984812" sldId="2076138468"/>
            <ac:picMk id="4" creationId="{4A087096-836F-4480-BBA4-59BBA124932A}"/>
          </ac:picMkLst>
        </pc:picChg>
      </pc:sldChg>
      <pc:sldChg chg="modSp add mod ord">
        <pc:chgData name="Zita Hrubi" userId="8b1480d7-c069-4105-916e-12522ddfc292" providerId="ADAL" clId="{4164E4B5-3F14-49D0-BED8-005D632963F8}" dt="2020-06-25T13:37:29.372" v="421" actId="1076"/>
        <pc:sldMkLst>
          <pc:docMk/>
          <pc:sldMk cId="3422064080" sldId="2076138469"/>
        </pc:sldMkLst>
        <pc:spChg chg="mod">
          <ac:chgData name="Zita Hrubi" userId="8b1480d7-c069-4105-916e-12522ddfc292" providerId="ADAL" clId="{4164E4B5-3F14-49D0-BED8-005D632963F8}" dt="2020-06-25T13:37:29.372" v="421" actId="1076"/>
          <ac:spMkLst>
            <pc:docMk/>
            <pc:sldMk cId="3422064080" sldId="2076138469"/>
            <ac:spMk id="9" creationId="{6CF67FE7-FDF2-485E-920B-C579DAED9632}"/>
          </ac:spMkLst>
        </pc:spChg>
      </pc:sldChg>
      <pc:sldChg chg="modSp add mod">
        <pc:chgData name="Zita Hrubi" userId="8b1480d7-c069-4105-916e-12522ddfc292" providerId="ADAL" clId="{4164E4B5-3F14-49D0-BED8-005D632963F8}" dt="2020-06-25T13:37:46.146" v="463" actId="20577"/>
        <pc:sldMkLst>
          <pc:docMk/>
          <pc:sldMk cId="1155380280" sldId="2076138470"/>
        </pc:sldMkLst>
        <pc:spChg chg="mod">
          <ac:chgData name="Zita Hrubi" userId="8b1480d7-c069-4105-916e-12522ddfc292" providerId="ADAL" clId="{4164E4B5-3F14-49D0-BED8-005D632963F8}" dt="2020-06-25T13:37:46.146" v="463" actId="20577"/>
          <ac:spMkLst>
            <pc:docMk/>
            <pc:sldMk cId="1155380280" sldId="2076138470"/>
            <ac:spMk id="9" creationId="{6CF67FE7-FDF2-485E-920B-C579DAED9632}"/>
          </ac:spMkLst>
        </pc:spChg>
      </pc:sldChg>
      <pc:sldChg chg="modSp add mod">
        <pc:chgData name="Zita Hrubi" userId="8b1480d7-c069-4105-916e-12522ddfc292" providerId="ADAL" clId="{4164E4B5-3F14-49D0-BED8-005D632963F8}" dt="2020-06-25T13:37:59.753" v="482" actId="20577"/>
        <pc:sldMkLst>
          <pc:docMk/>
          <pc:sldMk cId="454745434" sldId="2076138471"/>
        </pc:sldMkLst>
        <pc:spChg chg="mod">
          <ac:chgData name="Zita Hrubi" userId="8b1480d7-c069-4105-916e-12522ddfc292" providerId="ADAL" clId="{4164E4B5-3F14-49D0-BED8-005D632963F8}" dt="2020-06-25T13:37:59.753" v="482" actId="20577"/>
          <ac:spMkLst>
            <pc:docMk/>
            <pc:sldMk cId="454745434" sldId="2076138471"/>
            <ac:spMk id="9" creationId="{6CF67FE7-FDF2-485E-920B-C579DAED9632}"/>
          </ac:spMkLst>
        </pc:spChg>
      </pc:sldChg>
      <pc:sldChg chg="modSp add mod">
        <pc:chgData name="Zita Hrubi" userId="8b1480d7-c069-4105-916e-12522ddfc292" providerId="ADAL" clId="{4164E4B5-3F14-49D0-BED8-005D632963F8}" dt="2020-06-26T06:50:05.952" v="926" actId="1076"/>
        <pc:sldMkLst>
          <pc:docMk/>
          <pc:sldMk cId="1605392380" sldId="2076138472"/>
        </pc:sldMkLst>
        <pc:spChg chg="mod">
          <ac:chgData name="Zita Hrubi" userId="8b1480d7-c069-4105-916e-12522ddfc292" providerId="ADAL" clId="{4164E4B5-3F14-49D0-BED8-005D632963F8}" dt="2020-06-26T06:50:05.952" v="926" actId="1076"/>
          <ac:spMkLst>
            <pc:docMk/>
            <pc:sldMk cId="1605392380" sldId="2076138472"/>
            <ac:spMk id="9" creationId="{6CF67FE7-FDF2-485E-920B-C579DAED9632}"/>
          </ac:spMkLst>
        </pc:spChg>
      </pc:sldChg>
      <pc:sldChg chg="new">
        <pc:chgData name="Zita Hrubi" userId="8b1480d7-c069-4105-916e-12522ddfc292" providerId="ADAL" clId="{4164E4B5-3F14-49D0-BED8-005D632963F8}" dt="2020-06-25T13:38:21.072" v="485" actId="680"/>
        <pc:sldMkLst>
          <pc:docMk/>
          <pc:sldMk cId="3361435658" sldId="2076138473"/>
        </pc:sldMkLst>
      </pc:sldChg>
      <pc:sldChg chg="modSp add mod">
        <pc:chgData name="Zita Hrubi" userId="8b1480d7-c069-4105-916e-12522ddfc292" providerId="ADAL" clId="{4164E4B5-3F14-49D0-BED8-005D632963F8}" dt="2020-06-25T13:39:53.510" v="548" actId="1076"/>
        <pc:sldMkLst>
          <pc:docMk/>
          <pc:sldMk cId="3356268187" sldId="2076138474"/>
        </pc:sldMkLst>
        <pc:spChg chg="mod">
          <ac:chgData name="Zita Hrubi" userId="8b1480d7-c069-4105-916e-12522ddfc292" providerId="ADAL" clId="{4164E4B5-3F14-49D0-BED8-005D632963F8}" dt="2020-06-25T13:39:53.510" v="548" actId="1076"/>
          <ac:spMkLst>
            <pc:docMk/>
            <pc:sldMk cId="3356268187" sldId="2076138474"/>
            <ac:spMk id="9" creationId="{6CF67FE7-FDF2-485E-920B-C579DAED9632}"/>
          </ac:spMkLst>
        </pc:spChg>
      </pc:sldChg>
      <pc:sldChg chg="del">
        <pc:chgData name="Zita Hrubi" userId="8b1480d7-c069-4105-916e-12522ddfc292" providerId="ADAL" clId="{4164E4B5-3F14-49D0-BED8-005D632963F8}" dt="2020-06-25T06:40:10.701" v="7" actId="47"/>
        <pc:sldMkLst>
          <pc:docMk/>
          <pc:sldMk cId="473025160" sldId="2134804844"/>
        </pc:sldMkLst>
      </pc:sldChg>
      <pc:sldChg chg="del">
        <pc:chgData name="Zita Hrubi" userId="8b1480d7-c069-4105-916e-12522ddfc292" providerId="ADAL" clId="{4164E4B5-3F14-49D0-BED8-005D632963F8}" dt="2020-06-25T06:40:10.204" v="6" actId="47"/>
        <pc:sldMkLst>
          <pc:docMk/>
          <pc:sldMk cId="1525007821" sldId="2134804846"/>
        </pc:sldMkLst>
      </pc:sldChg>
      <pc:sldChg chg="del">
        <pc:chgData name="Zita Hrubi" userId="8b1480d7-c069-4105-916e-12522ddfc292" providerId="ADAL" clId="{4164E4B5-3F14-49D0-BED8-005D632963F8}" dt="2020-06-25T06:40:08.055" v="2" actId="47"/>
        <pc:sldMkLst>
          <pc:docMk/>
          <pc:sldMk cId="921883840" sldId="2134804849"/>
        </pc:sldMkLst>
      </pc:sldChg>
      <pc:sldChg chg="del">
        <pc:chgData name="Zita Hrubi" userId="8b1480d7-c069-4105-916e-12522ddfc292" providerId="ADAL" clId="{4164E4B5-3F14-49D0-BED8-005D632963F8}" dt="2020-06-25T06:40:36.791" v="12" actId="47"/>
        <pc:sldMkLst>
          <pc:docMk/>
          <pc:sldMk cId="2228842287" sldId="2134804850"/>
        </pc:sldMkLst>
      </pc:sldChg>
      <pc:sldChg chg="del">
        <pc:chgData name="Zita Hrubi" userId="8b1480d7-c069-4105-916e-12522ddfc292" providerId="ADAL" clId="{4164E4B5-3F14-49D0-BED8-005D632963F8}" dt="2020-06-25T06:40:08.152" v="3" actId="47"/>
        <pc:sldMkLst>
          <pc:docMk/>
          <pc:sldMk cId="982506323" sldId="2134804851"/>
        </pc:sldMkLst>
      </pc:sldChg>
      <pc:sldChg chg="del">
        <pc:chgData name="Zita Hrubi" userId="8b1480d7-c069-4105-916e-12522ddfc292" providerId="ADAL" clId="{4164E4B5-3F14-49D0-BED8-005D632963F8}" dt="2020-06-25T06:40:09.598" v="5" actId="47"/>
        <pc:sldMkLst>
          <pc:docMk/>
          <pc:sldMk cId="4088854049" sldId="2134804852"/>
        </pc:sldMkLst>
      </pc:sldChg>
      <pc:sldChg chg="del">
        <pc:chgData name="Zita Hrubi" userId="8b1480d7-c069-4105-916e-12522ddfc292" providerId="ADAL" clId="{4164E4B5-3F14-49D0-BED8-005D632963F8}" dt="2020-06-25T06:40:08.926" v="4" actId="47"/>
        <pc:sldMkLst>
          <pc:docMk/>
          <pc:sldMk cId="489676719" sldId="2134804854"/>
        </pc:sldMkLst>
      </pc:sldChg>
      <pc:sldChg chg="del">
        <pc:chgData name="Zita Hrubi" userId="8b1480d7-c069-4105-916e-12522ddfc292" providerId="ADAL" clId="{4164E4B5-3F14-49D0-BED8-005D632963F8}" dt="2020-06-25T06:40:35.330" v="11" actId="47"/>
        <pc:sldMkLst>
          <pc:docMk/>
          <pc:sldMk cId="3739924245" sldId="2134804855"/>
        </pc:sldMkLst>
      </pc:sldChg>
      <pc:sldChg chg="del">
        <pc:chgData name="Zita Hrubi" userId="8b1480d7-c069-4105-916e-12522ddfc292" providerId="ADAL" clId="{4164E4B5-3F14-49D0-BED8-005D632963F8}" dt="2020-06-25T06:40:12.524" v="8" actId="47"/>
        <pc:sldMkLst>
          <pc:docMk/>
          <pc:sldMk cId="511950034" sldId="2134804856"/>
        </pc:sldMkLst>
      </pc:sldChg>
      <pc:sldChg chg="del">
        <pc:chgData name="Zita Hrubi" userId="8b1480d7-c069-4105-916e-12522ddfc292" providerId="ADAL" clId="{4164E4B5-3F14-49D0-BED8-005D632963F8}" dt="2020-06-26T06:48:08.442" v="870" actId="47"/>
        <pc:sldMkLst>
          <pc:docMk/>
          <pc:sldMk cId="1096631058" sldId="2134805063"/>
        </pc:sldMkLst>
      </pc:sldChg>
      <pc:sldChg chg="addSp delSp modSp add mod">
        <pc:chgData name="Zita Hrubi" userId="8b1480d7-c069-4105-916e-12522ddfc292" providerId="ADAL" clId="{4164E4B5-3F14-49D0-BED8-005D632963F8}" dt="2020-06-26T06:43:30.513" v="832" actId="1076"/>
        <pc:sldMkLst>
          <pc:docMk/>
          <pc:sldMk cId="3618247810" sldId="2134805064"/>
        </pc:sldMkLst>
        <pc:spChg chg="mod">
          <ac:chgData name="Zita Hrubi" userId="8b1480d7-c069-4105-916e-12522ddfc292" providerId="ADAL" clId="{4164E4B5-3F14-49D0-BED8-005D632963F8}" dt="2020-06-26T06:42:40.533" v="823"/>
          <ac:spMkLst>
            <pc:docMk/>
            <pc:sldMk cId="3618247810" sldId="2134805064"/>
            <ac:spMk id="2" creationId="{2B998B20-7C73-403A-A938-F2C51F7DE73E}"/>
          </ac:spMkLst>
        </pc:spChg>
        <pc:spChg chg="del">
          <ac:chgData name="Zita Hrubi" userId="8b1480d7-c069-4105-916e-12522ddfc292" providerId="ADAL" clId="{4164E4B5-3F14-49D0-BED8-005D632963F8}" dt="2020-06-26T06:42:22.241" v="820" actId="478"/>
          <ac:spMkLst>
            <pc:docMk/>
            <pc:sldMk cId="3618247810" sldId="2134805064"/>
            <ac:spMk id="93" creationId="{25702D3C-6BF3-48D6-BFA0-5553D2C47F2F}"/>
          </ac:spMkLst>
        </pc:spChg>
        <pc:spChg chg="del">
          <ac:chgData name="Zita Hrubi" userId="8b1480d7-c069-4105-916e-12522ddfc292" providerId="ADAL" clId="{4164E4B5-3F14-49D0-BED8-005D632963F8}" dt="2020-06-26T06:42:22.241" v="820" actId="478"/>
          <ac:spMkLst>
            <pc:docMk/>
            <pc:sldMk cId="3618247810" sldId="2134805064"/>
            <ac:spMk id="95" creationId="{142B766D-0948-448E-BCDE-70335C6E350C}"/>
          </ac:spMkLst>
        </pc:spChg>
        <pc:spChg chg="del">
          <ac:chgData name="Zita Hrubi" userId="8b1480d7-c069-4105-916e-12522ddfc292" providerId="ADAL" clId="{4164E4B5-3F14-49D0-BED8-005D632963F8}" dt="2020-06-26T06:42:22.241" v="820" actId="478"/>
          <ac:spMkLst>
            <pc:docMk/>
            <pc:sldMk cId="3618247810" sldId="2134805064"/>
            <ac:spMk id="97" creationId="{ED8B7C74-678C-4C6C-BDF4-A7A749705A40}"/>
          </ac:spMkLst>
        </pc:spChg>
        <pc:grpChg chg="del">
          <ac:chgData name="Zita Hrubi" userId="8b1480d7-c069-4105-916e-12522ddfc292" providerId="ADAL" clId="{4164E4B5-3F14-49D0-BED8-005D632963F8}" dt="2020-06-26T06:42:22.241" v="820" actId="478"/>
          <ac:grpSpMkLst>
            <pc:docMk/>
            <pc:sldMk cId="3618247810" sldId="2134805064"/>
            <ac:grpSpMk id="4" creationId="{1BF56EA3-9994-4159-ACAB-E1E50E7CF8D8}"/>
          </ac:grpSpMkLst>
        </pc:grpChg>
        <pc:grpChg chg="del">
          <ac:chgData name="Zita Hrubi" userId="8b1480d7-c069-4105-916e-12522ddfc292" providerId="ADAL" clId="{4164E4B5-3F14-49D0-BED8-005D632963F8}" dt="2020-06-26T06:42:22.241" v="820" actId="478"/>
          <ac:grpSpMkLst>
            <pc:docMk/>
            <pc:sldMk cId="3618247810" sldId="2134805064"/>
            <ac:grpSpMk id="5" creationId="{E61BFAC5-2D07-408B-A1D1-118716CCBBA9}"/>
          </ac:grpSpMkLst>
        </pc:grpChg>
        <pc:grpChg chg="del">
          <ac:chgData name="Zita Hrubi" userId="8b1480d7-c069-4105-916e-12522ddfc292" providerId="ADAL" clId="{4164E4B5-3F14-49D0-BED8-005D632963F8}" dt="2020-06-26T06:42:22.241" v="820" actId="478"/>
          <ac:grpSpMkLst>
            <pc:docMk/>
            <pc:sldMk cId="3618247810" sldId="2134805064"/>
            <ac:grpSpMk id="6" creationId="{83AA8CFD-A93A-47AC-AEBB-ED0EAD202B3F}"/>
          </ac:grpSpMkLst>
        </pc:grpChg>
        <pc:graphicFrameChg chg="add mod modGraphic">
          <ac:chgData name="Zita Hrubi" userId="8b1480d7-c069-4105-916e-12522ddfc292" providerId="ADAL" clId="{4164E4B5-3F14-49D0-BED8-005D632963F8}" dt="2020-06-26T06:43:30.513" v="832" actId="1076"/>
          <ac:graphicFrameMkLst>
            <pc:docMk/>
            <pc:sldMk cId="3618247810" sldId="2134805064"/>
            <ac:graphicFrameMk id="7" creationId="{1990F79B-046B-4185-89FA-6D9DEA01AD61}"/>
          </ac:graphicFrameMkLst>
        </pc:graphicFrameChg>
        <pc:graphicFrameChg chg="del">
          <ac:chgData name="Zita Hrubi" userId="8b1480d7-c069-4105-916e-12522ddfc292" providerId="ADAL" clId="{4164E4B5-3F14-49D0-BED8-005D632963F8}" dt="2020-06-26T06:42:18.806" v="819" actId="478"/>
          <ac:graphicFrameMkLst>
            <pc:docMk/>
            <pc:sldMk cId="3618247810" sldId="2134805064"/>
            <ac:graphicFrameMk id="90" creationId="{3EE023A5-AFF3-42A9-B5D6-A8116BD1D960}"/>
          </ac:graphicFrameMkLst>
        </pc:graphicFrameChg>
        <pc:picChg chg="del">
          <ac:chgData name="Zita Hrubi" userId="8b1480d7-c069-4105-916e-12522ddfc292" providerId="ADAL" clId="{4164E4B5-3F14-49D0-BED8-005D632963F8}" dt="2020-06-26T06:42:23.689" v="822" actId="478"/>
          <ac:picMkLst>
            <pc:docMk/>
            <pc:sldMk cId="3618247810" sldId="2134805064"/>
            <ac:picMk id="131" creationId="{59F9FD67-8D8F-4F9A-9F14-B178DB95A4E7}"/>
          </ac:picMkLst>
        </pc:picChg>
        <pc:picChg chg="del">
          <ac:chgData name="Zita Hrubi" userId="8b1480d7-c069-4105-916e-12522ddfc292" providerId="ADAL" clId="{4164E4B5-3F14-49D0-BED8-005D632963F8}" dt="2020-06-26T06:42:23.286" v="821" actId="478"/>
          <ac:picMkLst>
            <pc:docMk/>
            <pc:sldMk cId="3618247810" sldId="2134805064"/>
            <ac:picMk id="133" creationId="{6B8C9D6C-1696-412C-94E1-7F7F838BF3D5}"/>
          </ac:picMkLst>
        </pc:picChg>
      </pc:sldChg>
      <pc:sldChg chg="addSp delSp modSp add mod">
        <pc:chgData name="Zita Hrubi" userId="8b1480d7-c069-4105-916e-12522ddfc292" providerId="ADAL" clId="{4164E4B5-3F14-49D0-BED8-005D632963F8}" dt="2020-06-26T06:47:13.920" v="860" actId="1076"/>
        <pc:sldMkLst>
          <pc:docMk/>
          <pc:sldMk cId="2158444935" sldId="2134805065"/>
        </pc:sldMkLst>
        <pc:spChg chg="mod">
          <ac:chgData name="Zita Hrubi" userId="8b1480d7-c069-4105-916e-12522ddfc292" providerId="ADAL" clId="{4164E4B5-3F14-49D0-BED8-005D632963F8}" dt="2020-06-26T06:43:50.525" v="835"/>
          <ac:spMkLst>
            <pc:docMk/>
            <pc:sldMk cId="2158444935" sldId="2134805065"/>
            <ac:spMk id="2" creationId="{2B998B20-7C73-403A-A938-F2C51F7DE73E}"/>
          </ac:spMkLst>
        </pc:spChg>
        <pc:spChg chg="add mod">
          <ac:chgData name="Zita Hrubi" userId="8b1480d7-c069-4105-916e-12522ddfc292" providerId="ADAL" clId="{4164E4B5-3F14-49D0-BED8-005D632963F8}" dt="2020-06-26T06:47:13.920" v="860" actId="1076"/>
          <ac:spMkLst>
            <pc:docMk/>
            <pc:sldMk cId="2158444935" sldId="2134805065"/>
            <ac:spMk id="5" creationId="{6C1DD3E0-64E8-4C70-999E-4768826D9B16}"/>
          </ac:spMkLst>
        </pc:spChg>
        <pc:graphicFrameChg chg="del">
          <ac:chgData name="Zita Hrubi" userId="8b1480d7-c069-4105-916e-12522ddfc292" providerId="ADAL" clId="{4164E4B5-3F14-49D0-BED8-005D632963F8}" dt="2020-06-26T06:44:01.555" v="836" actId="478"/>
          <ac:graphicFrameMkLst>
            <pc:docMk/>
            <pc:sldMk cId="2158444935" sldId="2134805065"/>
            <ac:graphicFrameMk id="7" creationId="{1990F79B-046B-4185-89FA-6D9DEA01AD61}"/>
          </ac:graphicFrameMkLst>
        </pc:graphicFrameChg>
      </pc:sldChg>
      <pc:sldChg chg="addSp delSp modSp add mod">
        <pc:chgData name="Zita Hrubi" userId="8b1480d7-c069-4105-916e-12522ddfc292" providerId="ADAL" clId="{4164E4B5-3F14-49D0-BED8-005D632963F8}" dt="2020-06-26T06:48:04.383" v="869" actId="1076"/>
        <pc:sldMkLst>
          <pc:docMk/>
          <pc:sldMk cId="908871019" sldId="2134805066"/>
        </pc:sldMkLst>
        <pc:spChg chg="mod">
          <ac:chgData name="Zita Hrubi" userId="8b1480d7-c069-4105-916e-12522ddfc292" providerId="ADAL" clId="{4164E4B5-3F14-49D0-BED8-005D632963F8}" dt="2020-06-26T06:47:35.630" v="864"/>
          <ac:spMkLst>
            <pc:docMk/>
            <pc:sldMk cId="908871019" sldId="2134805066"/>
            <ac:spMk id="2" creationId="{2B998B20-7C73-403A-A938-F2C51F7DE73E}"/>
          </ac:spMkLst>
        </pc:spChg>
        <pc:spChg chg="del">
          <ac:chgData name="Zita Hrubi" userId="8b1480d7-c069-4105-916e-12522ddfc292" providerId="ADAL" clId="{4164E4B5-3F14-49D0-BED8-005D632963F8}" dt="2020-06-26T06:47:25.587" v="863" actId="478"/>
          <ac:spMkLst>
            <pc:docMk/>
            <pc:sldMk cId="908871019" sldId="2134805066"/>
            <ac:spMk id="5" creationId="{6C1DD3E0-64E8-4C70-999E-4768826D9B16}"/>
          </ac:spMkLst>
        </pc:spChg>
        <pc:spChg chg="add del mod">
          <ac:chgData name="Zita Hrubi" userId="8b1480d7-c069-4105-916e-12522ddfc292" providerId="ADAL" clId="{4164E4B5-3F14-49D0-BED8-005D632963F8}" dt="2020-06-26T06:47:45.374" v="866" actId="478"/>
          <ac:spMkLst>
            <pc:docMk/>
            <pc:sldMk cId="908871019" sldId="2134805066"/>
            <ac:spMk id="6" creationId="{9D509522-92DD-4847-9983-647AAA965327}"/>
          </ac:spMkLst>
        </pc:spChg>
        <pc:spChg chg="add mod">
          <ac:chgData name="Zita Hrubi" userId="8b1480d7-c069-4105-916e-12522ddfc292" providerId="ADAL" clId="{4164E4B5-3F14-49D0-BED8-005D632963F8}" dt="2020-06-26T06:47:58.470" v="868" actId="1076"/>
          <ac:spMkLst>
            <pc:docMk/>
            <pc:sldMk cId="908871019" sldId="2134805066"/>
            <ac:spMk id="7" creationId="{F3FD5A28-D27F-415C-869C-C982CE3702F1}"/>
          </ac:spMkLst>
        </pc:spChg>
        <pc:graphicFrameChg chg="add mod">
          <ac:chgData name="Zita Hrubi" userId="8b1480d7-c069-4105-916e-12522ddfc292" providerId="ADAL" clId="{4164E4B5-3F14-49D0-BED8-005D632963F8}" dt="2020-06-26T06:48:04.383" v="869" actId="1076"/>
          <ac:graphicFrameMkLst>
            <pc:docMk/>
            <pc:sldMk cId="908871019" sldId="2134805066"/>
            <ac:graphicFrameMk id="9" creationId="{0A17F402-B704-4143-A9D1-EB50FF8883ED}"/>
          </ac:graphicFrameMkLst>
        </pc:graphicFrameChg>
      </pc:sldChg>
      <pc:sldMasterChg chg="del delSldLayout">
        <pc:chgData name="Zita Hrubi" userId="8b1480d7-c069-4105-916e-12522ddfc292" providerId="ADAL" clId="{4164E4B5-3F14-49D0-BED8-005D632963F8}" dt="2020-06-25T06:40:08.055" v="2" actId="47"/>
        <pc:sldMasterMkLst>
          <pc:docMk/>
          <pc:sldMasterMk cId="1168301907" sldId="2147483648"/>
        </pc:sldMasterMkLst>
        <pc:sldLayoutChg chg="del">
          <pc:chgData name="Zita Hrubi" userId="8b1480d7-c069-4105-916e-12522ddfc292" providerId="ADAL" clId="{4164E4B5-3F14-49D0-BED8-005D632963F8}" dt="2020-06-25T06:40:08.055" v="2" actId="47"/>
          <pc:sldLayoutMkLst>
            <pc:docMk/>
            <pc:sldMasterMk cId="1168301907" sldId="2147483648"/>
            <pc:sldLayoutMk cId="594051962" sldId="2147483649"/>
          </pc:sldLayoutMkLst>
        </pc:sldLayoutChg>
        <pc:sldLayoutChg chg="del">
          <pc:chgData name="Zita Hrubi" userId="8b1480d7-c069-4105-916e-12522ddfc292" providerId="ADAL" clId="{4164E4B5-3F14-49D0-BED8-005D632963F8}" dt="2020-06-25T06:40:08.055" v="2" actId="47"/>
          <pc:sldLayoutMkLst>
            <pc:docMk/>
            <pc:sldMasterMk cId="1168301907" sldId="2147483648"/>
            <pc:sldLayoutMk cId="581752109" sldId="2147483650"/>
          </pc:sldLayoutMkLst>
        </pc:sldLayoutChg>
        <pc:sldLayoutChg chg="del">
          <pc:chgData name="Zita Hrubi" userId="8b1480d7-c069-4105-916e-12522ddfc292" providerId="ADAL" clId="{4164E4B5-3F14-49D0-BED8-005D632963F8}" dt="2020-06-25T06:40:08.055" v="2" actId="47"/>
          <pc:sldLayoutMkLst>
            <pc:docMk/>
            <pc:sldMasterMk cId="1168301907" sldId="2147483648"/>
            <pc:sldLayoutMk cId="2672011774" sldId="2147483651"/>
          </pc:sldLayoutMkLst>
        </pc:sldLayoutChg>
        <pc:sldLayoutChg chg="del">
          <pc:chgData name="Zita Hrubi" userId="8b1480d7-c069-4105-916e-12522ddfc292" providerId="ADAL" clId="{4164E4B5-3F14-49D0-BED8-005D632963F8}" dt="2020-06-25T06:40:08.055" v="2" actId="47"/>
          <pc:sldLayoutMkLst>
            <pc:docMk/>
            <pc:sldMasterMk cId="1168301907" sldId="2147483648"/>
            <pc:sldLayoutMk cId="445478001" sldId="2147483652"/>
          </pc:sldLayoutMkLst>
        </pc:sldLayoutChg>
        <pc:sldLayoutChg chg="del">
          <pc:chgData name="Zita Hrubi" userId="8b1480d7-c069-4105-916e-12522ddfc292" providerId="ADAL" clId="{4164E4B5-3F14-49D0-BED8-005D632963F8}" dt="2020-06-25T06:40:08.055" v="2" actId="47"/>
          <pc:sldLayoutMkLst>
            <pc:docMk/>
            <pc:sldMasterMk cId="1168301907" sldId="2147483648"/>
            <pc:sldLayoutMk cId="1359204404" sldId="2147483653"/>
          </pc:sldLayoutMkLst>
        </pc:sldLayoutChg>
        <pc:sldLayoutChg chg="del">
          <pc:chgData name="Zita Hrubi" userId="8b1480d7-c069-4105-916e-12522ddfc292" providerId="ADAL" clId="{4164E4B5-3F14-49D0-BED8-005D632963F8}" dt="2020-06-25T06:40:08.055" v="2" actId="47"/>
          <pc:sldLayoutMkLst>
            <pc:docMk/>
            <pc:sldMasterMk cId="1168301907" sldId="2147483648"/>
            <pc:sldLayoutMk cId="401265803" sldId="2147483654"/>
          </pc:sldLayoutMkLst>
        </pc:sldLayoutChg>
        <pc:sldLayoutChg chg="del">
          <pc:chgData name="Zita Hrubi" userId="8b1480d7-c069-4105-916e-12522ddfc292" providerId="ADAL" clId="{4164E4B5-3F14-49D0-BED8-005D632963F8}" dt="2020-06-25T06:40:08.055" v="2" actId="47"/>
          <pc:sldLayoutMkLst>
            <pc:docMk/>
            <pc:sldMasterMk cId="1168301907" sldId="2147483648"/>
            <pc:sldLayoutMk cId="682483863" sldId="2147483655"/>
          </pc:sldLayoutMkLst>
        </pc:sldLayoutChg>
        <pc:sldLayoutChg chg="del">
          <pc:chgData name="Zita Hrubi" userId="8b1480d7-c069-4105-916e-12522ddfc292" providerId="ADAL" clId="{4164E4B5-3F14-49D0-BED8-005D632963F8}" dt="2020-06-25T06:40:08.055" v="2" actId="47"/>
          <pc:sldLayoutMkLst>
            <pc:docMk/>
            <pc:sldMasterMk cId="1168301907" sldId="2147483648"/>
            <pc:sldLayoutMk cId="1357216325" sldId="2147483656"/>
          </pc:sldLayoutMkLst>
        </pc:sldLayoutChg>
        <pc:sldLayoutChg chg="del">
          <pc:chgData name="Zita Hrubi" userId="8b1480d7-c069-4105-916e-12522ddfc292" providerId="ADAL" clId="{4164E4B5-3F14-49D0-BED8-005D632963F8}" dt="2020-06-25T06:40:08.055" v="2" actId="47"/>
          <pc:sldLayoutMkLst>
            <pc:docMk/>
            <pc:sldMasterMk cId="1168301907" sldId="2147483648"/>
            <pc:sldLayoutMk cId="391661955" sldId="2147483657"/>
          </pc:sldLayoutMkLst>
        </pc:sldLayoutChg>
        <pc:sldLayoutChg chg="del">
          <pc:chgData name="Zita Hrubi" userId="8b1480d7-c069-4105-916e-12522ddfc292" providerId="ADAL" clId="{4164E4B5-3F14-49D0-BED8-005D632963F8}" dt="2020-06-25T06:40:08.055" v="2" actId="47"/>
          <pc:sldLayoutMkLst>
            <pc:docMk/>
            <pc:sldMasterMk cId="1168301907" sldId="2147483648"/>
            <pc:sldLayoutMk cId="1368942497" sldId="2147483658"/>
          </pc:sldLayoutMkLst>
        </pc:sldLayoutChg>
        <pc:sldLayoutChg chg="del">
          <pc:chgData name="Zita Hrubi" userId="8b1480d7-c069-4105-916e-12522ddfc292" providerId="ADAL" clId="{4164E4B5-3F14-49D0-BED8-005D632963F8}" dt="2020-06-25T06:40:08.055" v="2" actId="47"/>
          <pc:sldLayoutMkLst>
            <pc:docMk/>
            <pc:sldMasterMk cId="1168301907" sldId="2147483648"/>
            <pc:sldLayoutMk cId="2835816544" sldId="2147483659"/>
          </pc:sldLayoutMkLst>
        </pc:sldLayoutChg>
        <pc:sldLayoutChg chg="del">
          <pc:chgData name="Zita Hrubi" userId="8b1480d7-c069-4105-916e-12522ddfc292" providerId="ADAL" clId="{4164E4B5-3F14-49D0-BED8-005D632963F8}" dt="2020-06-25T06:40:08.055" v="2" actId="47"/>
          <pc:sldLayoutMkLst>
            <pc:docMk/>
            <pc:sldMasterMk cId="1168301907" sldId="2147483648"/>
            <pc:sldLayoutMk cId="402965700" sldId="2147493236"/>
          </pc:sldLayoutMkLst>
        </pc:sldLayoutChg>
        <pc:sldLayoutChg chg="del">
          <pc:chgData name="Zita Hrubi" userId="8b1480d7-c069-4105-916e-12522ddfc292" providerId="ADAL" clId="{4164E4B5-3F14-49D0-BED8-005D632963F8}" dt="2020-06-25T06:40:08.055" v="2" actId="47"/>
          <pc:sldLayoutMkLst>
            <pc:docMk/>
            <pc:sldMasterMk cId="1168301907" sldId="2147483648"/>
            <pc:sldLayoutMk cId="1682063196" sldId="2147493237"/>
          </pc:sldLayoutMkLst>
        </pc:sldLayoutChg>
        <pc:sldLayoutChg chg="del">
          <pc:chgData name="Zita Hrubi" userId="8b1480d7-c069-4105-916e-12522ddfc292" providerId="ADAL" clId="{4164E4B5-3F14-49D0-BED8-005D632963F8}" dt="2020-06-25T06:40:08.055" v="2" actId="47"/>
          <pc:sldLayoutMkLst>
            <pc:docMk/>
            <pc:sldMasterMk cId="1168301907" sldId="2147483648"/>
            <pc:sldLayoutMk cId="1792255235" sldId="2147493358"/>
          </pc:sldLayoutMkLst>
        </pc:sldLayoutChg>
      </pc:sldMasterChg>
      <pc:sldMasterChg chg="add addSldLayout">
        <pc:chgData name="Zita Hrubi" userId="8b1480d7-c069-4105-916e-12522ddfc292" providerId="ADAL" clId="{4164E4B5-3F14-49D0-BED8-005D632963F8}" dt="2020-06-25T13:33:18.261" v="313" actId="27028"/>
        <pc:sldMasterMkLst>
          <pc:docMk/>
          <pc:sldMasterMk cId="616286012" sldId="2147483684"/>
        </pc:sldMasterMkLst>
        <pc:sldLayoutChg chg="add">
          <pc:chgData name="Zita Hrubi" userId="8b1480d7-c069-4105-916e-12522ddfc292" providerId="ADAL" clId="{4164E4B5-3F14-49D0-BED8-005D632963F8}" dt="2020-06-25T13:33:18.261" v="313" actId="27028"/>
          <pc:sldLayoutMkLst>
            <pc:docMk/>
            <pc:sldMasterMk cId="616286012" sldId="2147483684"/>
            <pc:sldLayoutMk cId="224278709" sldId="2147483687"/>
          </pc:sldLayoutMkLst>
        </pc:sldLayoutChg>
      </pc:sldMasterChg>
      <pc:sldMasterChg chg="delSldLayout">
        <pc:chgData name="Zita Hrubi" userId="8b1480d7-c069-4105-916e-12522ddfc292" providerId="ADAL" clId="{4164E4B5-3F14-49D0-BED8-005D632963F8}" dt="2020-06-25T06:40:10.701" v="7" actId="47"/>
        <pc:sldMasterMkLst>
          <pc:docMk/>
          <pc:sldMasterMk cId="212362452" sldId="2147486662"/>
        </pc:sldMasterMkLst>
        <pc:sldLayoutChg chg="del">
          <pc:chgData name="Zita Hrubi" userId="8b1480d7-c069-4105-916e-12522ddfc292" providerId="ADAL" clId="{4164E4B5-3F14-49D0-BED8-005D632963F8}" dt="2020-06-25T06:40:10.701" v="7" actId="47"/>
          <pc:sldLayoutMkLst>
            <pc:docMk/>
            <pc:sldMasterMk cId="212362452" sldId="2147486662"/>
            <pc:sldLayoutMk cId="3292107811" sldId="2147486670"/>
          </pc:sldLayoutMkLst>
        </pc:sldLayoutChg>
      </pc:sldMasterChg>
      <pc:sldMasterChg chg="delSldLayout">
        <pc:chgData name="Zita Hrubi" userId="8b1480d7-c069-4105-916e-12522ddfc292" providerId="ADAL" clId="{4164E4B5-3F14-49D0-BED8-005D632963F8}" dt="2020-06-25T06:40:10.204" v="6" actId="47"/>
        <pc:sldMasterMkLst>
          <pc:docMk/>
          <pc:sldMasterMk cId="4029663766" sldId="2147486760"/>
        </pc:sldMasterMkLst>
        <pc:sldLayoutChg chg="del">
          <pc:chgData name="Zita Hrubi" userId="8b1480d7-c069-4105-916e-12522ddfc292" providerId="ADAL" clId="{4164E4B5-3F14-49D0-BED8-005D632963F8}" dt="2020-06-25T06:40:10.204" v="6" actId="47"/>
          <pc:sldLayoutMkLst>
            <pc:docMk/>
            <pc:sldMasterMk cId="4029663766" sldId="2147486760"/>
            <pc:sldLayoutMk cId="762411325" sldId="214748679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C43D14-93EB-45B4-8D1B-7767A45759C6}" type="datetimeFigureOut">
              <a:rPr lang="en-US" smtClean="0"/>
              <a:t>6/2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1A225E-6C7B-4114-A365-608FE3E9218D}" type="slidenum">
              <a:rPr lang="en-US" smtClean="0"/>
              <a:t>‹#›</a:t>
            </a:fld>
            <a:endParaRPr lang="en-US"/>
          </a:p>
        </p:txBody>
      </p:sp>
    </p:spTree>
    <p:extLst>
      <p:ext uri="{BB962C8B-B14F-4D97-AF65-F5344CB8AC3E}">
        <p14:creationId xmlns:p14="http://schemas.microsoft.com/office/powerpoint/2010/main" val="3504914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109">
              <a:spcAft>
                <a:spcPts val="350"/>
              </a:spcAf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8881" marR="0" lvl="0" indent="0" algn="l" defTabSz="9418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6/2020 1: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9525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CEB9F-BBD5-490E-B780-76DDF3E6A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47584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CEB9F-BBD5-490E-B780-76DDF3E6A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47584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CEB9F-BBD5-490E-B780-76DDF3E6A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47584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CEB9F-BBD5-490E-B780-76DDF3E6A5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47584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2198" rtl="0" eaLnBrk="1" fontAlgn="auto" latinLnBrk="0" hangingPunct="1">
              <a:lnSpc>
                <a:spcPct val="100000"/>
              </a:lnSpc>
              <a:spcBef>
                <a:spcPts val="0"/>
              </a:spcBef>
              <a:spcAft>
                <a:spcPts val="0"/>
              </a:spcAft>
              <a:buClrTx/>
              <a:buSzTx/>
              <a:buFontTx/>
              <a:buNone/>
              <a:tabLst/>
              <a:defRPr/>
            </a:pPr>
            <a:fld id="{83BB2E67-9DF2-4E43-98E4-9BF0386E093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19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1300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2198" rtl="0" eaLnBrk="1" fontAlgn="auto" latinLnBrk="0" hangingPunct="1">
              <a:lnSpc>
                <a:spcPct val="100000"/>
              </a:lnSpc>
              <a:spcBef>
                <a:spcPts val="0"/>
              </a:spcBef>
              <a:spcAft>
                <a:spcPts val="0"/>
              </a:spcAft>
              <a:buClrTx/>
              <a:buSzTx/>
              <a:buFontTx/>
              <a:buNone/>
              <a:tabLst/>
              <a:defRPr/>
            </a:pPr>
            <a:fld id="{83BB2E67-9DF2-4E43-98E4-9BF0386E093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19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81244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109">
              <a:spcAft>
                <a:spcPts val="350"/>
              </a:spcAf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8881" marR="0" lvl="0" indent="0" algn="l" defTabSz="9418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6/2020 1: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60298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109">
              <a:spcAft>
                <a:spcPts val="350"/>
              </a:spcAf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8881" marR="0" lvl="0" indent="0" algn="l" defTabSz="9418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6/2020 1: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9525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2020 1:0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572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109">
              <a:spcAft>
                <a:spcPts val="350"/>
              </a:spcAf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8881" marR="0" lvl="0" indent="0" algn="l" defTabSz="9418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6/2020 1: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9525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109">
              <a:spcAft>
                <a:spcPts val="350"/>
              </a:spcAf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8881" marR="0" lvl="0" indent="0" algn="l" defTabSz="9418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6/2020 1: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9525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6/2020 1: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9839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6/2020 1: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9839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6/2020 1: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9839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6/2020 1: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88592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109">
              <a:spcAft>
                <a:spcPts val="350"/>
              </a:spcAft>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8881" marR="0" lvl="0" indent="0" algn="l" defTabSz="9418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6/2020 1: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9525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7.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jpeg"/><Relationship Id="rId9" Type="http://schemas.openxmlformats.org/officeDocument/2006/relationships/image" Target="../media/image24.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259667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6352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5D943C7-8694-4703-BE82-DD2513F83C2A}"/>
              </a:ext>
            </a:extLst>
          </p:cNvPr>
          <p:cNvSpPr>
            <a:spLocks noGrp="1"/>
          </p:cNvSpPr>
          <p:nvPr>
            <p:ph type="dt" sz="half" idx="10"/>
          </p:nvPr>
        </p:nvSpPr>
        <p:spPr/>
        <p:txBody>
          <a:bodyPr/>
          <a:lstStyle/>
          <a:p>
            <a:fld id="{A2B32D49-EEE2-44C2-A1DF-53567D7A36B8}" type="datetimeFigureOut">
              <a:rPr lang="en-US" smtClean="0"/>
              <a:t>6/26/2020</a:t>
            </a:fld>
            <a:endParaRPr lang="en-US"/>
          </a:p>
        </p:txBody>
      </p:sp>
      <p:sp>
        <p:nvSpPr>
          <p:cNvPr id="3" name="Footer Placeholder 2">
            <a:extLst>
              <a:ext uri="{FF2B5EF4-FFF2-40B4-BE49-F238E27FC236}">
                <a16:creationId xmlns:a16="http://schemas.microsoft.com/office/drawing/2014/main" id="{8ADDE8B7-9C53-4E94-A797-4BCBC6E9E75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13CECF-B327-425B-8CD7-E4DC60024FC0}"/>
              </a:ext>
            </a:extLst>
          </p:cNvPr>
          <p:cNvSpPr>
            <a:spLocks noGrp="1"/>
          </p:cNvSpPr>
          <p:nvPr>
            <p:ph type="sldNum" sz="quarter" idx="12"/>
          </p:nvPr>
        </p:nvSpPr>
        <p:spPr/>
        <p:txBody>
          <a:bodyPr/>
          <a:lstStyle/>
          <a:p>
            <a:fld id="{844ACFD3-9EBE-4441-898D-0C478F8066D7}" type="slidenum">
              <a:rPr lang="en-US" smtClean="0"/>
              <a:t>‹#›</a:t>
            </a:fld>
            <a:endParaRPr lang="en-US"/>
          </a:p>
        </p:txBody>
      </p:sp>
    </p:spTree>
    <p:extLst>
      <p:ext uri="{BB962C8B-B14F-4D97-AF65-F5344CB8AC3E}">
        <p14:creationId xmlns:p14="http://schemas.microsoft.com/office/powerpoint/2010/main" val="97968583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DEFAULT_Title_Bulleted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74D392-A269-4E57-89D6-0403897A583F}"/>
              </a:ext>
            </a:extLst>
          </p:cNvPr>
          <p:cNvSpPr>
            <a:spLocks noGrp="1"/>
          </p:cNvSpPr>
          <p:nvPr>
            <p:ph sz="quarter" idx="19"/>
          </p:nvPr>
        </p:nvSpPr>
        <p:spPr>
          <a:xfrm>
            <a:off x="217715" y="821943"/>
            <a:ext cx="11753548" cy="501804"/>
          </a:xfrm>
        </p:spPr>
        <p:txBody>
          <a:bodyPr/>
          <a:lstStyle/>
          <a:p>
            <a:pPr lvl="0"/>
            <a:r>
              <a:rPr lang="en-US"/>
              <a:t>Edit Master text styles</a:t>
            </a:r>
          </a:p>
        </p:txBody>
      </p:sp>
      <p:sp>
        <p:nvSpPr>
          <p:cNvPr id="6" name="Title 2" descr="txt_content_slide_title">
            <a:extLst>
              <a:ext uri="{FF2B5EF4-FFF2-40B4-BE49-F238E27FC236}">
                <a16:creationId xmlns:a16="http://schemas.microsoft.com/office/drawing/2014/main" id="{AA5BFB2B-13E8-460D-94FD-9DABF9D69740}"/>
              </a:ext>
            </a:extLst>
          </p:cNvPr>
          <p:cNvSpPr>
            <a:spLocks noGrp="1"/>
          </p:cNvSpPr>
          <p:nvPr>
            <p:ph type="title" hasCustomPrompt="1"/>
          </p:nvPr>
        </p:nvSpPr>
        <p:spPr>
          <a:xfrm>
            <a:off x="217717" y="201712"/>
            <a:ext cx="8360231" cy="484095"/>
          </a:xfrm>
        </p:spPr>
        <p:txBody>
          <a:bodyPr/>
          <a:lstStyle>
            <a:lvl1pPr algn="l" defTabSz="214198" rtl="0" eaLnBrk="1" latinLnBrk="0" hangingPunct="1">
              <a:lnSpc>
                <a:spcPct val="90000"/>
              </a:lnSpc>
              <a:spcBef>
                <a:spcPct val="0"/>
              </a:spcBef>
              <a:buNone/>
              <a:defRPr lang="en-US" sz="2118" b="1" kern="1200" cap="none" spc="-25" baseline="0">
                <a:ln w="3175">
                  <a:noFill/>
                </a:ln>
                <a:solidFill>
                  <a:schemeClr val="bg2">
                    <a:lumMod val="10000"/>
                  </a:schemeClr>
                </a:solidFill>
                <a:effectLst/>
                <a:latin typeface="+mj-lt"/>
                <a:ea typeface="+mn-ea"/>
                <a:cs typeface="Segoe UI Light" panose="020B0502040204020203" pitchFamily="34" charset="0"/>
              </a:defRPr>
            </a:lvl1pPr>
          </a:lstStyle>
          <a:p>
            <a:r>
              <a:rPr lang="en-US">
                <a:solidFill>
                  <a:srgbClr val="505050"/>
                </a:solidFill>
                <a:latin typeface="Segoe UI Semibold" panose="020B0702040204020203" pitchFamily="34" charset="0"/>
                <a:cs typeface="Segoe UI Semibold" panose="020B0702040204020203" pitchFamily="34" charset="0"/>
              </a:rPr>
              <a:t>&lt;Topic&gt;</a:t>
            </a:r>
            <a:endParaRPr lang="en-US"/>
          </a:p>
        </p:txBody>
      </p:sp>
      <p:sp>
        <p:nvSpPr>
          <p:cNvPr id="8" name="Text Placeholder 4">
            <a:extLst>
              <a:ext uri="{FF2B5EF4-FFF2-40B4-BE49-F238E27FC236}">
                <a16:creationId xmlns:a16="http://schemas.microsoft.com/office/drawing/2014/main" id="{85F667C6-AE81-44F0-A487-A2463964D9C4}"/>
              </a:ext>
            </a:extLst>
          </p:cNvPr>
          <p:cNvSpPr>
            <a:spLocks noGrp="1"/>
          </p:cNvSpPr>
          <p:nvPr>
            <p:ph type="body" sz="quarter" idx="18" hasCustomPrompt="1"/>
          </p:nvPr>
        </p:nvSpPr>
        <p:spPr>
          <a:xfrm>
            <a:off x="9502017" y="6586596"/>
            <a:ext cx="2472267" cy="275075"/>
          </a:xfrm>
        </p:spPr>
        <p:txBody>
          <a:bodyPr/>
          <a:lstStyle>
            <a:lvl1pPr marL="0" indent="0">
              <a:buNone/>
              <a:defRPr sz="653" b="0">
                <a:latin typeface="+mj-lt"/>
                <a:ea typeface="Microsoft Himalaya" panose="01010100010101010101" pitchFamily="2" charset="0"/>
                <a:cs typeface="Microsoft Himalaya" panose="01010100010101010101" pitchFamily="2" charset="0"/>
              </a:defRPr>
            </a:lvl1pPr>
          </a:lstStyle>
          <a:p>
            <a:pPr lvl="0"/>
            <a:r>
              <a:rPr lang="en-US"/>
              <a:t>Slide Lock Date:</a:t>
            </a:r>
          </a:p>
        </p:txBody>
      </p:sp>
      <p:sp>
        <p:nvSpPr>
          <p:cNvPr id="9" name="Text Placeholder 6">
            <a:extLst>
              <a:ext uri="{FF2B5EF4-FFF2-40B4-BE49-F238E27FC236}">
                <a16:creationId xmlns:a16="http://schemas.microsoft.com/office/drawing/2014/main" id="{04A709E9-275C-48B6-AFDE-9BB462E4AE16}"/>
              </a:ext>
            </a:extLst>
          </p:cNvPr>
          <p:cNvSpPr>
            <a:spLocks noGrp="1"/>
          </p:cNvSpPr>
          <p:nvPr>
            <p:ph type="body" sz="quarter" idx="12" hasCustomPrompt="1"/>
          </p:nvPr>
        </p:nvSpPr>
        <p:spPr>
          <a:xfrm>
            <a:off x="8575187" y="201717"/>
            <a:ext cx="3396343" cy="484094"/>
          </a:xfrm>
        </p:spPr>
        <p:txBody>
          <a:bodyPr vert="horz" wrap="square" lIns="127337" tIns="79586" rIns="127337" bIns="79586" rtlCol="0" anchor="t">
            <a:noAutofit/>
          </a:bodyPr>
          <a:lstStyle>
            <a:lvl1pPr marL="0" indent="0" algn="r" defTabSz="648691">
              <a:buFontTx/>
              <a:buNone/>
              <a:defRPr lang="en-US" sz="982" b="0" cap="none" dirty="0">
                <a:ln w="3175">
                  <a:noFill/>
                </a:ln>
                <a:solidFill>
                  <a:schemeClr val="tx1"/>
                </a:solidFill>
                <a:effectLst/>
                <a:latin typeface="+mn-lt"/>
                <a:cs typeface="Segoe UI" pitchFamily="34" charset="0"/>
              </a:defRPr>
            </a:lvl1pPr>
          </a:lstStyle>
          <a:p>
            <a:pPr algn="r" defTabSz="735144"/>
            <a:r>
              <a:rPr lang="en-GB" sz="842">
                <a:latin typeface="Segoe UI Light"/>
              </a:rPr>
              <a:t>Presenter:  Insert Name </a:t>
            </a:r>
          </a:p>
          <a:p>
            <a:pPr algn="r" defTabSz="735144"/>
            <a:r>
              <a:rPr lang="en-GB" sz="842">
                <a:latin typeface="Segoe UI Light"/>
              </a:rPr>
              <a:t>OneNote page:  / Slide 1 of X</a:t>
            </a:r>
            <a:endParaRPr lang="en-US" sz="842">
              <a:latin typeface="Segoe UI Light"/>
            </a:endParaRPr>
          </a:p>
        </p:txBody>
      </p:sp>
    </p:spTree>
    <p:extLst>
      <p:ext uri="{BB962C8B-B14F-4D97-AF65-F5344CB8AC3E}">
        <p14:creationId xmlns:p14="http://schemas.microsoft.com/office/powerpoint/2010/main" val="65902791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000" b="0" i="0" baseline="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0" i="0" spc="-60" baseline="0">
                <a:solidFill>
                  <a:schemeClr val="tx2"/>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Text Placeholder 6">
            <a:extLst>
              <a:ext uri="{FF2B5EF4-FFF2-40B4-BE49-F238E27FC236}">
                <a16:creationId xmlns:a16="http://schemas.microsoft.com/office/drawing/2014/main" id="{BD5B5418-980D-C64C-AD17-C5AB88362FAB}"/>
              </a:ext>
            </a:extLst>
          </p:cNvPr>
          <p:cNvSpPr>
            <a:spLocks noGrp="1"/>
          </p:cNvSpPr>
          <p:nvPr>
            <p:ph type="body" sz="quarter" idx="29"/>
          </p:nvPr>
        </p:nvSpPr>
        <p:spPr>
          <a:xfrm>
            <a:off x="457200" y="1737361"/>
            <a:ext cx="11277599" cy="4642802"/>
          </a:xfrm>
        </p:spPr>
        <p:txBody>
          <a:bodyPr t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0292922"/>
      </p:ext>
    </p:extLst>
  </p:cSld>
  <p:clrMapOvr>
    <a:masterClrMapping/>
  </p:clrMapOvr>
  <p:hf hdr="0"/>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70" y="0"/>
            <a:ext cx="5326931" cy="484094"/>
          </a:xfrm>
        </p:spPr>
        <p:txBody>
          <a:bodyPr vert="horz" wrap="square" lIns="127337" tIns="79586" rIns="127337" bIns="79586" rtlCol="0" anchor="t">
            <a:noAutofit/>
          </a:bodyPr>
          <a:lstStyle>
            <a:lvl1pPr marL="0" indent="0" algn="r" defTabSz="648691">
              <a:buFontTx/>
              <a:buNone/>
              <a:defRPr lang="en-US" sz="1144" b="0" cap="none" baseline="0" dirty="0">
                <a:ln w="3175">
                  <a:noFill/>
                </a:ln>
                <a:solidFill>
                  <a:schemeClr val="tx1"/>
                </a:solidFill>
                <a:effectLst/>
                <a:latin typeface="+mn-lt"/>
                <a:cs typeface="Segoe UI" pitchFamily="34" charset="0"/>
              </a:defRPr>
            </a:lvl1pPr>
          </a:lstStyle>
          <a:p>
            <a:pPr algn="r" defTabSz="735144"/>
            <a:r>
              <a:rPr lang="en-GB" sz="981">
                <a:latin typeface="Segoe UI Light"/>
              </a:rPr>
              <a:t>Presenter: Insert Name / OneNote page:  / Slide 1 of X</a:t>
            </a:r>
            <a:endParaRPr lang="en-US" sz="981">
              <a:latin typeface="Segoe UI Light"/>
            </a:endParaRPr>
          </a:p>
        </p:txBody>
      </p:sp>
      <p:sp>
        <p:nvSpPr>
          <p:cNvPr id="9" name="Title 1"/>
          <p:cNvSpPr>
            <a:spLocks noGrp="1"/>
          </p:cNvSpPr>
          <p:nvPr>
            <p:ph type="title"/>
          </p:nvPr>
        </p:nvSpPr>
        <p:spPr>
          <a:xfrm>
            <a:off x="217716" y="201706"/>
            <a:ext cx="7402286" cy="484094"/>
          </a:xfrm>
        </p:spPr>
        <p:txBody>
          <a:bodyPr lIns="45720" rIns="0" anchor="b"/>
          <a:lstStyle>
            <a:lvl1pPr>
              <a:defRPr sz="2118">
                <a:solidFill>
                  <a:schemeClr val="bg2">
                    <a:lumMod val="10000"/>
                  </a:schemeClr>
                </a:solidFill>
              </a:defRPr>
            </a:lvl1pPr>
          </a:lstStyle>
          <a:p>
            <a:r>
              <a:rPr lang="en-US"/>
              <a:t>Click to edit Master title style</a:t>
            </a:r>
          </a:p>
        </p:txBody>
      </p:sp>
    </p:spTree>
    <p:extLst>
      <p:ext uri="{BB962C8B-B14F-4D97-AF65-F5344CB8AC3E}">
        <p14:creationId xmlns:p14="http://schemas.microsoft.com/office/powerpoint/2010/main" val="113363341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4370045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C2D039-5AF0-4907-A551-3E3ED9A605F9}"/>
              </a:ext>
            </a:extLst>
          </p:cNvPr>
          <p:cNvSpPr>
            <a:spLocks noGrp="1"/>
          </p:cNvSpPr>
          <p:nvPr>
            <p:ph type="dt" sz="half" idx="10"/>
          </p:nvPr>
        </p:nvSpPr>
        <p:spPr/>
        <p:txBody>
          <a:bodyPr/>
          <a:lstStyle/>
          <a:p>
            <a:fld id="{C5E4FB1C-920E-4021-9FAA-65187E781BDD}" type="datetimeFigureOut">
              <a:rPr lang="en-IE" smtClean="0"/>
              <a:t>26/06/2020</a:t>
            </a:fld>
            <a:endParaRPr lang="en-IE"/>
          </a:p>
        </p:txBody>
      </p:sp>
      <p:sp>
        <p:nvSpPr>
          <p:cNvPr id="3" name="Footer Placeholder 2">
            <a:extLst>
              <a:ext uri="{FF2B5EF4-FFF2-40B4-BE49-F238E27FC236}">
                <a16:creationId xmlns:a16="http://schemas.microsoft.com/office/drawing/2014/main" id="{11BE2FE7-6E36-4CA2-9E5D-EAE7925C2589}"/>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8D17F686-6470-4378-87F9-4CC2BEEF926A}"/>
              </a:ext>
            </a:extLst>
          </p:cNvPr>
          <p:cNvSpPr>
            <a:spLocks noGrp="1"/>
          </p:cNvSpPr>
          <p:nvPr>
            <p:ph type="sldNum" sz="quarter" idx="12"/>
          </p:nvPr>
        </p:nvSpPr>
        <p:spPr/>
        <p:txBody>
          <a:bodyPr/>
          <a:lstStyle/>
          <a:p>
            <a:fld id="{26B0DE2F-E59E-4B23-BA23-EFAF6A26C80D}" type="slidenum">
              <a:rPr lang="en-IE" smtClean="0"/>
              <a:t>‹#›</a:t>
            </a:fld>
            <a:endParaRPr lang="en-IE"/>
          </a:p>
        </p:txBody>
      </p:sp>
    </p:spTree>
    <p:extLst>
      <p:ext uri="{BB962C8B-B14F-4D97-AF65-F5344CB8AC3E}">
        <p14:creationId xmlns:p14="http://schemas.microsoft.com/office/powerpoint/2010/main" val="40821070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C62C03-A0DE-4C03-92B6-75FC8692F5F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836976-0E1D-4722-950B-FFDAC4182C4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4" name="Footer Placeholder 3">
            <a:extLst>
              <a:ext uri="{FF2B5EF4-FFF2-40B4-BE49-F238E27FC236}">
                <a16:creationId xmlns:a16="http://schemas.microsoft.com/office/drawing/2014/main" id="{8F4C77A4-C0A4-4389-B48B-4DAD2A7D41D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6" b="0" i="0" u="none" strike="noStrike" kern="1200" cap="none" spc="0" normalizeH="0" baseline="0" noProof="0">
              <a:ln>
                <a:noFill/>
              </a:ln>
              <a:solidFill>
                <a:srgbClr val="505050"/>
              </a:solidFill>
              <a:effectLst/>
              <a:uLnTx/>
              <a:uFillTx/>
              <a:latin typeface="Segoe UI Light"/>
              <a:ea typeface="+mn-ea"/>
              <a:cs typeface="+mn-cs"/>
            </a:endParaRPr>
          </a:p>
        </p:txBody>
      </p:sp>
      <p:sp>
        <p:nvSpPr>
          <p:cNvPr id="5" name="Slide Number Placeholder 4">
            <a:extLst>
              <a:ext uri="{FF2B5EF4-FFF2-40B4-BE49-F238E27FC236}">
                <a16:creationId xmlns:a16="http://schemas.microsoft.com/office/drawing/2014/main" id="{F71D227B-9745-4602-B705-4F3223272F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0BCC5D-1A70-4D0A-B01F-7E76A17FA27C}" type="slidenum">
              <a:rPr kumimoji="0" lang="en-US" sz="970" b="0" i="0" u="none" strike="noStrike" kern="1200" cap="none" spc="0" normalizeH="0" baseline="0" noProof="0" smtClean="0">
                <a:ln>
                  <a:noFill/>
                </a:ln>
                <a:gradFill>
                  <a:gsLst>
                    <a:gs pos="5000">
                      <a:srgbClr val="505050"/>
                    </a:gs>
                    <a:gs pos="31000">
                      <a:srgbClr val="505050"/>
                    </a:gs>
                  </a:gsLst>
                  <a:lin ang="5400000" scaled="0"/>
                </a:gra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70" b="0" i="0" u="none" strike="noStrike" kern="1200" cap="none" spc="0" normalizeH="0" baseline="0" noProof="0">
              <a:ln>
                <a:noFill/>
              </a:ln>
              <a:gradFill>
                <a:gsLst>
                  <a:gs pos="5000">
                    <a:srgbClr val="505050"/>
                  </a:gs>
                  <a:gs pos="31000">
                    <a:srgbClr val="505050"/>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1203761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13" name="Slide Number Placeholder 5"/>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67FF61F5-E481-41BC-8EB1-1A63A96D5FE8}" type="slidenum">
              <a:rPr kumimoji="0" lang="en-US" sz="900" b="0" i="0" u="none" strike="noStrike" kern="1200" cap="none" spc="0" normalizeH="0" baseline="0" noProof="0" smtClean="0">
                <a:ln>
                  <a:noFill/>
                </a:ln>
                <a:solidFill>
                  <a:srgbClr val="505050">
                    <a:tint val="75000"/>
                  </a:srgbClr>
                </a:solidFill>
                <a:effectLst/>
                <a:uLnTx/>
                <a:uFillTx/>
                <a:latin typeface="Segoe UI Ligh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505050">
                  <a:tint val="75000"/>
                </a:srgbClr>
              </a:solidFill>
              <a:effectLst/>
              <a:uLnTx/>
              <a:uFillTx/>
              <a:latin typeface="Segoe UI Light"/>
              <a:ea typeface="+mn-ea"/>
              <a:cs typeface="+mn-cs"/>
            </a:endParaRPr>
          </a:p>
        </p:txBody>
      </p:sp>
      <p:sp>
        <p:nvSpPr>
          <p:cNvPr id="15" name="Footer Placeholder 6"/>
          <p:cNvSpPr>
            <a:spLocks noGrp="1"/>
          </p:cNvSpPr>
          <p:nvPr>
            <p:ph type="ftr" sz="quarter" idx="3"/>
          </p:nvPr>
        </p:nvSpPr>
        <p:spPr>
          <a:xfrm>
            <a:off x="436378" y="6356350"/>
            <a:ext cx="11336980" cy="365125"/>
          </a:xfrm>
          <a:prstGeom prst="rect">
            <a:avLst/>
          </a:prstGeom>
        </p:spPr>
        <p:txBody>
          <a:bodyPr vert="horz" lIns="91440" tIns="45720" rIns="91440" bIns="45720" numCol="2"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Segoe UI Light"/>
                <a:ea typeface="+mn-ea"/>
                <a:cs typeface="+mn-cs"/>
              </a:rPr>
              <a:t>© Microsoft Corpo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lumMod val="65000"/>
                </a:srgbClr>
              </a:solidFill>
              <a:effectLst/>
              <a:uLnTx/>
              <a:uFillTx/>
              <a:latin typeface="Segoe UI Light"/>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Segoe UI Light"/>
                <a:ea typeface="+mn-ea"/>
                <a:cs typeface="+mn-cs"/>
              </a:rPr>
              <a:t>Azure</a:t>
            </a:r>
          </a:p>
        </p:txBody>
      </p:sp>
    </p:spTree>
    <p:extLst>
      <p:ext uri="{BB962C8B-B14F-4D97-AF65-F5344CB8AC3E}">
        <p14:creationId xmlns:p14="http://schemas.microsoft.com/office/powerpoint/2010/main" val="389214704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68566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p:cNvSpPr>
            <a:spLocks noGrp="1"/>
          </p:cNvSpPr>
          <p:nvPr>
            <p:ph type="title"/>
          </p:nvPr>
        </p:nvSpPr>
        <p:spPr>
          <a:xfrm>
            <a:off x="217716" y="201706"/>
            <a:ext cx="11756571" cy="484094"/>
          </a:xfrm>
        </p:spPr>
        <p:txBody>
          <a:bodyPr lIns="45720" rIns="0" anchor="b"/>
          <a:lstStyle>
            <a:lvl1pPr>
              <a:defRPr sz="2118">
                <a:solidFill>
                  <a:schemeClr val="bg2">
                    <a:lumMod val="10000"/>
                  </a:schemeClr>
                </a:solidFill>
              </a:defRPr>
            </a:lvl1pPr>
          </a:lstStyle>
          <a:p>
            <a:r>
              <a:rPr lang="en-US"/>
              <a:t>Click to edit Master title style</a:t>
            </a:r>
          </a:p>
        </p:txBody>
      </p:sp>
    </p:spTree>
    <p:extLst>
      <p:ext uri="{BB962C8B-B14F-4D97-AF65-F5344CB8AC3E}">
        <p14:creationId xmlns:p14="http://schemas.microsoft.com/office/powerpoint/2010/main" val="27093367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5C7F7C-ABE3-46A8-AAE3-DC611DEC75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41C01E-65A7-49BC-94BA-EE440AE083E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13719F-7026-4139-B228-CDAE023A952B}"/>
              </a:ext>
            </a:extLst>
          </p:cNvPr>
          <p:cNvSpPr>
            <a:spLocks noGrp="1"/>
          </p:cNvSpPr>
          <p:nvPr>
            <p:ph type="dt" sz="half" idx="10"/>
          </p:nvPr>
        </p:nvSpPr>
        <p:spPr/>
        <p:txBody>
          <a:bodyPr/>
          <a:lstStyle/>
          <a:p>
            <a:fld id="{146F1C37-813C-4917-A15D-67D6BFF3B869}" type="datetimeFigureOut">
              <a:rPr lang="en-US" smtClean="0"/>
              <a:t>6/26/2020</a:t>
            </a:fld>
            <a:endParaRPr lang="en-US"/>
          </a:p>
        </p:txBody>
      </p:sp>
      <p:sp>
        <p:nvSpPr>
          <p:cNvPr id="5" name="Footer Placeholder 4">
            <a:extLst>
              <a:ext uri="{FF2B5EF4-FFF2-40B4-BE49-F238E27FC236}">
                <a16:creationId xmlns:a16="http://schemas.microsoft.com/office/drawing/2014/main" id="{A3E8A074-52B5-431E-B7D0-BC645FAAF5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B9EB3C-285E-4993-AE1A-9F933AF60201}"/>
              </a:ext>
            </a:extLst>
          </p:cNvPr>
          <p:cNvSpPr>
            <a:spLocks noGrp="1"/>
          </p:cNvSpPr>
          <p:nvPr>
            <p:ph type="sldNum" sz="quarter" idx="12"/>
          </p:nvPr>
        </p:nvSpPr>
        <p:spPr/>
        <p:txBody>
          <a:bodyPr/>
          <a:lstStyle/>
          <a:p>
            <a:fld id="{61C6DBAE-B9CB-4307-B7D0-6491858F1E5A}" type="slidenum">
              <a:rPr lang="en-US" smtClean="0"/>
              <a:t>‹#›</a:t>
            </a:fld>
            <a:endParaRPr lang="en-US"/>
          </a:p>
        </p:txBody>
      </p:sp>
    </p:spTree>
    <p:extLst>
      <p:ext uri="{BB962C8B-B14F-4D97-AF65-F5344CB8AC3E}">
        <p14:creationId xmlns:p14="http://schemas.microsoft.com/office/powerpoint/2010/main" val="5735494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Title Slide Photo_Option">
    <p:bg>
      <p:bgPr>
        <a:solidFill>
          <a:srgbClr val="4668C5"/>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 y="0"/>
            <a:ext cx="5878286" cy="6858000"/>
          </a:xfrm>
          <a:prstGeom prst="rect">
            <a:avLst/>
          </a:prstGeom>
          <a:solidFill>
            <a:schemeClr val="accent1">
              <a:lumMod val="50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5784" tIns="108626" rIns="135784" bIns="108626" numCol="1" spcCol="0" rtlCol="0" fromWordArt="0" anchor="t" anchorCtr="0" forceAA="0" compatLnSpc="1">
            <a:prstTxWarp prst="textNoShape">
              <a:avLst/>
            </a:prstTxWarp>
            <a:noAutofit/>
          </a:bodyPr>
          <a:lstStyle/>
          <a:p>
            <a:pPr algn="ctr" defTabSz="692461" fontAlgn="base">
              <a:lnSpc>
                <a:spcPct val="90000"/>
              </a:lnSpc>
              <a:spcBef>
                <a:spcPct val="0"/>
              </a:spcBef>
              <a:spcAft>
                <a:spcPct val="0"/>
              </a:spcAft>
            </a:pPr>
            <a:endParaRPr lang="en-US" sz="1782">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43" y="2084189"/>
            <a:ext cx="5826761" cy="1793104"/>
          </a:xfrm>
          <a:noFill/>
        </p:spPr>
        <p:txBody>
          <a:bodyPr lIns="146304" tIns="91440" rIns="146304" bIns="91440" anchor="t" anchorCtr="0"/>
          <a:lstStyle>
            <a:lvl1pPr>
              <a:defRPr sz="4010" spc="-75" baseline="0">
                <a:gradFill>
                  <a:gsLst>
                    <a:gs pos="86111">
                      <a:schemeClr val="tx1"/>
                    </a:gs>
                    <a:gs pos="76250">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23" y="3877271"/>
            <a:ext cx="5826761" cy="1789991"/>
          </a:xfrm>
        </p:spPr>
        <p:txBody>
          <a:bodyPr tIns="109728" bIns="109728">
            <a:noAutofit/>
          </a:bodyPr>
          <a:lstStyle>
            <a:lvl1pPr marL="0" indent="0">
              <a:spcBef>
                <a:spcPts val="0"/>
              </a:spcBef>
              <a:buNone/>
              <a:defRPr sz="2376">
                <a:gradFill>
                  <a:gsLst>
                    <a:gs pos="25926">
                      <a:schemeClr val="tx1"/>
                    </a:gs>
                    <a:gs pos="51000">
                      <a:schemeClr val="tx1"/>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525" y="6229914"/>
            <a:ext cx="1570718" cy="299186"/>
            <a:chOff x="457200" y="1643393"/>
            <a:chExt cx="4492753" cy="964540"/>
          </a:xfrm>
        </p:grpSpPr>
        <p:pic>
          <p:nvPicPr>
            <p:cNvPr id="11" name="Picture 10"/>
            <p:cNvPicPr>
              <a:picLocks noChangeAspect="1"/>
            </p:cNvPicPr>
            <p:nvPr/>
          </p:nvPicPr>
          <p:blipFill>
            <a:blip r:embed="rId2"/>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114"/>
            </a:p>
          </p:txBody>
        </p:sp>
      </p:grpSp>
      <p:sp>
        <p:nvSpPr>
          <p:cNvPr id="13" name="Freeform 6"/>
          <p:cNvSpPr>
            <a:spLocks noEditPoints="1"/>
          </p:cNvSpPr>
          <p:nvPr userDrawn="1"/>
        </p:nvSpPr>
        <p:spPr bwMode="auto">
          <a:xfrm>
            <a:off x="5973487" y="2103611"/>
            <a:ext cx="6096001" cy="3566769"/>
          </a:xfrm>
          <a:custGeom>
            <a:avLst/>
            <a:gdLst>
              <a:gd name="T0" fmla="*/ 1776 w 2020"/>
              <a:gd name="T1" fmla="*/ 1074 h 1182"/>
              <a:gd name="T2" fmla="*/ 1629 w 2020"/>
              <a:gd name="T3" fmla="*/ 1146 h 1182"/>
              <a:gd name="T4" fmla="*/ 1498 w 2020"/>
              <a:gd name="T5" fmla="*/ 1016 h 1182"/>
              <a:gd name="T6" fmla="*/ 1543 w 2020"/>
              <a:gd name="T7" fmla="*/ 901 h 1182"/>
              <a:gd name="T8" fmla="*/ 1585 w 2020"/>
              <a:gd name="T9" fmla="*/ 785 h 1182"/>
              <a:gd name="T10" fmla="*/ 1314 w 2020"/>
              <a:gd name="T11" fmla="*/ 756 h 1182"/>
              <a:gd name="T12" fmla="*/ 1061 w 2020"/>
              <a:gd name="T13" fmla="*/ 640 h 1182"/>
              <a:gd name="T14" fmla="*/ 1032 w 2020"/>
              <a:gd name="T15" fmla="*/ 525 h 1182"/>
              <a:gd name="T16" fmla="*/ 848 w 2020"/>
              <a:gd name="T17" fmla="*/ 409 h 1182"/>
              <a:gd name="T18" fmla="*/ 1553 w 2020"/>
              <a:gd name="T19" fmla="*/ 301 h 1182"/>
              <a:gd name="T20" fmla="*/ 1686 w 2020"/>
              <a:gd name="T21" fmla="*/ 185 h 1182"/>
              <a:gd name="T22" fmla="*/ 1237 w 2020"/>
              <a:gd name="T23" fmla="*/ 70 h 1182"/>
              <a:gd name="T24" fmla="*/ 749 w 2020"/>
              <a:gd name="T25" fmla="*/ 185 h 1182"/>
              <a:gd name="T26" fmla="*/ 721 w 2020"/>
              <a:gd name="T27" fmla="*/ 301 h 1182"/>
              <a:gd name="T28" fmla="*/ 366 w 2020"/>
              <a:gd name="T29" fmla="*/ 344 h 1182"/>
              <a:gd name="T30" fmla="*/ 237 w 2020"/>
              <a:gd name="T31" fmla="*/ 228 h 1182"/>
              <a:gd name="T32" fmla="*/ 318 w 2020"/>
              <a:gd name="T33" fmla="*/ 38 h 1182"/>
              <a:gd name="T34" fmla="*/ 353 w 2020"/>
              <a:gd name="T35" fmla="*/ 264 h 1182"/>
              <a:gd name="T36" fmla="*/ 497 w 2020"/>
              <a:gd name="T37" fmla="*/ 373 h 1182"/>
              <a:gd name="T38" fmla="*/ 180 w 2020"/>
              <a:gd name="T39" fmla="*/ 488 h 1182"/>
              <a:gd name="T40" fmla="*/ 190 w 2020"/>
              <a:gd name="T41" fmla="*/ 604 h 1182"/>
              <a:gd name="T42" fmla="*/ 273 w 2020"/>
              <a:gd name="T43" fmla="*/ 720 h 1182"/>
              <a:gd name="T44" fmla="*/ 377 w 2020"/>
              <a:gd name="T45" fmla="*/ 835 h 1182"/>
              <a:gd name="T46" fmla="*/ 446 w 2020"/>
              <a:gd name="T47" fmla="*/ 951 h 1182"/>
              <a:gd name="T48" fmla="*/ 443 w 2020"/>
              <a:gd name="T49" fmla="*/ 1066 h 1182"/>
              <a:gd name="T50" fmla="*/ 955 w 2020"/>
              <a:gd name="T51" fmla="*/ 1030 h 1182"/>
              <a:gd name="T52" fmla="*/ 912 w 2020"/>
              <a:gd name="T53" fmla="*/ 900 h 1182"/>
              <a:gd name="T54" fmla="*/ 898 w 2020"/>
              <a:gd name="T55" fmla="*/ 785 h 1182"/>
              <a:gd name="T56" fmla="*/ 755 w 2020"/>
              <a:gd name="T57" fmla="*/ 669 h 1182"/>
              <a:gd name="T58" fmla="*/ 798 w 2020"/>
              <a:gd name="T59" fmla="*/ 553 h 1182"/>
              <a:gd name="T60" fmla="*/ 761 w 2020"/>
              <a:gd name="T61" fmla="*/ 438 h 1182"/>
              <a:gd name="T62" fmla="*/ 1592 w 2020"/>
              <a:gd name="T63" fmla="*/ 388 h 1182"/>
              <a:gd name="T64" fmla="*/ 1553 w 2020"/>
              <a:gd name="T65" fmla="*/ 503 h 1182"/>
              <a:gd name="T66" fmla="*/ 1526 w 2020"/>
              <a:gd name="T67" fmla="*/ 619 h 1182"/>
              <a:gd name="T68" fmla="*/ 1454 w 2020"/>
              <a:gd name="T69" fmla="*/ 734 h 1182"/>
              <a:gd name="T70" fmla="*/ 1623 w 2020"/>
              <a:gd name="T71" fmla="*/ 792 h 1182"/>
              <a:gd name="T72" fmla="*/ 1681 w 2020"/>
              <a:gd name="T73" fmla="*/ 879 h 1182"/>
              <a:gd name="T74" fmla="*/ 1712 w 2020"/>
              <a:gd name="T75" fmla="*/ 995 h 1182"/>
              <a:gd name="T76" fmla="*/ 1658 w 2020"/>
              <a:gd name="T77" fmla="*/ 1110 h 1182"/>
              <a:gd name="T78" fmla="*/ 1824 w 2020"/>
              <a:gd name="T79" fmla="*/ 1081 h 1182"/>
              <a:gd name="T80" fmla="*/ 2020 w 2020"/>
              <a:gd name="T81" fmla="*/ 870 h 1182"/>
              <a:gd name="T82" fmla="*/ 969 w 2020"/>
              <a:gd name="T83" fmla="*/ 459 h 1182"/>
              <a:gd name="T84" fmla="*/ 860 w 2020"/>
              <a:gd name="T85" fmla="*/ 575 h 1182"/>
              <a:gd name="T86" fmla="*/ 1046 w 2020"/>
              <a:gd name="T87" fmla="*/ 691 h 1182"/>
              <a:gd name="T88" fmla="*/ 1049 w 2020"/>
              <a:gd name="T89" fmla="*/ 806 h 1182"/>
              <a:gd name="T90" fmla="*/ 1017 w 2020"/>
              <a:gd name="T91" fmla="*/ 922 h 1182"/>
              <a:gd name="T92" fmla="*/ 1017 w 2020"/>
              <a:gd name="T93" fmla="*/ 1066 h 1182"/>
              <a:gd name="T94" fmla="*/ 495 w 2020"/>
              <a:gd name="T95" fmla="*/ 1037 h 1182"/>
              <a:gd name="T96" fmla="*/ 593 w 2020"/>
              <a:gd name="T97" fmla="*/ 922 h 1182"/>
              <a:gd name="T98" fmla="*/ 529 w 2020"/>
              <a:gd name="T99" fmla="*/ 806 h 1182"/>
              <a:gd name="T100" fmla="*/ 276 w 2020"/>
              <a:gd name="T101" fmla="*/ 691 h 1182"/>
              <a:gd name="T102" fmla="*/ 381 w 2020"/>
              <a:gd name="T103" fmla="*/ 575 h 1182"/>
              <a:gd name="T104" fmla="*/ 518 w 2020"/>
              <a:gd name="T105" fmla="*/ 459 h 1182"/>
              <a:gd name="T106" fmla="*/ 601 w 2020"/>
              <a:gd name="T107" fmla="*/ 330 h 1182"/>
              <a:gd name="T108" fmla="*/ 581 w 2020"/>
              <a:gd name="T109" fmla="*/ 214 h 1182"/>
              <a:gd name="T110" fmla="*/ 622 w 2020"/>
              <a:gd name="T111" fmla="*/ 99 h 1182"/>
              <a:gd name="T112" fmla="*/ 1075 w 2020"/>
              <a:gd name="T113" fmla="*/ 156 h 1182"/>
              <a:gd name="T114" fmla="*/ 940 w 2020"/>
              <a:gd name="T115" fmla="*/ 272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0" h="1182">
                <a:moveTo>
                  <a:pt x="2001" y="851"/>
                </a:moveTo>
                <a:cubicBezTo>
                  <a:pt x="1990" y="851"/>
                  <a:pt x="1982" y="860"/>
                  <a:pt x="1982" y="870"/>
                </a:cubicBezTo>
                <a:cubicBezTo>
                  <a:pt x="1982" y="878"/>
                  <a:pt x="1987" y="885"/>
                  <a:pt x="1994" y="887"/>
                </a:cubicBezTo>
                <a:cubicBezTo>
                  <a:pt x="1988" y="947"/>
                  <a:pt x="1938" y="995"/>
                  <a:pt x="1876" y="995"/>
                </a:cubicBezTo>
                <a:cubicBezTo>
                  <a:pt x="1791" y="995"/>
                  <a:pt x="1791" y="995"/>
                  <a:pt x="1791" y="995"/>
                </a:cubicBezTo>
                <a:cubicBezTo>
                  <a:pt x="1779" y="995"/>
                  <a:pt x="1770" y="1004"/>
                  <a:pt x="1770" y="1016"/>
                </a:cubicBezTo>
                <a:cubicBezTo>
                  <a:pt x="1770" y="1028"/>
                  <a:pt x="1779" y="1038"/>
                  <a:pt x="1791" y="1038"/>
                </a:cubicBezTo>
                <a:cubicBezTo>
                  <a:pt x="1843" y="1038"/>
                  <a:pt x="1843" y="1038"/>
                  <a:pt x="1843" y="1038"/>
                </a:cubicBezTo>
                <a:cubicBezTo>
                  <a:pt x="1847" y="1038"/>
                  <a:pt x="1850" y="1041"/>
                  <a:pt x="1850" y="1045"/>
                </a:cubicBezTo>
                <a:cubicBezTo>
                  <a:pt x="1850" y="1049"/>
                  <a:pt x="1847" y="1052"/>
                  <a:pt x="1843" y="1052"/>
                </a:cubicBezTo>
                <a:cubicBezTo>
                  <a:pt x="1797" y="1052"/>
                  <a:pt x="1797" y="1052"/>
                  <a:pt x="1797" y="1052"/>
                </a:cubicBezTo>
                <a:cubicBezTo>
                  <a:pt x="1785" y="1052"/>
                  <a:pt x="1776" y="1062"/>
                  <a:pt x="1776" y="1074"/>
                </a:cubicBezTo>
                <a:cubicBezTo>
                  <a:pt x="1776" y="1086"/>
                  <a:pt x="1785" y="1096"/>
                  <a:pt x="1797" y="1096"/>
                </a:cubicBezTo>
                <a:cubicBezTo>
                  <a:pt x="1824" y="1096"/>
                  <a:pt x="1824" y="1096"/>
                  <a:pt x="1824" y="1096"/>
                </a:cubicBezTo>
                <a:cubicBezTo>
                  <a:pt x="1828" y="1096"/>
                  <a:pt x="1832" y="1099"/>
                  <a:pt x="1832" y="1103"/>
                </a:cubicBezTo>
                <a:cubicBezTo>
                  <a:pt x="1832" y="1107"/>
                  <a:pt x="1828" y="1110"/>
                  <a:pt x="1824" y="1110"/>
                </a:cubicBezTo>
                <a:cubicBezTo>
                  <a:pt x="1766" y="1110"/>
                  <a:pt x="1766" y="1110"/>
                  <a:pt x="1766" y="1110"/>
                </a:cubicBezTo>
                <a:cubicBezTo>
                  <a:pt x="1754" y="1110"/>
                  <a:pt x="1744" y="1120"/>
                  <a:pt x="1744" y="1132"/>
                </a:cubicBezTo>
                <a:cubicBezTo>
                  <a:pt x="1744" y="1144"/>
                  <a:pt x="1754" y="1153"/>
                  <a:pt x="1766" y="1153"/>
                </a:cubicBezTo>
                <a:cubicBezTo>
                  <a:pt x="1789" y="1153"/>
                  <a:pt x="1789" y="1153"/>
                  <a:pt x="1789" y="1153"/>
                </a:cubicBezTo>
                <a:cubicBezTo>
                  <a:pt x="1793" y="1153"/>
                  <a:pt x="1797" y="1157"/>
                  <a:pt x="1797" y="1161"/>
                </a:cubicBezTo>
                <a:cubicBezTo>
                  <a:pt x="1797" y="1165"/>
                  <a:pt x="1793" y="1168"/>
                  <a:pt x="1789" y="1168"/>
                </a:cubicBezTo>
                <a:cubicBezTo>
                  <a:pt x="1650" y="1168"/>
                  <a:pt x="1650" y="1168"/>
                  <a:pt x="1650" y="1168"/>
                </a:cubicBezTo>
                <a:cubicBezTo>
                  <a:pt x="1638" y="1168"/>
                  <a:pt x="1629" y="1158"/>
                  <a:pt x="1629" y="1146"/>
                </a:cubicBezTo>
                <a:cubicBezTo>
                  <a:pt x="1629" y="1134"/>
                  <a:pt x="1638" y="1125"/>
                  <a:pt x="1650" y="1125"/>
                </a:cubicBezTo>
                <a:cubicBezTo>
                  <a:pt x="1658" y="1125"/>
                  <a:pt x="1658" y="1125"/>
                  <a:pt x="1658" y="1125"/>
                </a:cubicBezTo>
                <a:cubicBezTo>
                  <a:pt x="1670" y="1125"/>
                  <a:pt x="1680" y="1115"/>
                  <a:pt x="1680" y="1103"/>
                </a:cubicBezTo>
                <a:cubicBezTo>
                  <a:pt x="1680" y="1091"/>
                  <a:pt x="1670" y="1081"/>
                  <a:pt x="1658" y="1081"/>
                </a:cubicBezTo>
                <a:cubicBezTo>
                  <a:pt x="1635" y="1081"/>
                  <a:pt x="1635" y="1081"/>
                  <a:pt x="1635" y="1081"/>
                </a:cubicBezTo>
                <a:cubicBezTo>
                  <a:pt x="1631" y="1081"/>
                  <a:pt x="1628" y="1078"/>
                  <a:pt x="1628" y="1074"/>
                </a:cubicBezTo>
                <a:cubicBezTo>
                  <a:pt x="1628" y="1070"/>
                  <a:pt x="1631" y="1067"/>
                  <a:pt x="1635" y="1067"/>
                </a:cubicBezTo>
                <a:cubicBezTo>
                  <a:pt x="1693" y="1067"/>
                  <a:pt x="1693" y="1067"/>
                  <a:pt x="1693" y="1067"/>
                </a:cubicBezTo>
                <a:cubicBezTo>
                  <a:pt x="1705" y="1067"/>
                  <a:pt x="1715" y="1057"/>
                  <a:pt x="1715" y="1045"/>
                </a:cubicBezTo>
                <a:cubicBezTo>
                  <a:pt x="1715" y="1033"/>
                  <a:pt x="1705" y="1024"/>
                  <a:pt x="1693" y="1024"/>
                </a:cubicBezTo>
                <a:cubicBezTo>
                  <a:pt x="1505" y="1024"/>
                  <a:pt x="1505" y="1024"/>
                  <a:pt x="1505" y="1024"/>
                </a:cubicBezTo>
                <a:cubicBezTo>
                  <a:pt x="1501" y="1024"/>
                  <a:pt x="1498" y="1020"/>
                  <a:pt x="1498" y="1016"/>
                </a:cubicBezTo>
                <a:cubicBezTo>
                  <a:pt x="1498" y="1012"/>
                  <a:pt x="1501" y="1009"/>
                  <a:pt x="1505" y="1009"/>
                </a:cubicBezTo>
                <a:cubicBezTo>
                  <a:pt x="1712" y="1009"/>
                  <a:pt x="1712" y="1009"/>
                  <a:pt x="1712" y="1009"/>
                </a:cubicBezTo>
                <a:cubicBezTo>
                  <a:pt x="1724" y="1009"/>
                  <a:pt x="1733" y="999"/>
                  <a:pt x="1733" y="987"/>
                </a:cubicBezTo>
                <a:cubicBezTo>
                  <a:pt x="1733" y="975"/>
                  <a:pt x="1724" y="966"/>
                  <a:pt x="1712" y="966"/>
                </a:cubicBezTo>
                <a:cubicBezTo>
                  <a:pt x="1504" y="966"/>
                  <a:pt x="1504" y="966"/>
                  <a:pt x="1504" y="966"/>
                </a:cubicBezTo>
                <a:cubicBezTo>
                  <a:pt x="1500" y="966"/>
                  <a:pt x="1496" y="962"/>
                  <a:pt x="1496" y="958"/>
                </a:cubicBezTo>
                <a:cubicBezTo>
                  <a:pt x="1496" y="954"/>
                  <a:pt x="1500" y="951"/>
                  <a:pt x="1504" y="951"/>
                </a:cubicBezTo>
                <a:cubicBezTo>
                  <a:pt x="1697" y="951"/>
                  <a:pt x="1697" y="951"/>
                  <a:pt x="1697" y="951"/>
                </a:cubicBezTo>
                <a:cubicBezTo>
                  <a:pt x="1709" y="951"/>
                  <a:pt x="1718" y="941"/>
                  <a:pt x="1718" y="929"/>
                </a:cubicBezTo>
                <a:cubicBezTo>
                  <a:pt x="1718" y="918"/>
                  <a:pt x="1709" y="908"/>
                  <a:pt x="1697" y="908"/>
                </a:cubicBezTo>
                <a:cubicBezTo>
                  <a:pt x="1550" y="908"/>
                  <a:pt x="1550" y="908"/>
                  <a:pt x="1550" y="908"/>
                </a:cubicBezTo>
                <a:cubicBezTo>
                  <a:pt x="1546" y="908"/>
                  <a:pt x="1543" y="905"/>
                  <a:pt x="1543" y="901"/>
                </a:cubicBezTo>
                <a:cubicBezTo>
                  <a:pt x="1543" y="897"/>
                  <a:pt x="1546" y="893"/>
                  <a:pt x="1550" y="893"/>
                </a:cubicBezTo>
                <a:cubicBezTo>
                  <a:pt x="1681" y="893"/>
                  <a:pt x="1681" y="893"/>
                  <a:pt x="1681" y="893"/>
                </a:cubicBezTo>
                <a:cubicBezTo>
                  <a:pt x="1701" y="893"/>
                  <a:pt x="1718" y="877"/>
                  <a:pt x="1718" y="857"/>
                </a:cubicBezTo>
                <a:cubicBezTo>
                  <a:pt x="1718" y="837"/>
                  <a:pt x="1701" y="821"/>
                  <a:pt x="1681" y="821"/>
                </a:cubicBezTo>
                <a:cubicBezTo>
                  <a:pt x="1673" y="821"/>
                  <a:pt x="1673" y="821"/>
                  <a:pt x="1673" y="821"/>
                </a:cubicBezTo>
                <a:cubicBezTo>
                  <a:pt x="1669" y="821"/>
                  <a:pt x="1666" y="818"/>
                  <a:pt x="1666" y="814"/>
                </a:cubicBezTo>
                <a:cubicBezTo>
                  <a:pt x="1666" y="810"/>
                  <a:pt x="1669" y="807"/>
                  <a:pt x="1673" y="807"/>
                </a:cubicBezTo>
                <a:cubicBezTo>
                  <a:pt x="1683" y="807"/>
                  <a:pt x="1683" y="807"/>
                  <a:pt x="1683" y="807"/>
                </a:cubicBezTo>
                <a:cubicBezTo>
                  <a:pt x="1694" y="807"/>
                  <a:pt x="1704" y="797"/>
                  <a:pt x="1704" y="785"/>
                </a:cubicBezTo>
                <a:cubicBezTo>
                  <a:pt x="1704" y="773"/>
                  <a:pt x="1694" y="763"/>
                  <a:pt x="1683" y="763"/>
                </a:cubicBezTo>
                <a:cubicBezTo>
                  <a:pt x="1607" y="763"/>
                  <a:pt x="1607" y="763"/>
                  <a:pt x="1607" y="763"/>
                </a:cubicBezTo>
                <a:cubicBezTo>
                  <a:pt x="1595" y="763"/>
                  <a:pt x="1585" y="773"/>
                  <a:pt x="1585" y="785"/>
                </a:cubicBezTo>
                <a:cubicBezTo>
                  <a:pt x="1585" y="797"/>
                  <a:pt x="1595" y="807"/>
                  <a:pt x="1607" y="807"/>
                </a:cubicBezTo>
                <a:cubicBezTo>
                  <a:pt x="1623" y="807"/>
                  <a:pt x="1623" y="807"/>
                  <a:pt x="1623" y="807"/>
                </a:cubicBezTo>
                <a:cubicBezTo>
                  <a:pt x="1627" y="807"/>
                  <a:pt x="1631" y="810"/>
                  <a:pt x="1631" y="814"/>
                </a:cubicBezTo>
                <a:cubicBezTo>
                  <a:pt x="1631" y="818"/>
                  <a:pt x="1627" y="821"/>
                  <a:pt x="1623" y="821"/>
                </a:cubicBezTo>
                <a:cubicBezTo>
                  <a:pt x="1455" y="821"/>
                  <a:pt x="1455" y="821"/>
                  <a:pt x="1455" y="821"/>
                </a:cubicBezTo>
                <a:cubicBezTo>
                  <a:pt x="1451" y="821"/>
                  <a:pt x="1448" y="818"/>
                  <a:pt x="1448" y="814"/>
                </a:cubicBezTo>
                <a:cubicBezTo>
                  <a:pt x="1448" y="810"/>
                  <a:pt x="1451" y="807"/>
                  <a:pt x="1455" y="807"/>
                </a:cubicBezTo>
                <a:cubicBezTo>
                  <a:pt x="1549" y="807"/>
                  <a:pt x="1549" y="807"/>
                  <a:pt x="1549" y="807"/>
                </a:cubicBezTo>
                <a:cubicBezTo>
                  <a:pt x="1561" y="807"/>
                  <a:pt x="1571" y="797"/>
                  <a:pt x="1571" y="785"/>
                </a:cubicBezTo>
                <a:cubicBezTo>
                  <a:pt x="1571" y="773"/>
                  <a:pt x="1561" y="763"/>
                  <a:pt x="1549" y="763"/>
                </a:cubicBezTo>
                <a:cubicBezTo>
                  <a:pt x="1321" y="763"/>
                  <a:pt x="1321" y="763"/>
                  <a:pt x="1321" y="763"/>
                </a:cubicBezTo>
                <a:cubicBezTo>
                  <a:pt x="1317" y="763"/>
                  <a:pt x="1314" y="760"/>
                  <a:pt x="1314" y="756"/>
                </a:cubicBezTo>
                <a:cubicBezTo>
                  <a:pt x="1314" y="752"/>
                  <a:pt x="1317" y="749"/>
                  <a:pt x="1321" y="749"/>
                </a:cubicBezTo>
                <a:cubicBezTo>
                  <a:pt x="1454" y="749"/>
                  <a:pt x="1454" y="749"/>
                  <a:pt x="1454" y="749"/>
                </a:cubicBezTo>
                <a:cubicBezTo>
                  <a:pt x="1466" y="749"/>
                  <a:pt x="1475" y="739"/>
                  <a:pt x="1475" y="727"/>
                </a:cubicBezTo>
                <a:cubicBezTo>
                  <a:pt x="1475" y="715"/>
                  <a:pt x="1466" y="706"/>
                  <a:pt x="1454" y="706"/>
                </a:cubicBezTo>
                <a:cubicBezTo>
                  <a:pt x="1287" y="706"/>
                  <a:pt x="1287" y="706"/>
                  <a:pt x="1287" y="706"/>
                </a:cubicBezTo>
                <a:cubicBezTo>
                  <a:pt x="1283" y="706"/>
                  <a:pt x="1280" y="702"/>
                  <a:pt x="1280" y="698"/>
                </a:cubicBezTo>
                <a:cubicBezTo>
                  <a:pt x="1280" y="694"/>
                  <a:pt x="1283" y="691"/>
                  <a:pt x="1287" y="691"/>
                </a:cubicBezTo>
                <a:cubicBezTo>
                  <a:pt x="1436" y="691"/>
                  <a:pt x="1436" y="691"/>
                  <a:pt x="1436" y="691"/>
                </a:cubicBezTo>
                <a:cubicBezTo>
                  <a:pt x="1448" y="691"/>
                  <a:pt x="1458" y="681"/>
                  <a:pt x="1458" y="669"/>
                </a:cubicBezTo>
                <a:cubicBezTo>
                  <a:pt x="1458" y="657"/>
                  <a:pt x="1448" y="648"/>
                  <a:pt x="1436" y="648"/>
                </a:cubicBezTo>
                <a:cubicBezTo>
                  <a:pt x="1068" y="648"/>
                  <a:pt x="1068" y="648"/>
                  <a:pt x="1068" y="648"/>
                </a:cubicBezTo>
                <a:cubicBezTo>
                  <a:pt x="1064" y="648"/>
                  <a:pt x="1061" y="644"/>
                  <a:pt x="1061" y="640"/>
                </a:cubicBezTo>
                <a:cubicBezTo>
                  <a:pt x="1061" y="636"/>
                  <a:pt x="1064" y="633"/>
                  <a:pt x="1068" y="633"/>
                </a:cubicBezTo>
                <a:cubicBezTo>
                  <a:pt x="1526" y="633"/>
                  <a:pt x="1526" y="633"/>
                  <a:pt x="1526" y="633"/>
                </a:cubicBezTo>
                <a:cubicBezTo>
                  <a:pt x="1538" y="633"/>
                  <a:pt x="1548" y="623"/>
                  <a:pt x="1548" y="612"/>
                </a:cubicBezTo>
                <a:cubicBezTo>
                  <a:pt x="1548" y="600"/>
                  <a:pt x="1538" y="590"/>
                  <a:pt x="1526" y="590"/>
                </a:cubicBezTo>
                <a:cubicBezTo>
                  <a:pt x="1019" y="590"/>
                  <a:pt x="1019" y="590"/>
                  <a:pt x="1019" y="590"/>
                </a:cubicBezTo>
                <a:cubicBezTo>
                  <a:pt x="1015" y="590"/>
                  <a:pt x="1012" y="587"/>
                  <a:pt x="1012" y="583"/>
                </a:cubicBezTo>
                <a:cubicBezTo>
                  <a:pt x="1012" y="579"/>
                  <a:pt x="1015" y="575"/>
                  <a:pt x="1019" y="575"/>
                </a:cubicBezTo>
                <a:cubicBezTo>
                  <a:pt x="1528" y="575"/>
                  <a:pt x="1528" y="575"/>
                  <a:pt x="1528" y="575"/>
                </a:cubicBezTo>
                <a:cubicBezTo>
                  <a:pt x="1540" y="575"/>
                  <a:pt x="1550" y="566"/>
                  <a:pt x="1550" y="554"/>
                </a:cubicBezTo>
                <a:cubicBezTo>
                  <a:pt x="1550" y="542"/>
                  <a:pt x="1540" y="532"/>
                  <a:pt x="1528" y="532"/>
                </a:cubicBezTo>
                <a:cubicBezTo>
                  <a:pt x="1039" y="532"/>
                  <a:pt x="1039" y="532"/>
                  <a:pt x="1039" y="532"/>
                </a:cubicBezTo>
                <a:cubicBezTo>
                  <a:pt x="1035" y="532"/>
                  <a:pt x="1032" y="529"/>
                  <a:pt x="1032" y="525"/>
                </a:cubicBezTo>
                <a:cubicBezTo>
                  <a:pt x="1032" y="521"/>
                  <a:pt x="1035" y="518"/>
                  <a:pt x="1039" y="518"/>
                </a:cubicBezTo>
                <a:cubicBezTo>
                  <a:pt x="1553" y="518"/>
                  <a:pt x="1553" y="518"/>
                  <a:pt x="1553" y="518"/>
                </a:cubicBezTo>
                <a:cubicBezTo>
                  <a:pt x="1564" y="518"/>
                  <a:pt x="1574" y="508"/>
                  <a:pt x="1574" y="496"/>
                </a:cubicBezTo>
                <a:cubicBezTo>
                  <a:pt x="1574" y="484"/>
                  <a:pt x="1564" y="474"/>
                  <a:pt x="1553" y="474"/>
                </a:cubicBezTo>
                <a:cubicBezTo>
                  <a:pt x="1039" y="474"/>
                  <a:pt x="1039" y="474"/>
                  <a:pt x="1039" y="474"/>
                </a:cubicBezTo>
                <a:cubicBezTo>
                  <a:pt x="1035" y="474"/>
                  <a:pt x="1032" y="471"/>
                  <a:pt x="1032" y="467"/>
                </a:cubicBezTo>
                <a:cubicBezTo>
                  <a:pt x="1032" y="463"/>
                  <a:pt x="1035" y="460"/>
                  <a:pt x="1039" y="460"/>
                </a:cubicBezTo>
                <a:cubicBezTo>
                  <a:pt x="1592" y="460"/>
                  <a:pt x="1592" y="460"/>
                  <a:pt x="1592" y="460"/>
                </a:cubicBezTo>
                <a:cubicBezTo>
                  <a:pt x="1603" y="460"/>
                  <a:pt x="1613" y="450"/>
                  <a:pt x="1613" y="438"/>
                </a:cubicBezTo>
                <a:cubicBezTo>
                  <a:pt x="1613" y="426"/>
                  <a:pt x="1603" y="416"/>
                  <a:pt x="1592" y="416"/>
                </a:cubicBezTo>
                <a:cubicBezTo>
                  <a:pt x="855" y="416"/>
                  <a:pt x="855" y="416"/>
                  <a:pt x="855" y="416"/>
                </a:cubicBezTo>
                <a:cubicBezTo>
                  <a:pt x="851" y="416"/>
                  <a:pt x="848" y="413"/>
                  <a:pt x="848" y="409"/>
                </a:cubicBezTo>
                <a:cubicBezTo>
                  <a:pt x="848" y="405"/>
                  <a:pt x="851" y="402"/>
                  <a:pt x="855" y="402"/>
                </a:cubicBezTo>
                <a:cubicBezTo>
                  <a:pt x="1592" y="402"/>
                  <a:pt x="1592" y="402"/>
                  <a:pt x="1592" y="402"/>
                </a:cubicBezTo>
                <a:cubicBezTo>
                  <a:pt x="1603" y="402"/>
                  <a:pt x="1613" y="392"/>
                  <a:pt x="1613" y="380"/>
                </a:cubicBezTo>
                <a:cubicBezTo>
                  <a:pt x="1613" y="368"/>
                  <a:pt x="1603" y="359"/>
                  <a:pt x="1592" y="359"/>
                </a:cubicBezTo>
                <a:cubicBezTo>
                  <a:pt x="902" y="359"/>
                  <a:pt x="902" y="359"/>
                  <a:pt x="902" y="359"/>
                </a:cubicBezTo>
                <a:cubicBezTo>
                  <a:pt x="902" y="358"/>
                  <a:pt x="902" y="358"/>
                  <a:pt x="902" y="358"/>
                </a:cubicBezTo>
                <a:cubicBezTo>
                  <a:pt x="886" y="358"/>
                  <a:pt x="886" y="358"/>
                  <a:pt x="886" y="358"/>
                </a:cubicBezTo>
                <a:cubicBezTo>
                  <a:pt x="883" y="357"/>
                  <a:pt x="881" y="355"/>
                  <a:pt x="881" y="351"/>
                </a:cubicBezTo>
                <a:cubicBezTo>
                  <a:pt x="881" y="347"/>
                  <a:pt x="884" y="344"/>
                  <a:pt x="888" y="344"/>
                </a:cubicBezTo>
                <a:cubicBezTo>
                  <a:pt x="1553" y="344"/>
                  <a:pt x="1553" y="344"/>
                  <a:pt x="1553" y="344"/>
                </a:cubicBezTo>
                <a:cubicBezTo>
                  <a:pt x="1565" y="344"/>
                  <a:pt x="1575" y="334"/>
                  <a:pt x="1575" y="322"/>
                </a:cubicBezTo>
                <a:cubicBezTo>
                  <a:pt x="1575" y="311"/>
                  <a:pt x="1565" y="301"/>
                  <a:pt x="1553" y="301"/>
                </a:cubicBezTo>
                <a:cubicBezTo>
                  <a:pt x="940" y="301"/>
                  <a:pt x="940" y="301"/>
                  <a:pt x="940" y="301"/>
                </a:cubicBezTo>
                <a:cubicBezTo>
                  <a:pt x="936" y="301"/>
                  <a:pt x="933" y="298"/>
                  <a:pt x="933" y="294"/>
                </a:cubicBezTo>
                <a:cubicBezTo>
                  <a:pt x="933" y="290"/>
                  <a:pt x="936" y="286"/>
                  <a:pt x="940" y="286"/>
                </a:cubicBezTo>
                <a:cubicBezTo>
                  <a:pt x="1683" y="286"/>
                  <a:pt x="1683" y="286"/>
                  <a:pt x="1683" y="286"/>
                </a:cubicBezTo>
                <a:cubicBezTo>
                  <a:pt x="1695" y="286"/>
                  <a:pt x="1705" y="277"/>
                  <a:pt x="1705" y="265"/>
                </a:cubicBezTo>
                <a:cubicBezTo>
                  <a:pt x="1705" y="253"/>
                  <a:pt x="1695" y="243"/>
                  <a:pt x="1683" y="243"/>
                </a:cubicBezTo>
                <a:cubicBezTo>
                  <a:pt x="1145" y="243"/>
                  <a:pt x="1145" y="243"/>
                  <a:pt x="1145" y="243"/>
                </a:cubicBezTo>
                <a:cubicBezTo>
                  <a:pt x="1141" y="243"/>
                  <a:pt x="1137" y="240"/>
                  <a:pt x="1137" y="236"/>
                </a:cubicBezTo>
                <a:cubicBezTo>
                  <a:pt x="1137" y="232"/>
                  <a:pt x="1141" y="228"/>
                  <a:pt x="1145" y="228"/>
                </a:cubicBezTo>
                <a:cubicBezTo>
                  <a:pt x="1686" y="228"/>
                  <a:pt x="1686" y="228"/>
                  <a:pt x="1686" y="228"/>
                </a:cubicBezTo>
                <a:cubicBezTo>
                  <a:pt x="1698" y="228"/>
                  <a:pt x="1708" y="219"/>
                  <a:pt x="1708" y="207"/>
                </a:cubicBezTo>
                <a:cubicBezTo>
                  <a:pt x="1708" y="195"/>
                  <a:pt x="1698" y="185"/>
                  <a:pt x="1686" y="185"/>
                </a:cubicBezTo>
                <a:cubicBezTo>
                  <a:pt x="1075" y="185"/>
                  <a:pt x="1075" y="185"/>
                  <a:pt x="1075" y="185"/>
                </a:cubicBezTo>
                <a:cubicBezTo>
                  <a:pt x="1071" y="185"/>
                  <a:pt x="1068" y="182"/>
                  <a:pt x="1068" y="178"/>
                </a:cubicBezTo>
                <a:cubicBezTo>
                  <a:pt x="1068" y="174"/>
                  <a:pt x="1071" y="171"/>
                  <a:pt x="1075" y="171"/>
                </a:cubicBezTo>
                <a:cubicBezTo>
                  <a:pt x="1693" y="171"/>
                  <a:pt x="1693" y="171"/>
                  <a:pt x="1693" y="171"/>
                </a:cubicBezTo>
                <a:cubicBezTo>
                  <a:pt x="1705" y="171"/>
                  <a:pt x="1715" y="161"/>
                  <a:pt x="1715" y="149"/>
                </a:cubicBezTo>
                <a:cubicBezTo>
                  <a:pt x="1715" y="137"/>
                  <a:pt x="1705" y="127"/>
                  <a:pt x="1693" y="127"/>
                </a:cubicBezTo>
                <a:cubicBezTo>
                  <a:pt x="1225" y="127"/>
                  <a:pt x="1225" y="127"/>
                  <a:pt x="1225" y="127"/>
                </a:cubicBezTo>
                <a:cubicBezTo>
                  <a:pt x="1221" y="127"/>
                  <a:pt x="1218" y="124"/>
                  <a:pt x="1218" y="120"/>
                </a:cubicBezTo>
                <a:cubicBezTo>
                  <a:pt x="1218" y="116"/>
                  <a:pt x="1221" y="113"/>
                  <a:pt x="1225" y="113"/>
                </a:cubicBezTo>
                <a:cubicBezTo>
                  <a:pt x="1237" y="113"/>
                  <a:pt x="1237" y="113"/>
                  <a:pt x="1237" y="113"/>
                </a:cubicBezTo>
                <a:cubicBezTo>
                  <a:pt x="1249" y="113"/>
                  <a:pt x="1258" y="103"/>
                  <a:pt x="1258" y="91"/>
                </a:cubicBezTo>
                <a:cubicBezTo>
                  <a:pt x="1258" y="79"/>
                  <a:pt x="1249" y="70"/>
                  <a:pt x="1237" y="70"/>
                </a:cubicBezTo>
                <a:cubicBezTo>
                  <a:pt x="622" y="70"/>
                  <a:pt x="622" y="70"/>
                  <a:pt x="622" y="70"/>
                </a:cubicBezTo>
                <a:cubicBezTo>
                  <a:pt x="610" y="70"/>
                  <a:pt x="600" y="79"/>
                  <a:pt x="600" y="91"/>
                </a:cubicBezTo>
                <a:cubicBezTo>
                  <a:pt x="600" y="103"/>
                  <a:pt x="610" y="113"/>
                  <a:pt x="622" y="113"/>
                </a:cubicBezTo>
                <a:cubicBezTo>
                  <a:pt x="754" y="113"/>
                  <a:pt x="754" y="113"/>
                  <a:pt x="754" y="113"/>
                </a:cubicBezTo>
                <a:cubicBezTo>
                  <a:pt x="758" y="113"/>
                  <a:pt x="762" y="116"/>
                  <a:pt x="762" y="120"/>
                </a:cubicBezTo>
                <a:cubicBezTo>
                  <a:pt x="762" y="124"/>
                  <a:pt x="758" y="127"/>
                  <a:pt x="754" y="127"/>
                </a:cubicBezTo>
                <a:cubicBezTo>
                  <a:pt x="561" y="127"/>
                  <a:pt x="561" y="127"/>
                  <a:pt x="561" y="127"/>
                </a:cubicBezTo>
                <a:cubicBezTo>
                  <a:pt x="549" y="127"/>
                  <a:pt x="540" y="137"/>
                  <a:pt x="540" y="149"/>
                </a:cubicBezTo>
                <a:cubicBezTo>
                  <a:pt x="540" y="161"/>
                  <a:pt x="549" y="171"/>
                  <a:pt x="561" y="171"/>
                </a:cubicBezTo>
                <a:cubicBezTo>
                  <a:pt x="749" y="171"/>
                  <a:pt x="749" y="171"/>
                  <a:pt x="749" y="171"/>
                </a:cubicBezTo>
                <a:cubicBezTo>
                  <a:pt x="753" y="171"/>
                  <a:pt x="756" y="174"/>
                  <a:pt x="756" y="178"/>
                </a:cubicBezTo>
                <a:cubicBezTo>
                  <a:pt x="756" y="182"/>
                  <a:pt x="753" y="185"/>
                  <a:pt x="749" y="185"/>
                </a:cubicBezTo>
                <a:cubicBezTo>
                  <a:pt x="581" y="185"/>
                  <a:pt x="581" y="185"/>
                  <a:pt x="581" y="185"/>
                </a:cubicBezTo>
                <a:cubicBezTo>
                  <a:pt x="569" y="185"/>
                  <a:pt x="559" y="195"/>
                  <a:pt x="559" y="207"/>
                </a:cubicBezTo>
                <a:cubicBezTo>
                  <a:pt x="559" y="219"/>
                  <a:pt x="569" y="228"/>
                  <a:pt x="581" y="228"/>
                </a:cubicBezTo>
                <a:cubicBezTo>
                  <a:pt x="734" y="228"/>
                  <a:pt x="734" y="228"/>
                  <a:pt x="734" y="228"/>
                </a:cubicBezTo>
                <a:cubicBezTo>
                  <a:pt x="738" y="228"/>
                  <a:pt x="741" y="232"/>
                  <a:pt x="741" y="236"/>
                </a:cubicBezTo>
                <a:cubicBezTo>
                  <a:pt x="741" y="240"/>
                  <a:pt x="738" y="243"/>
                  <a:pt x="734" y="243"/>
                </a:cubicBezTo>
                <a:cubicBezTo>
                  <a:pt x="600" y="243"/>
                  <a:pt x="600" y="243"/>
                  <a:pt x="600" y="243"/>
                </a:cubicBezTo>
                <a:cubicBezTo>
                  <a:pt x="588" y="243"/>
                  <a:pt x="579" y="253"/>
                  <a:pt x="579" y="265"/>
                </a:cubicBezTo>
                <a:cubicBezTo>
                  <a:pt x="579" y="277"/>
                  <a:pt x="588" y="286"/>
                  <a:pt x="600" y="286"/>
                </a:cubicBezTo>
                <a:cubicBezTo>
                  <a:pt x="721" y="286"/>
                  <a:pt x="721" y="286"/>
                  <a:pt x="721" y="286"/>
                </a:cubicBezTo>
                <a:cubicBezTo>
                  <a:pt x="725" y="286"/>
                  <a:pt x="728" y="290"/>
                  <a:pt x="728" y="294"/>
                </a:cubicBezTo>
                <a:cubicBezTo>
                  <a:pt x="728" y="298"/>
                  <a:pt x="725" y="301"/>
                  <a:pt x="721" y="301"/>
                </a:cubicBezTo>
                <a:cubicBezTo>
                  <a:pt x="601" y="301"/>
                  <a:pt x="601" y="301"/>
                  <a:pt x="601" y="301"/>
                </a:cubicBezTo>
                <a:cubicBezTo>
                  <a:pt x="590" y="301"/>
                  <a:pt x="580" y="311"/>
                  <a:pt x="580" y="322"/>
                </a:cubicBezTo>
                <a:cubicBezTo>
                  <a:pt x="580" y="334"/>
                  <a:pt x="590" y="344"/>
                  <a:pt x="601" y="344"/>
                </a:cubicBezTo>
                <a:cubicBezTo>
                  <a:pt x="625" y="344"/>
                  <a:pt x="625" y="344"/>
                  <a:pt x="625" y="344"/>
                </a:cubicBezTo>
                <a:cubicBezTo>
                  <a:pt x="629" y="344"/>
                  <a:pt x="632" y="347"/>
                  <a:pt x="632" y="351"/>
                </a:cubicBezTo>
                <a:cubicBezTo>
                  <a:pt x="632" y="355"/>
                  <a:pt x="629" y="359"/>
                  <a:pt x="625" y="359"/>
                </a:cubicBezTo>
                <a:cubicBezTo>
                  <a:pt x="526" y="359"/>
                  <a:pt x="526" y="359"/>
                  <a:pt x="526" y="359"/>
                </a:cubicBezTo>
                <a:cubicBezTo>
                  <a:pt x="525" y="358"/>
                  <a:pt x="523" y="358"/>
                  <a:pt x="522" y="358"/>
                </a:cubicBezTo>
                <a:cubicBezTo>
                  <a:pt x="157" y="358"/>
                  <a:pt x="157" y="358"/>
                  <a:pt x="157" y="358"/>
                </a:cubicBezTo>
                <a:cubicBezTo>
                  <a:pt x="153" y="358"/>
                  <a:pt x="149" y="355"/>
                  <a:pt x="149" y="351"/>
                </a:cubicBezTo>
                <a:cubicBezTo>
                  <a:pt x="149" y="347"/>
                  <a:pt x="153" y="344"/>
                  <a:pt x="157" y="344"/>
                </a:cubicBezTo>
                <a:cubicBezTo>
                  <a:pt x="366" y="344"/>
                  <a:pt x="366" y="344"/>
                  <a:pt x="366" y="344"/>
                </a:cubicBezTo>
                <a:cubicBezTo>
                  <a:pt x="378" y="344"/>
                  <a:pt x="388" y="334"/>
                  <a:pt x="388" y="322"/>
                </a:cubicBezTo>
                <a:cubicBezTo>
                  <a:pt x="388" y="310"/>
                  <a:pt x="378" y="301"/>
                  <a:pt x="366" y="301"/>
                </a:cubicBezTo>
                <a:cubicBezTo>
                  <a:pt x="22" y="301"/>
                  <a:pt x="22" y="301"/>
                  <a:pt x="22" y="301"/>
                </a:cubicBezTo>
                <a:cubicBezTo>
                  <a:pt x="18" y="301"/>
                  <a:pt x="15" y="297"/>
                  <a:pt x="15" y="293"/>
                </a:cubicBezTo>
                <a:cubicBezTo>
                  <a:pt x="15" y="289"/>
                  <a:pt x="18" y="286"/>
                  <a:pt x="22" y="286"/>
                </a:cubicBezTo>
                <a:cubicBezTo>
                  <a:pt x="346" y="286"/>
                  <a:pt x="346" y="286"/>
                  <a:pt x="346" y="286"/>
                </a:cubicBezTo>
                <a:cubicBezTo>
                  <a:pt x="358" y="286"/>
                  <a:pt x="367" y="276"/>
                  <a:pt x="367" y="264"/>
                </a:cubicBezTo>
                <a:cubicBezTo>
                  <a:pt x="367" y="252"/>
                  <a:pt x="358" y="243"/>
                  <a:pt x="346" y="243"/>
                </a:cubicBezTo>
                <a:cubicBezTo>
                  <a:pt x="59" y="243"/>
                  <a:pt x="59" y="243"/>
                  <a:pt x="59" y="243"/>
                </a:cubicBezTo>
                <a:cubicBezTo>
                  <a:pt x="55" y="243"/>
                  <a:pt x="52" y="239"/>
                  <a:pt x="52" y="235"/>
                </a:cubicBezTo>
                <a:cubicBezTo>
                  <a:pt x="52" y="231"/>
                  <a:pt x="55" y="228"/>
                  <a:pt x="59" y="228"/>
                </a:cubicBezTo>
                <a:cubicBezTo>
                  <a:pt x="237" y="228"/>
                  <a:pt x="237" y="228"/>
                  <a:pt x="237" y="228"/>
                </a:cubicBezTo>
                <a:cubicBezTo>
                  <a:pt x="249" y="228"/>
                  <a:pt x="258" y="218"/>
                  <a:pt x="258" y="207"/>
                </a:cubicBezTo>
                <a:cubicBezTo>
                  <a:pt x="258" y="195"/>
                  <a:pt x="249" y="185"/>
                  <a:pt x="237" y="185"/>
                </a:cubicBezTo>
                <a:cubicBezTo>
                  <a:pt x="72" y="185"/>
                  <a:pt x="72" y="185"/>
                  <a:pt x="72" y="185"/>
                </a:cubicBezTo>
                <a:cubicBezTo>
                  <a:pt x="68" y="185"/>
                  <a:pt x="64" y="182"/>
                  <a:pt x="64" y="178"/>
                </a:cubicBezTo>
                <a:cubicBezTo>
                  <a:pt x="64" y="174"/>
                  <a:pt x="68" y="170"/>
                  <a:pt x="72" y="170"/>
                </a:cubicBezTo>
                <a:cubicBezTo>
                  <a:pt x="200" y="170"/>
                  <a:pt x="200" y="170"/>
                  <a:pt x="200" y="170"/>
                </a:cubicBezTo>
                <a:cubicBezTo>
                  <a:pt x="273" y="170"/>
                  <a:pt x="333" y="111"/>
                  <a:pt x="333" y="38"/>
                </a:cubicBezTo>
                <a:cubicBezTo>
                  <a:pt x="344" y="38"/>
                  <a:pt x="344" y="38"/>
                  <a:pt x="344" y="38"/>
                </a:cubicBezTo>
                <a:cubicBezTo>
                  <a:pt x="344" y="0"/>
                  <a:pt x="344" y="0"/>
                  <a:pt x="344" y="0"/>
                </a:cubicBezTo>
                <a:cubicBezTo>
                  <a:pt x="306" y="0"/>
                  <a:pt x="306" y="0"/>
                  <a:pt x="306" y="0"/>
                </a:cubicBezTo>
                <a:cubicBezTo>
                  <a:pt x="306" y="38"/>
                  <a:pt x="306" y="38"/>
                  <a:pt x="306" y="38"/>
                </a:cubicBezTo>
                <a:cubicBezTo>
                  <a:pt x="318" y="38"/>
                  <a:pt x="318" y="38"/>
                  <a:pt x="318" y="38"/>
                </a:cubicBezTo>
                <a:cubicBezTo>
                  <a:pt x="318" y="103"/>
                  <a:pt x="265" y="156"/>
                  <a:pt x="200" y="156"/>
                </a:cubicBezTo>
                <a:cubicBezTo>
                  <a:pt x="72" y="156"/>
                  <a:pt x="72" y="156"/>
                  <a:pt x="72" y="156"/>
                </a:cubicBezTo>
                <a:cubicBezTo>
                  <a:pt x="60" y="156"/>
                  <a:pt x="50" y="166"/>
                  <a:pt x="50" y="178"/>
                </a:cubicBezTo>
                <a:cubicBezTo>
                  <a:pt x="50" y="190"/>
                  <a:pt x="60" y="199"/>
                  <a:pt x="72" y="199"/>
                </a:cubicBezTo>
                <a:cubicBezTo>
                  <a:pt x="237" y="199"/>
                  <a:pt x="237" y="199"/>
                  <a:pt x="237" y="199"/>
                </a:cubicBezTo>
                <a:cubicBezTo>
                  <a:pt x="241" y="199"/>
                  <a:pt x="244" y="202"/>
                  <a:pt x="244" y="207"/>
                </a:cubicBezTo>
                <a:cubicBezTo>
                  <a:pt x="244" y="211"/>
                  <a:pt x="241" y="214"/>
                  <a:pt x="237" y="214"/>
                </a:cubicBezTo>
                <a:cubicBezTo>
                  <a:pt x="59" y="214"/>
                  <a:pt x="59" y="214"/>
                  <a:pt x="59" y="214"/>
                </a:cubicBezTo>
                <a:cubicBezTo>
                  <a:pt x="47" y="214"/>
                  <a:pt x="37" y="224"/>
                  <a:pt x="37" y="235"/>
                </a:cubicBezTo>
                <a:cubicBezTo>
                  <a:pt x="37" y="247"/>
                  <a:pt x="47" y="257"/>
                  <a:pt x="59" y="257"/>
                </a:cubicBezTo>
                <a:cubicBezTo>
                  <a:pt x="346" y="257"/>
                  <a:pt x="346" y="257"/>
                  <a:pt x="346" y="257"/>
                </a:cubicBezTo>
                <a:cubicBezTo>
                  <a:pt x="350" y="257"/>
                  <a:pt x="353" y="260"/>
                  <a:pt x="353" y="264"/>
                </a:cubicBezTo>
                <a:cubicBezTo>
                  <a:pt x="353" y="268"/>
                  <a:pt x="350" y="272"/>
                  <a:pt x="346" y="272"/>
                </a:cubicBezTo>
                <a:cubicBezTo>
                  <a:pt x="22" y="272"/>
                  <a:pt x="22" y="272"/>
                  <a:pt x="22" y="272"/>
                </a:cubicBezTo>
                <a:cubicBezTo>
                  <a:pt x="10" y="272"/>
                  <a:pt x="0" y="281"/>
                  <a:pt x="0" y="293"/>
                </a:cubicBezTo>
                <a:cubicBezTo>
                  <a:pt x="0" y="305"/>
                  <a:pt x="10" y="315"/>
                  <a:pt x="22" y="315"/>
                </a:cubicBezTo>
                <a:cubicBezTo>
                  <a:pt x="366" y="315"/>
                  <a:pt x="366" y="315"/>
                  <a:pt x="366" y="315"/>
                </a:cubicBezTo>
                <a:cubicBezTo>
                  <a:pt x="370" y="315"/>
                  <a:pt x="374" y="318"/>
                  <a:pt x="374" y="322"/>
                </a:cubicBezTo>
                <a:cubicBezTo>
                  <a:pt x="374" y="326"/>
                  <a:pt x="370" y="329"/>
                  <a:pt x="366" y="329"/>
                </a:cubicBezTo>
                <a:cubicBezTo>
                  <a:pt x="157" y="329"/>
                  <a:pt x="157" y="329"/>
                  <a:pt x="157" y="329"/>
                </a:cubicBezTo>
                <a:cubicBezTo>
                  <a:pt x="145" y="329"/>
                  <a:pt x="135" y="339"/>
                  <a:pt x="135" y="351"/>
                </a:cubicBezTo>
                <a:cubicBezTo>
                  <a:pt x="135" y="363"/>
                  <a:pt x="145" y="373"/>
                  <a:pt x="157" y="373"/>
                </a:cubicBezTo>
                <a:cubicBezTo>
                  <a:pt x="497" y="373"/>
                  <a:pt x="497" y="373"/>
                  <a:pt x="497" y="373"/>
                </a:cubicBezTo>
                <a:cubicBezTo>
                  <a:pt x="497" y="373"/>
                  <a:pt x="497" y="373"/>
                  <a:pt x="497" y="373"/>
                </a:cubicBezTo>
                <a:cubicBezTo>
                  <a:pt x="524" y="373"/>
                  <a:pt x="524" y="373"/>
                  <a:pt x="524" y="373"/>
                </a:cubicBezTo>
                <a:cubicBezTo>
                  <a:pt x="527" y="374"/>
                  <a:pt x="530" y="377"/>
                  <a:pt x="530" y="380"/>
                </a:cubicBezTo>
                <a:cubicBezTo>
                  <a:pt x="530" y="384"/>
                  <a:pt x="526" y="387"/>
                  <a:pt x="522" y="387"/>
                </a:cubicBezTo>
                <a:cubicBezTo>
                  <a:pt x="164" y="387"/>
                  <a:pt x="164" y="387"/>
                  <a:pt x="164" y="387"/>
                </a:cubicBezTo>
                <a:cubicBezTo>
                  <a:pt x="152" y="387"/>
                  <a:pt x="142" y="397"/>
                  <a:pt x="142" y="409"/>
                </a:cubicBezTo>
                <a:cubicBezTo>
                  <a:pt x="142" y="421"/>
                  <a:pt x="152" y="430"/>
                  <a:pt x="164" y="430"/>
                </a:cubicBezTo>
                <a:cubicBezTo>
                  <a:pt x="518" y="430"/>
                  <a:pt x="518" y="430"/>
                  <a:pt x="518" y="430"/>
                </a:cubicBezTo>
                <a:cubicBezTo>
                  <a:pt x="522" y="430"/>
                  <a:pt x="525" y="434"/>
                  <a:pt x="525" y="438"/>
                </a:cubicBezTo>
                <a:cubicBezTo>
                  <a:pt x="525" y="442"/>
                  <a:pt x="522" y="445"/>
                  <a:pt x="518" y="445"/>
                </a:cubicBezTo>
                <a:cubicBezTo>
                  <a:pt x="180" y="445"/>
                  <a:pt x="180" y="445"/>
                  <a:pt x="180" y="445"/>
                </a:cubicBezTo>
                <a:cubicBezTo>
                  <a:pt x="168" y="445"/>
                  <a:pt x="158" y="455"/>
                  <a:pt x="158" y="467"/>
                </a:cubicBezTo>
                <a:cubicBezTo>
                  <a:pt x="158" y="479"/>
                  <a:pt x="168" y="488"/>
                  <a:pt x="180" y="488"/>
                </a:cubicBezTo>
                <a:cubicBezTo>
                  <a:pt x="433" y="488"/>
                  <a:pt x="433" y="488"/>
                  <a:pt x="433" y="488"/>
                </a:cubicBezTo>
                <a:cubicBezTo>
                  <a:pt x="437" y="488"/>
                  <a:pt x="440" y="492"/>
                  <a:pt x="440" y="496"/>
                </a:cubicBezTo>
                <a:cubicBezTo>
                  <a:pt x="440" y="500"/>
                  <a:pt x="437" y="503"/>
                  <a:pt x="433" y="503"/>
                </a:cubicBezTo>
                <a:cubicBezTo>
                  <a:pt x="162" y="503"/>
                  <a:pt x="162" y="503"/>
                  <a:pt x="162" y="503"/>
                </a:cubicBezTo>
                <a:cubicBezTo>
                  <a:pt x="150" y="503"/>
                  <a:pt x="140" y="513"/>
                  <a:pt x="140" y="524"/>
                </a:cubicBezTo>
                <a:cubicBezTo>
                  <a:pt x="140" y="536"/>
                  <a:pt x="150" y="546"/>
                  <a:pt x="162" y="546"/>
                </a:cubicBezTo>
                <a:cubicBezTo>
                  <a:pt x="381" y="546"/>
                  <a:pt x="381" y="546"/>
                  <a:pt x="381" y="546"/>
                </a:cubicBezTo>
                <a:cubicBezTo>
                  <a:pt x="385" y="546"/>
                  <a:pt x="388" y="549"/>
                  <a:pt x="388" y="553"/>
                </a:cubicBezTo>
                <a:cubicBezTo>
                  <a:pt x="388" y="557"/>
                  <a:pt x="385" y="561"/>
                  <a:pt x="381" y="561"/>
                </a:cubicBezTo>
                <a:cubicBezTo>
                  <a:pt x="190" y="561"/>
                  <a:pt x="190" y="561"/>
                  <a:pt x="190" y="561"/>
                </a:cubicBezTo>
                <a:cubicBezTo>
                  <a:pt x="178" y="561"/>
                  <a:pt x="168" y="570"/>
                  <a:pt x="168" y="582"/>
                </a:cubicBezTo>
                <a:cubicBezTo>
                  <a:pt x="168" y="594"/>
                  <a:pt x="178" y="604"/>
                  <a:pt x="190" y="604"/>
                </a:cubicBezTo>
                <a:cubicBezTo>
                  <a:pt x="266" y="604"/>
                  <a:pt x="266" y="604"/>
                  <a:pt x="266" y="604"/>
                </a:cubicBezTo>
                <a:cubicBezTo>
                  <a:pt x="270" y="604"/>
                  <a:pt x="273" y="607"/>
                  <a:pt x="273" y="611"/>
                </a:cubicBezTo>
                <a:cubicBezTo>
                  <a:pt x="273" y="615"/>
                  <a:pt x="270" y="619"/>
                  <a:pt x="266" y="619"/>
                </a:cubicBezTo>
                <a:cubicBezTo>
                  <a:pt x="236" y="619"/>
                  <a:pt x="236" y="619"/>
                  <a:pt x="236" y="619"/>
                </a:cubicBezTo>
                <a:cubicBezTo>
                  <a:pt x="224" y="619"/>
                  <a:pt x="215" y="628"/>
                  <a:pt x="215" y="640"/>
                </a:cubicBezTo>
                <a:cubicBezTo>
                  <a:pt x="215" y="652"/>
                  <a:pt x="224" y="662"/>
                  <a:pt x="236" y="662"/>
                </a:cubicBezTo>
                <a:cubicBezTo>
                  <a:pt x="276" y="662"/>
                  <a:pt x="276" y="662"/>
                  <a:pt x="276" y="662"/>
                </a:cubicBezTo>
                <a:cubicBezTo>
                  <a:pt x="280" y="662"/>
                  <a:pt x="283" y="665"/>
                  <a:pt x="283" y="669"/>
                </a:cubicBezTo>
                <a:cubicBezTo>
                  <a:pt x="283" y="673"/>
                  <a:pt x="280" y="676"/>
                  <a:pt x="276" y="676"/>
                </a:cubicBezTo>
                <a:cubicBezTo>
                  <a:pt x="273" y="676"/>
                  <a:pt x="273" y="676"/>
                  <a:pt x="273" y="676"/>
                </a:cubicBezTo>
                <a:cubicBezTo>
                  <a:pt x="261" y="676"/>
                  <a:pt x="252" y="686"/>
                  <a:pt x="252" y="698"/>
                </a:cubicBezTo>
                <a:cubicBezTo>
                  <a:pt x="252" y="710"/>
                  <a:pt x="261" y="720"/>
                  <a:pt x="273" y="720"/>
                </a:cubicBezTo>
                <a:cubicBezTo>
                  <a:pt x="353" y="720"/>
                  <a:pt x="353" y="720"/>
                  <a:pt x="353" y="720"/>
                </a:cubicBezTo>
                <a:cubicBezTo>
                  <a:pt x="357" y="720"/>
                  <a:pt x="360" y="723"/>
                  <a:pt x="360" y="727"/>
                </a:cubicBezTo>
                <a:cubicBezTo>
                  <a:pt x="360" y="731"/>
                  <a:pt x="357" y="734"/>
                  <a:pt x="353" y="734"/>
                </a:cubicBezTo>
                <a:cubicBezTo>
                  <a:pt x="337" y="734"/>
                  <a:pt x="337" y="734"/>
                  <a:pt x="337" y="734"/>
                </a:cubicBezTo>
                <a:cubicBezTo>
                  <a:pt x="325" y="734"/>
                  <a:pt x="316" y="744"/>
                  <a:pt x="316" y="756"/>
                </a:cubicBezTo>
                <a:cubicBezTo>
                  <a:pt x="316" y="768"/>
                  <a:pt x="325" y="777"/>
                  <a:pt x="337" y="777"/>
                </a:cubicBezTo>
                <a:cubicBezTo>
                  <a:pt x="529" y="777"/>
                  <a:pt x="529" y="777"/>
                  <a:pt x="529" y="777"/>
                </a:cubicBezTo>
                <a:cubicBezTo>
                  <a:pt x="533" y="777"/>
                  <a:pt x="537" y="781"/>
                  <a:pt x="537" y="785"/>
                </a:cubicBezTo>
                <a:cubicBezTo>
                  <a:pt x="537" y="789"/>
                  <a:pt x="533" y="792"/>
                  <a:pt x="529" y="792"/>
                </a:cubicBezTo>
                <a:cubicBezTo>
                  <a:pt x="377" y="792"/>
                  <a:pt x="377" y="792"/>
                  <a:pt x="377" y="792"/>
                </a:cubicBezTo>
                <a:cubicBezTo>
                  <a:pt x="365" y="792"/>
                  <a:pt x="356" y="802"/>
                  <a:pt x="356" y="814"/>
                </a:cubicBezTo>
                <a:cubicBezTo>
                  <a:pt x="356" y="825"/>
                  <a:pt x="365" y="835"/>
                  <a:pt x="377" y="835"/>
                </a:cubicBezTo>
                <a:cubicBezTo>
                  <a:pt x="607" y="835"/>
                  <a:pt x="607" y="835"/>
                  <a:pt x="607" y="835"/>
                </a:cubicBezTo>
                <a:cubicBezTo>
                  <a:pt x="611" y="835"/>
                  <a:pt x="615" y="838"/>
                  <a:pt x="615" y="842"/>
                </a:cubicBezTo>
                <a:cubicBezTo>
                  <a:pt x="615" y="846"/>
                  <a:pt x="611" y="850"/>
                  <a:pt x="607" y="850"/>
                </a:cubicBezTo>
                <a:cubicBezTo>
                  <a:pt x="417" y="850"/>
                  <a:pt x="417" y="850"/>
                  <a:pt x="417" y="850"/>
                </a:cubicBezTo>
                <a:cubicBezTo>
                  <a:pt x="405" y="850"/>
                  <a:pt x="396" y="859"/>
                  <a:pt x="396" y="871"/>
                </a:cubicBezTo>
                <a:cubicBezTo>
                  <a:pt x="396" y="883"/>
                  <a:pt x="405" y="893"/>
                  <a:pt x="417" y="893"/>
                </a:cubicBezTo>
                <a:cubicBezTo>
                  <a:pt x="593" y="893"/>
                  <a:pt x="593" y="893"/>
                  <a:pt x="593" y="893"/>
                </a:cubicBezTo>
                <a:cubicBezTo>
                  <a:pt x="597" y="893"/>
                  <a:pt x="600" y="896"/>
                  <a:pt x="600" y="900"/>
                </a:cubicBezTo>
                <a:cubicBezTo>
                  <a:pt x="600" y="904"/>
                  <a:pt x="597" y="908"/>
                  <a:pt x="593" y="908"/>
                </a:cubicBezTo>
                <a:cubicBezTo>
                  <a:pt x="446" y="908"/>
                  <a:pt x="446" y="908"/>
                  <a:pt x="446" y="908"/>
                </a:cubicBezTo>
                <a:cubicBezTo>
                  <a:pt x="434" y="908"/>
                  <a:pt x="425" y="917"/>
                  <a:pt x="425" y="929"/>
                </a:cubicBezTo>
                <a:cubicBezTo>
                  <a:pt x="425" y="941"/>
                  <a:pt x="434" y="951"/>
                  <a:pt x="446" y="951"/>
                </a:cubicBezTo>
                <a:cubicBezTo>
                  <a:pt x="551" y="951"/>
                  <a:pt x="551" y="951"/>
                  <a:pt x="551" y="951"/>
                </a:cubicBezTo>
                <a:cubicBezTo>
                  <a:pt x="555" y="951"/>
                  <a:pt x="558" y="954"/>
                  <a:pt x="558" y="958"/>
                </a:cubicBezTo>
                <a:cubicBezTo>
                  <a:pt x="558" y="962"/>
                  <a:pt x="555" y="965"/>
                  <a:pt x="551" y="965"/>
                </a:cubicBezTo>
                <a:cubicBezTo>
                  <a:pt x="438" y="965"/>
                  <a:pt x="438" y="965"/>
                  <a:pt x="438" y="965"/>
                </a:cubicBezTo>
                <a:cubicBezTo>
                  <a:pt x="426" y="965"/>
                  <a:pt x="417" y="975"/>
                  <a:pt x="417" y="987"/>
                </a:cubicBezTo>
                <a:cubicBezTo>
                  <a:pt x="417" y="999"/>
                  <a:pt x="426" y="1009"/>
                  <a:pt x="438" y="1009"/>
                </a:cubicBezTo>
                <a:cubicBezTo>
                  <a:pt x="495" y="1009"/>
                  <a:pt x="495" y="1009"/>
                  <a:pt x="495" y="1009"/>
                </a:cubicBezTo>
                <a:cubicBezTo>
                  <a:pt x="499" y="1009"/>
                  <a:pt x="502" y="1012"/>
                  <a:pt x="502" y="1016"/>
                </a:cubicBezTo>
                <a:cubicBezTo>
                  <a:pt x="502" y="1020"/>
                  <a:pt x="499" y="1023"/>
                  <a:pt x="495" y="1023"/>
                </a:cubicBezTo>
                <a:cubicBezTo>
                  <a:pt x="443" y="1023"/>
                  <a:pt x="443" y="1023"/>
                  <a:pt x="443" y="1023"/>
                </a:cubicBezTo>
                <a:cubicBezTo>
                  <a:pt x="431" y="1023"/>
                  <a:pt x="422" y="1033"/>
                  <a:pt x="422" y="1045"/>
                </a:cubicBezTo>
                <a:cubicBezTo>
                  <a:pt x="422" y="1057"/>
                  <a:pt x="431" y="1066"/>
                  <a:pt x="443" y="1066"/>
                </a:cubicBezTo>
                <a:cubicBezTo>
                  <a:pt x="472" y="1066"/>
                  <a:pt x="472" y="1066"/>
                  <a:pt x="472" y="1066"/>
                </a:cubicBezTo>
                <a:cubicBezTo>
                  <a:pt x="476" y="1066"/>
                  <a:pt x="479" y="1070"/>
                  <a:pt x="479" y="1074"/>
                </a:cubicBezTo>
                <a:cubicBezTo>
                  <a:pt x="479" y="1078"/>
                  <a:pt x="476" y="1081"/>
                  <a:pt x="472" y="1081"/>
                </a:cubicBezTo>
                <a:cubicBezTo>
                  <a:pt x="443" y="1081"/>
                  <a:pt x="443" y="1081"/>
                  <a:pt x="443" y="1081"/>
                </a:cubicBezTo>
                <a:cubicBezTo>
                  <a:pt x="431" y="1081"/>
                  <a:pt x="422" y="1091"/>
                  <a:pt x="422" y="1103"/>
                </a:cubicBezTo>
                <a:cubicBezTo>
                  <a:pt x="422" y="1115"/>
                  <a:pt x="431" y="1124"/>
                  <a:pt x="443" y="1124"/>
                </a:cubicBezTo>
                <a:cubicBezTo>
                  <a:pt x="462" y="1124"/>
                  <a:pt x="462" y="1124"/>
                  <a:pt x="462" y="1124"/>
                </a:cubicBezTo>
                <a:cubicBezTo>
                  <a:pt x="1017" y="1124"/>
                  <a:pt x="1017" y="1124"/>
                  <a:pt x="1017" y="1124"/>
                </a:cubicBezTo>
                <a:cubicBezTo>
                  <a:pt x="1037" y="1124"/>
                  <a:pt x="1053" y="1108"/>
                  <a:pt x="1053" y="1088"/>
                </a:cubicBezTo>
                <a:cubicBezTo>
                  <a:pt x="1053" y="1068"/>
                  <a:pt x="1037" y="1052"/>
                  <a:pt x="1017" y="1052"/>
                </a:cubicBezTo>
                <a:cubicBezTo>
                  <a:pt x="976" y="1052"/>
                  <a:pt x="976" y="1052"/>
                  <a:pt x="976" y="1052"/>
                </a:cubicBezTo>
                <a:cubicBezTo>
                  <a:pt x="964" y="1052"/>
                  <a:pt x="955" y="1042"/>
                  <a:pt x="955" y="1030"/>
                </a:cubicBezTo>
                <a:cubicBezTo>
                  <a:pt x="955" y="1018"/>
                  <a:pt x="964" y="1009"/>
                  <a:pt x="976" y="1009"/>
                </a:cubicBezTo>
                <a:cubicBezTo>
                  <a:pt x="979" y="1009"/>
                  <a:pt x="979" y="1009"/>
                  <a:pt x="979" y="1009"/>
                </a:cubicBezTo>
                <a:cubicBezTo>
                  <a:pt x="990" y="1009"/>
                  <a:pt x="1000" y="999"/>
                  <a:pt x="1000" y="987"/>
                </a:cubicBezTo>
                <a:cubicBezTo>
                  <a:pt x="1000" y="975"/>
                  <a:pt x="990" y="965"/>
                  <a:pt x="979" y="965"/>
                </a:cubicBezTo>
                <a:cubicBezTo>
                  <a:pt x="941" y="965"/>
                  <a:pt x="941" y="965"/>
                  <a:pt x="941" y="965"/>
                </a:cubicBezTo>
                <a:cubicBezTo>
                  <a:pt x="937" y="965"/>
                  <a:pt x="933" y="962"/>
                  <a:pt x="933" y="958"/>
                </a:cubicBezTo>
                <a:cubicBezTo>
                  <a:pt x="933" y="954"/>
                  <a:pt x="937" y="951"/>
                  <a:pt x="941" y="951"/>
                </a:cubicBezTo>
                <a:cubicBezTo>
                  <a:pt x="1017" y="951"/>
                  <a:pt x="1017" y="951"/>
                  <a:pt x="1017" y="951"/>
                </a:cubicBezTo>
                <a:cubicBezTo>
                  <a:pt x="1029" y="951"/>
                  <a:pt x="1039" y="941"/>
                  <a:pt x="1039" y="929"/>
                </a:cubicBezTo>
                <a:cubicBezTo>
                  <a:pt x="1039" y="917"/>
                  <a:pt x="1029" y="908"/>
                  <a:pt x="1017" y="908"/>
                </a:cubicBezTo>
                <a:cubicBezTo>
                  <a:pt x="919" y="908"/>
                  <a:pt x="919" y="908"/>
                  <a:pt x="919" y="908"/>
                </a:cubicBezTo>
                <a:cubicBezTo>
                  <a:pt x="915" y="908"/>
                  <a:pt x="912" y="904"/>
                  <a:pt x="912" y="900"/>
                </a:cubicBezTo>
                <a:cubicBezTo>
                  <a:pt x="912" y="896"/>
                  <a:pt x="915" y="893"/>
                  <a:pt x="919" y="893"/>
                </a:cubicBezTo>
                <a:cubicBezTo>
                  <a:pt x="1053" y="893"/>
                  <a:pt x="1053" y="893"/>
                  <a:pt x="1053" y="893"/>
                </a:cubicBezTo>
                <a:cubicBezTo>
                  <a:pt x="1065" y="893"/>
                  <a:pt x="1075" y="883"/>
                  <a:pt x="1075" y="871"/>
                </a:cubicBezTo>
                <a:cubicBezTo>
                  <a:pt x="1075" y="859"/>
                  <a:pt x="1065" y="850"/>
                  <a:pt x="1053" y="850"/>
                </a:cubicBezTo>
                <a:cubicBezTo>
                  <a:pt x="914" y="850"/>
                  <a:pt x="914" y="850"/>
                  <a:pt x="914" y="850"/>
                </a:cubicBezTo>
                <a:cubicBezTo>
                  <a:pt x="910" y="850"/>
                  <a:pt x="906" y="846"/>
                  <a:pt x="906" y="842"/>
                </a:cubicBezTo>
                <a:cubicBezTo>
                  <a:pt x="906" y="838"/>
                  <a:pt x="910" y="835"/>
                  <a:pt x="914" y="835"/>
                </a:cubicBezTo>
                <a:cubicBezTo>
                  <a:pt x="1049" y="835"/>
                  <a:pt x="1049" y="835"/>
                  <a:pt x="1049" y="835"/>
                </a:cubicBezTo>
                <a:cubicBezTo>
                  <a:pt x="1061" y="835"/>
                  <a:pt x="1071" y="825"/>
                  <a:pt x="1071" y="814"/>
                </a:cubicBezTo>
                <a:cubicBezTo>
                  <a:pt x="1071" y="802"/>
                  <a:pt x="1061" y="792"/>
                  <a:pt x="1049" y="792"/>
                </a:cubicBezTo>
                <a:cubicBezTo>
                  <a:pt x="905" y="792"/>
                  <a:pt x="905" y="792"/>
                  <a:pt x="905" y="792"/>
                </a:cubicBezTo>
                <a:cubicBezTo>
                  <a:pt x="901" y="792"/>
                  <a:pt x="898" y="789"/>
                  <a:pt x="898" y="785"/>
                </a:cubicBezTo>
                <a:cubicBezTo>
                  <a:pt x="898" y="781"/>
                  <a:pt x="901" y="777"/>
                  <a:pt x="905" y="777"/>
                </a:cubicBezTo>
                <a:cubicBezTo>
                  <a:pt x="1104" y="777"/>
                  <a:pt x="1104" y="777"/>
                  <a:pt x="1104" y="777"/>
                </a:cubicBezTo>
                <a:cubicBezTo>
                  <a:pt x="1116" y="777"/>
                  <a:pt x="1125" y="768"/>
                  <a:pt x="1125" y="756"/>
                </a:cubicBezTo>
                <a:cubicBezTo>
                  <a:pt x="1125" y="744"/>
                  <a:pt x="1116" y="734"/>
                  <a:pt x="1104" y="734"/>
                </a:cubicBezTo>
                <a:cubicBezTo>
                  <a:pt x="791" y="734"/>
                  <a:pt x="791" y="734"/>
                  <a:pt x="791" y="734"/>
                </a:cubicBezTo>
                <a:cubicBezTo>
                  <a:pt x="787" y="734"/>
                  <a:pt x="784" y="731"/>
                  <a:pt x="784" y="727"/>
                </a:cubicBezTo>
                <a:cubicBezTo>
                  <a:pt x="784" y="723"/>
                  <a:pt x="787" y="720"/>
                  <a:pt x="791" y="720"/>
                </a:cubicBezTo>
                <a:cubicBezTo>
                  <a:pt x="1046" y="720"/>
                  <a:pt x="1046" y="720"/>
                  <a:pt x="1046" y="720"/>
                </a:cubicBezTo>
                <a:cubicBezTo>
                  <a:pt x="1058" y="720"/>
                  <a:pt x="1068" y="710"/>
                  <a:pt x="1068" y="698"/>
                </a:cubicBezTo>
                <a:cubicBezTo>
                  <a:pt x="1068" y="686"/>
                  <a:pt x="1058" y="676"/>
                  <a:pt x="1046" y="676"/>
                </a:cubicBezTo>
                <a:cubicBezTo>
                  <a:pt x="763" y="676"/>
                  <a:pt x="763" y="676"/>
                  <a:pt x="763" y="676"/>
                </a:cubicBezTo>
                <a:cubicBezTo>
                  <a:pt x="759" y="676"/>
                  <a:pt x="755" y="673"/>
                  <a:pt x="755" y="669"/>
                </a:cubicBezTo>
                <a:cubicBezTo>
                  <a:pt x="755" y="665"/>
                  <a:pt x="759" y="662"/>
                  <a:pt x="763" y="662"/>
                </a:cubicBezTo>
                <a:cubicBezTo>
                  <a:pt x="1011" y="662"/>
                  <a:pt x="1011" y="662"/>
                  <a:pt x="1011" y="662"/>
                </a:cubicBezTo>
                <a:cubicBezTo>
                  <a:pt x="1022" y="662"/>
                  <a:pt x="1032" y="652"/>
                  <a:pt x="1032" y="640"/>
                </a:cubicBezTo>
                <a:cubicBezTo>
                  <a:pt x="1032" y="628"/>
                  <a:pt x="1022" y="619"/>
                  <a:pt x="1011" y="619"/>
                </a:cubicBezTo>
                <a:cubicBezTo>
                  <a:pt x="805" y="619"/>
                  <a:pt x="805" y="619"/>
                  <a:pt x="805" y="619"/>
                </a:cubicBezTo>
                <a:cubicBezTo>
                  <a:pt x="801" y="619"/>
                  <a:pt x="798" y="615"/>
                  <a:pt x="798" y="611"/>
                </a:cubicBezTo>
                <a:cubicBezTo>
                  <a:pt x="798" y="607"/>
                  <a:pt x="801" y="604"/>
                  <a:pt x="805" y="604"/>
                </a:cubicBezTo>
                <a:cubicBezTo>
                  <a:pt x="860" y="604"/>
                  <a:pt x="860" y="604"/>
                  <a:pt x="860" y="604"/>
                </a:cubicBezTo>
                <a:cubicBezTo>
                  <a:pt x="872" y="604"/>
                  <a:pt x="881" y="594"/>
                  <a:pt x="881" y="582"/>
                </a:cubicBezTo>
                <a:cubicBezTo>
                  <a:pt x="881" y="570"/>
                  <a:pt x="872" y="561"/>
                  <a:pt x="860" y="561"/>
                </a:cubicBezTo>
                <a:cubicBezTo>
                  <a:pt x="805" y="561"/>
                  <a:pt x="805" y="561"/>
                  <a:pt x="805" y="561"/>
                </a:cubicBezTo>
                <a:cubicBezTo>
                  <a:pt x="801" y="561"/>
                  <a:pt x="798" y="557"/>
                  <a:pt x="798" y="553"/>
                </a:cubicBezTo>
                <a:cubicBezTo>
                  <a:pt x="798" y="549"/>
                  <a:pt x="801" y="546"/>
                  <a:pt x="805" y="546"/>
                </a:cubicBezTo>
                <a:cubicBezTo>
                  <a:pt x="972" y="546"/>
                  <a:pt x="972" y="546"/>
                  <a:pt x="972" y="546"/>
                </a:cubicBezTo>
                <a:cubicBezTo>
                  <a:pt x="984" y="546"/>
                  <a:pt x="993" y="536"/>
                  <a:pt x="993" y="524"/>
                </a:cubicBezTo>
                <a:cubicBezTo>
                  <a:pt x="993" y="513"/>
                  <a:pt x="984" y="503"/>
                  <a:pt x="972" y="503"/>
                </a:cubicBezTo>
                <a:cubicBezTo>
                  <a:pt x="846" y="503"/>
                  <a:pt x="846" y="503"/>
                  <a:pt x="846" y="503"/>
                </a:cubicBezTo>
                <a:cubicBezTo>
                  <a:pt x="842" y="503"/>
                  <a:pt x="839" y="500"/>
                  <a:pt x="839" y="496"/>
                </a:cubicBezTo>
                <a:cubicBezTo>
                  <a:pt x="839" y="492"/>
                  <a:pt x="842" y="488"/>
                  <a:pt x="846" y="488"/>
                </a:cubicBezTo>
                <a:cubicBezTo>
                  <a:pt x="969" y="488"/>
                  <a:pt x="969" y="488"/>
                  <a:pt x="969" y="488"/>
                </a:cubicBezTo>
                <a:cubicBezTo>
                  <a:pt x="981" y="488"/>
                  <a:pt x="991" y="479"/>
                  <a:pt x="991" y="467"/>
                </a:cubicBezTo>
                <a:cubicBezTo>
                  <a:pt x="991" y="455"/>
                  <a:pt x="981" y="445"/>
                  <a:pt x="969" y="445"/>
                </a:cubicBezTo>
                <a:cubicBezTo>
                  <a:pt x="768" y="445"/>
                  <a:pt x="768" y="445"/>
                  <a:pt x="768" y="445"/>
                </a:cubicBezTo>
                <a:cubicBezTo>
                  <a:pt x="764" y="445"/>
                  <a:pt x="761" y="442"/>
                  <a:pt x="761" y="438"/>
                </a:cubicBezTo>
                <a:cubicBezTo>
                  <a:pt x="761" y="434"/>
                  <a:pt x="764" y="430"/>
                  <a:pt x="768" y="430"/>
                </a:cubicBezTo>
                <a:cubicBezTo>
                  <a:pt x="804" y="430"/>
                  <a:pt x="804" y="430"/>
                  <a:pt x="804" y="430"/>
                </a:cubicBezTo>
                <a:cubicBezTo>
                  <a:pt x="816" y="430"/>
                  <a:pt x="826" y="421"/>
                  <a:pt x="826" y="409"/>
                </a:cubicBezTo>
                <a:cubicBezTo>
                  <a:pt x="826" y="397"/>
                  <a:pt x="816" y="387"/>
                  <a:pt x="804" y="387"/>
                </a:cubicBezTo>
                <a:cubicBezTo>
                  <a:pt x="766" y="387"/>
                  <a:pt x="766" y="387"/>
                  <a:pt x="766" y="387"/>
                </a:cubicBezTo>
                <a:cubicBezTo>
                  <a:pt x="762" y="387"/>
                  <a:pt x="759" y="384"/>
                  <a:pt x="759" y="380"/>
                </a:cubicBezTo>
                <a:cubicBezTo>
                  <a:pt x="759" y="376"/>
                  <a:pt x="762" y="373"/>
                  <a:pt x="766" y="373"/>
                </a:cubicBezTo>
                <a:cubicBezTo>
                  <a:pt x="885" y="373"/>
                  <a:pt x="885" y="373"/>
                  <a:pt x="885" y="373"/>
                </a:cubicBezTo>
                <a:cubicBezTo>
                  <a:pt x="886" y="373"/>
                  <a:pt x="887" y="373"/>
                  <a:pt x="888" y="373"/>
                </a:cubicBezTo>
                <a:cubicBezTo>
                  <a:pt x="1592" y="373"/>
                  <a:pt x="1592" y="373"/>
                  <a:pt x="1592" y="373"/>
                </a:cubicBezTo>
                <a:cubicBezTo>
                  <a:pt x="1596" y="373"/>
                  <a:pt x="1599" y="376"/>
                  <a:pt x="1599" y="380"/>
                </a:cubicBezTo>
                <a:cubicBezTo>
                  <a:pt x="1599" y="384"/>
                  <a:pt x="1596" y="388"/>
                  <a:pt x="1592" y="388"/>
                </a:cubicBezTo>
                <a:cubicBezTo>
                  <a:pt x="855" y="388"/>
                  <a:pt x="855" y="388"/>
                  <a:pt x="855" y="388"/>
                </a:cubicBezTo>
                <a:cubicBezTo>
                  <a:pt x="843" y="388"/>
                  <a:pt x="834" y="397"/>
                  <a:pt x="834" y="409"/>
                </a:cubicBezTo>
                <a:cubicBezTo>
                  <a:pt x="834" y="421"/>
                  <a:pt x="843" y="431"/>
                  <a:pt x="855" y="431"/>
                </a:cubicBezTo>
                <a:cubicBezTo>
                  <a:pt x="1592" y="431"/>
                  <a:pt x="1592" y="431"/>
                  <a:pt x="1592" y="431"/>
                </a:cubicBezTo>
                <a:cubicBezTo>
                  <a:pt x="1596" y="431"/>
                  <a:pt x="1599" y="434"/>
                  <a:pt x="1599" y="438"/>
                </a:cubicBezTo>
                <a:cubicBezTo>
                  <a:pt x="1599" y="442"/>
                  <a:pt x="1596" y="445"/>
                  <a:pt x="1592" y="445"/>
                </a:cubicBezTo>
                <a:cubicBezTo>
                  <a:pt x="1039" y="445"/>
                  <a:pt x="1039" y="445"/>
                  <a:pt x="1039" y="445"/>
                </a:cubicBezTo>
                <a:cubicBezTo>
                  <a:pt x="1027" y="445"/>
                  <a:pt x="1017" y="455"/>
                  <a:pt x="1017" y="467"/>
                </a:cubicBezTo>
                <a:cubicBezTo>
                  <a:pt x="1017" y="479"/>
                  <a:pt x="1027" y="489"/>
                  <a:pt x="1039" y="489"/>
                </a:cubicBezTo>
                <a:cubicBezTo>
                  <a:pt x="1553" y="489"/>
                  <a:pt x="1553" y="489"/>
                  <a:pt x="1553" y="489"/>
                </a:cubicBezTo>
                <a:cubicBezTo>
                  <a:pt x="1557" y="489"/>
                  <a:pt x="1560" y="492"/>
                  <a:pt x="1560" y="496"/>
                </a:cubicBezTo>
                <a:cubicBezTo>
                  <a:pt x="1560" y="500"/>
                  <a:pt x="1557" y="503"/>
                  <a:pt x="1553" y="503"/>
                </a:cubicBezTo>
                <a:cubicBezTo>
                  <a:pt x="1039" y="503"/>
                  <a:pt x="1039" y="503"/>
                  <a:pt x="1039" y="503"/>
                </a:cubicBezTo>
                <a:cubicBezTo>
                  <a:pt x="1027" y="503"/>
                  <a:pt x="1017" y="513"/>
                  <a:pt x="1017" y="525"/>
                </a:cubicBezTo>
                <a:cubicBezTo>
                  <a:pt x="1017" y="537"/>
                  <a:pt x="1027" y="546"/>
                  <a:pt x="1039" y="546"/>
                </a:cubicBezTo>
                <a:cubicBezTo>
                  <a:pt x="1528" y="546"/>
                  <a:pt x="1528" y="546"/>
                  <a:pt x="1528" y="546"/>
                </a:cubicBezTo>
                <a:cubicBezTo>
                  <a:pt x="1532" y="546"/>
                  <a:pt x="1536" y="550"/>
                  <a:pt x="1536" y="554"/>
                </a:cubicBezTo>
                <a:cubicBezTo>
                  <a:pt x="1536" y="558"/>
                  <a:pt x="1532" y="561"/>
                  <a:pt x="1528" y="561"/>
                </a:cubicBezTo>
                <a:cubicBezTo>
                  <a:pt x="1019" y="561"/>
                  <a:pt x="1019" y="561"/>
                  <a:pt x="1019" y="561"/>
                </a:cubicBezTo>
                <a:cubicBezTo>
                  <a:pt x="1007" y="561"/>
                  <a:pt x="997" y="571"/>
                  <a:pt x="997" y="583"/>
                </a:cubicBezTo>
                <a:cubicBezTo>
                  <a:pt x="997" y="595"/>
                  <a:pt x="1007" y="604"/>
                  <a:pt x="1019" y="604"/>
                </a:cubicBezTo>
                <a:cubicBezTo>
                  <a:pt x="1526" y="604"/>
                  <a:pt x="1526" y="604"/>
                  <a:pt x="1526" y="604"/>
                </a:cubicBezTo>
                <a:cubicBezTo>
                  <a:pt x="1530" y="604"/>
                  <a:pt x="1534" y="607"/>
                  <a:pt x="1534" y="612"/>
                </a:cubicBezTo>
                <a:cubicBezTo>
                  <a:pt x="1534" y="616"/>
                  <a:pt x="1530" y="619"/>
                  <a:pt x="1526" y="619"/>
                </a:cubicBezTo>
                <a:cubicBezTo>
                  <a:pt x="1068" y="619"/>
                  <a:pt x="1068" y="619"/>
                  <a:pt x="1068" y="619"/>
                </a:cubicBezTo>
                <a:cubicBezTo>
                  <a:pt x="1056" y="619"/>
                  <a:pt x="1046" y="629"/>
                  <a:pt x="1046" y="640"/>
                </a:cubicBezTo>
                <a:cubicBezTo>
                  <a:pt x="1046" y="652"/>
                  <a:pt x="1056" y="662"/>
                  <a:pt x="1068" y="662"/>
                </a:cubicBezTo>
                <a:cubicBezTo>
                  <a:pt x="1436" y="662"/>
                  <a:pt x="1436" y="662"/>
                  <a:pt x="1436" y="662"/>
                </a:cubicBezTo>
                <a:cubicBezTo>
                  <a:pt x="1440" y="662"/>
                  <a:pt x="1443" y="665"/>
                  <a:pt x="1443" y="669"/>
                </a:cubicBezTo>
                <a:cubicBezTo>
                  <a:pt x="1443" y="673"/>
                  <a:pt x="1440" y="677"/>
                  <a:pt x="1436" y="677"/>
                </a:cubicBezTo>
                <a:cubicBezTo>
                  <a:pt x="1287" y="677"/>
                  <a:pt x="1287" y="677"/>
                  <a:pt x="1287" y="677"/>
                </a:cubicBezTo>
                <a:cubicBezTo>
                  <a:pt x="1276" y="677"/>
                  <a:pt x="1266" y="686"/>
                  <a:pt x="1266" y="698"/>
                </a:cubicBezTo>
                <a:cubicBezTo>
                  <a:pt x="1266" y="710"/>
                  <a:pt x="1276" y="720"/>
                  <a:pt x="1287" y="720"/>
                </a:cubicBezTo>
                <a:cubicBezTo>
                  <a:pt x="1454" y="720"/>
                  <a:pt x="1454" y="720"/>
                  <a:pt x="1454" y="720"/>
                </a:cubicBezTo>
                <a:cubicBezTo>
                  <a:pt x="1458" y="720"/>
                  <a:pt x="1461" y="723"/>
                  <a:pt x="1461" y="727"/>
                </a:cubicBezTo>
                <a:cubicBezTo>
                  <a:pt x="1461" y="731"/>
                  <a:pt x="1458" y="734"/>
                  <a:pt x="1454" y="734"/>
                </a:cubicBezTo>
                <a:cubicBezTo>
                  <a:pt x="1321" y="734"/>
                  <a:pt x="1321" y="734"/>
                  <a:pt x="1321" y="734"/>
                </a:cubicBezTo>
                <a:cubicBezTo>
                  <a:pt x="1309" y="734"/>
                  <a:pt x="1300" y="744"/>
                  <a:pt x="1300" y="756"/>
                </a:cubicBezTo>
                <a:cubicBezTo>
                  <a:pt x="1300" y="768"/>
                  <a:pt x="1309" y="778"/>
                  <a:pt x="1321" y="778"/>
                </a:cubicBezTo>
                <a:cubicBezTo>
                  <a:pt x="1549" y="778"/>
                  <a:pt x="1549" y="778"/>
                  <a:pt x="1549" y="778"/>
                </a:cubicBezTo>
                <a:cubicBezTo>
                  <a:pt x="1553" y="778"/>
                  <a:pt x="1556" y="781"/>
                  <a:pt x="1556" y="785"/>
                </a:cubicBezTo>
                <a:cubicBezTo>
                  <a:pt x="1556" y="789"/>
                  <a:pt x="1553" y="792"/>
                  <a:pt x="1549" y="792"/>
                </a:cubicBezTo>
                <a:cubicBezTo>
                  <a:pt x="1455" y="792"/>
                  <a:pt x="1455" y="792"/>
                  <a:pt x="1455" y="792"/>
                </a:cubicBezTo>
                <a:cubicBezTo>
                  <a:pt x="1443" y="792"/>
                  <a:pt x="1434" y="802"/>
                  <a:pt x="1434" y="814"/>
                </a:cubicBezTo>
                <a:cubicBezTo>
                  <a:pt x="1434" y="826"/>
                  <a:pt x="1443" y="835"/>
                  <a:pt x="1455" y="835"/>
                </a:cubicBezTo>
                <a:cubicBezTo>
                  <a:pt x="1623" y="835"/>
                  <a:pt x="1623" y="835"/>
                  <a:pt x="1623" y="835"/>
                </a:cubicBezTo>
                <a:cubicBezTo>
                  <a:pt x="1635" y="835"/>
                  <a:pt x="1645" y="826"/>
                  <a:pt x="1645" y="814"/>
                </a:cubicBezTo>
                <a:cubicBezTo>
                  <a:pt x="1645" y="802"/>
                  <a:pt x="1635" y="792"/>
                  <a:pt x="1623" y="792"/>
                </a:cubicBezTo>
                <a:cubicBezTo>
                  <a:pt x="1607" y="792"/>
                  <a:pt x="1607" y="792"/>
                  <a:pt x="1607" y="792"/>
                </a:cubicBezTo>
                <a:cubicBezTo>
                  <a:pt x="1603" y="792"/>
                  <a:pt x="1600" y="789"/>
                  <a:pt x="1600" y="785"/>
                </a:cubicBezTo>
                <a:cubicBezTo>
                  <a:pt x="1600" y="781"/>
                  <a:pt x="1603" y="778"/>
                  <a:pt x="1607" y="778"/>
                </a:cubicBezTo>
                <a:cubicBezTo>
                  <a:pt x="1683" y="778"/>
                  <a:pt x="1683" y="778"/>
                  <a:pt x="1683" y="778"/>
                </a:cubicBezTo>
                <a:cubicBezTo>
                  <a:pt x="1687" y="778"/>
                  <a:pt x="1690" y="781"/>
                  <a:pt x="1690" y="785"/>
                </a:cubicBezTo>
                <a:cubicBezTo>
                  <a:pt x="1690" y="789"/>
                  <a:pt x="1687" y="792"/>
                  <a:pt x="1683" y="792"/>
                </a:cubicBezTo>
                <a:cubicBezTo>
                  <a:pt x="1673" y="792"/>
                  <a:pt x="1673" y="792"/>
                  <a:pt x="1673" y="792"/>
                </a:cubicBezTo>
                <a:cubicBezTo>
                  <a:pt x="1662" y="792"/>
                  <a:pt x="1652" y="802"/>
                  <a:pt x="1652" y="814"/>
                </a:cubicBezTo>
                <a:cubicBezTo>
                  <a:pt x="1652" y="826"/>
                  <a:pt x="1662" y="835"/>
                  <a:pt x="1673" y="835"/>
                </a:cubicBezTo>
                <a:cubicBezTo>
                  <a:pt x="1681" y="835"/>
                  <a:pt x="1681" y="835"/>
                  <a:pt x="1681" y="835"/>
                </a:cubicBezTo>
                <a:cubicBezTo>
                  <a:pt x="1693" y="835"/>
                  <a:pt x="1703" y="845"/>
                  <a:pt x="1703" y="857"/>
                </a:cubicBezTo>
                <a:cubicBezTo>
                  <a:pt x="1703" y="869"/>
                  <a:pt x="1693" y="879"/>
                  <a:pt x="1681" y="879"/>
                </a:cubicBezTo>
                <a:cubicBezTo>
                  <a:pt x="1550" y="879"/>
                  <a:pt x="1550" y="879"/>
                  <a:pt x="1550" y="879"/>
                </a:cubicBezTo>
                <a:cubicBezTo>
                  <a:pt x="1538" y="879"/>
                  <a:pt x="1529" y="889"/>
                  <a:pt x="1529" y="901"/>
                </a:cubicBezTo>
                <a:cubicBezTo>
                  <a:pt x="1529" y="913"/>
                  <a:pt x="1538" y="922"/>
                  <a:pt x="1550" y="922"/>
                </a:cubicBezTo>
                <a:cubicBezTo>
                  <a:pt x="1697" y="922"/>
                  <a:pt x="1697" y="922"/>
                  <a:pt x="1697" y="922"/>
                </a:cubicBezTo>
                <a:cubicBezTo>
                  <a:pt x="1701" y="922"/>
                  <a:pt x="1704" y="925"/>
                  <a:pt x="1704" y="929"/>
                </a:cubicBezTo>
                <a:cubicBezTo>
                  <a:pt x="1704" y="934"/>
                  <a:pt x="1701" y="937"/>
                  <a:pt x="1697" y="937"/>
                </a:cubicBezTo>
                <a:cubicBezTo>
                  <a:pt x="1504" y="937"/>
                  <a:pt x="1504" y="937"/>
                  <a:pt x="1504" y="937"/>
                </a:cubicBezTo>
                <a:cubicBezTo>
                  <a:pt x="1492" y="937"/>
                  <a:pt x="1482" y="946"/>
                  <a:pt x="1482" y="958"/>
                </a:cubicBezTo>
                <a:cubicBezTo>
                  <a:pt x="1482" y="970"/>
                  <a:pt x="1492" y="980"/>
                  <a:pt x="1504" y="980"/>
                </a:cubicBezTo>
                <a:cubicBezTo>
                  <a:pt x="1712" y="980"/>
                  <a:pt x="1712" y="980"/>
                  <a:pt x="1712" y="980"/>
                </a:cubicBezTo>
                <a:cubicBezTo>
                  <a:pt x="1716" y="980"/>
                  <a:pt x="1719" y="983"/>
                  <a:pt x="1719" y="987"/>
                </a:cubicBezTo>
                <a:cubicBezTo>
                  <a:pt x="1719" y="991"/>
                  <a:pt x="1716" y="995"/>
                  <a:pt x="1712" y="995"/>
                </a:cubicBezTo>
                <a:cubicBezTo>
                  <a:pt x="1505" y="995"/>
                  <a:pt x="1505" y="995"/>
                  <a:pt x="1505" y="995"/>
                </a:cubicBezTo>
                <a:cubicBezTo>
                  <a:pt x="1494" y="995"/>
                  <a:pt x="1484" y="1004"/>
                  <a:pt x="1484" y="1016"/>
                </a:cubicBezTo>
                <a:cubicBezTo>
                  <a:pt x="1484" y="1028"/>
                  <a:pt x="1494" y="1038"/>
                  <a:pt x="1505" y="1038"/>
                </a:cubicBezTo>
                <a:cubicBezTo>
                  <a:pt x="1693" y="1038"/>
                  <a:pt x="1693" y="1038"/>
                  <a:pt x="1693" y="1038"/>
                </a:cubicBezTo>
                <a:cubicBezTo>
                  <a:pt x="1697" y="1038"/>
                  <a:pt x="1701" y="1041"/>
                  <a:pt x="1701" y="1045"/>
                </a:cubicBezTo>
                <a:cubicBezTo>
                  <a:pt x="1701" y="1049"/>
                  <a:pt x="1697" y="1052"/>
                  <a:pt x="1693" y="1052"/>
                </a:cubicBezTo>
                <a:cubicBezTo>
                  <a:pt x="1635" y="1052"/>
                  <a:pt x="1635" y="1052"/>
                  <a:pt x="1635" y="1052"/>
                </a:cubicBezTo>
                <a:cubicBezTo>
                  <a:pt x="1623" y="1052"/>
                  <a:pt x="1613" y="1062"/>
                  <a:pt x="1613" y="1074"/>
                </a:cubicBezTo>
                <a:cubicBezTo>
                  <a:pt x="1613" y="1086"/>
                  <a:pt x="1623" y="1096"/>
                  <a:pt x="1635" y="1096"/>
                </a:cubicBezTo>
                <a:cubicBezTo>
                  <a:pt x="1658" y="1096"/>
                  <a:pt x="1658" y="1096"/>
                  <a:pt x="1658" y="1096"/>
                </a:cubicBezTo>
                <a:cubicBezTo>
                  <a:pt x="1662" y="1096"/>
                  <a:pt x="1665" y="1099"/>
                  <a:pt x="1665" y="1103"/>
                </a:cubicBezTo>
                <a:cubicBezTo>
                  <a:pt x="1665" y="1107"/>
                  <a:pt x="1662" y="1110"/>
                  <a:pt x="1658" y="1110"/>
                </a:cubicBezTo>
                <a:cubicBezTo>
                  <a:pt x="1650" y="1110"/>
                  <a:pt x="1650" y="1110"/>
                  <a:pt x="1650" y="1110"/>
                </a:cubicBezTo>
                <a:cubicBezTo>
                  <a:pt x="1630" y="1110"/>
                  <a:pt x="1614" y="1126"/>
                  <a:pt x="1614" y="1146"/>
                </a:cubicBezTo>
                <a:cubicBezTo>
                  <a:pt x="1614" y="1166"/>
                  <a:pt x="1630" y="1182"/>
                  <a:pt x="1650" y="1182"/>
                </a:cubicBezTo>
                <a:cubicBezTo>
                  <a:pt x="1789" y="1182"/>
                  <a:pt x="1789" y="1182"/>
                  <a:pt x="1789" y="1182"/>
                </a:cubicBezTo>
                <a:cubicBezTo>
                  <a:pt x="1801" y="1182"/>
                  <a:pt x="1811" y="1173"/>
                  <a:pt x="1811" y="1161"/>
                </a:cubicBezTo>
                <a:cubicBezTo>
                  <a:pt x="1811" y="1149"/>
                  <a:pt x="1801" y="1139"/>
                  <a:pt x="1789" y="1139"/>
                </a:cubicBezTo>
                <a:cubicBezTo>
                  <a:pt x="1766" y="1139"/>
                  <a:pt x="1766" y="1139"/>
                  <a:pt x="1766" y="1139"/>
                </a:cubicBezTo>
                <a:cubicBezTo>
                  <a:pt x="1762" y="1139"/>
                  <a:pt x="1759" y="1136"/>
                  <a:pt x="1759" y="1132"/>
                </a:cubicBezTo>
                <a:cubicBezTo>
                  <a:pt x="1759" y="1128"/>
                  <a:pt x="1762" y="1125"/>
                  <a:pt x="1766" y="1125"/>
                </a:cubicBezTo>
                <a:cubicBezTo>
                  <a:pt x="1824" y="1125"/>
                  <a:pt x="1824" y="1125"/>
                  <a:pt x="1824" y="1125"/>
                </a:cubicBezTo>
                <a:cubicBezTo>
                  <a:pt x="1836" y="1125"/>
                  <a:pt x="1846" y="1115"/>
                  <a:pt x="1846" y="1103"/>
                </a:cubicBezTo>
                <a:cubicBezTo>
                  <a:pt x="1846" y="1091"/>
                  <a:pt x="1836" y="1081"/>
                  <a:pt x="1824" y="1081"/>
                </a:cubicBezTo>
                <a:cubicBezTo>
                  <a:pt x="1797" y="1081"/>
                  <a:pt x="1797" y="1081"/>
                  <a:pt x="1797" y="1081"/>
                </a:cubicBezTo>
                <a:cubicBezTo>
                  <a:pt x="1793" y="1081"/>
                  <a:pt x="1790" y="1078"/>
                  <a:pt x="1790" y="1074"/>
                </a:cubicBezTo>
                <a:cubicBezTo>
                  <a:pt x="1790" y="1070"/>
                  <a:pt x="1793" y="1067"/>
                  <a:pt x="1797" y="1067"/>
                </a:cubicBezTo>
                <a:cubicBezTo>
                  <a:pt x="1843" y="1067"/>
                  <a:pt x="1843" y="1067"/>
                  <a:pt x="1843" y="1067"/>
                </a:cubicBezTo>
                <a:cubicBezTo>
                  <a:pt x="1855" y="1067"/>
                  <a:pt x="1864" y="1057"/>
                  <a:pt x="1864" y="1045"/>
                </a:cubicBezTo>
                <a:cubicBezTo>
                  <a:pt x="1864" y="1033"/>
                  <a:pt x="1855" y="1024"/>
                  <a:pt x="1843" y="1024"/>
                </a:cubicBezTo>
                <a:cubicBezTo>
                  <a:pt x="1791" y="1023"/>
                  <a:pt x="1791" y="1023"/>
                  <a:pt x="1791" y="1023"/>
                </a:cubicBezTo>
                <a:cubicBezTo>
                  <a:pt x="1787" y="1023"/>
                  <a:pt x="1784" y="1020"/>
                  <a:pt x="1784" y="1016"/>
                </a:cubicBezTo>
                <a:cubicBezTo>
                  <a:pt x="1784" y="1012"/>
                  <a:pt x="1787" y="1009"/>
                  <a:pt x="1791" y="1009"/>
                </a:cubicBezTo>
                <a:cubicBezTo>
                  <a:pt x="1876" y="1009"/>
                  <a:pt x="1876" y="1009"/>
                  <a:pt x="1876" y="1009"/>
                </a:cubicBezTo>
                <a:cubicBezTo>
                  <a:pt x="1945" y="1009"/>
                  <a:pt x="2002" y="955"/>
                  <a:pt x="2008" y="887"/>
                </a:cubicBezTo>
                <a:cubicBezTo>
                  <a:pt x="2015" y="884"/>
                  <a:pt x="2020" y="878"/>
                  <a:pt x="2020" y="870"/>
                </a:cubicBezTo>
                <a:cubicBezTo>
                  <a:pt x="2020" y="860"/>
                  <a:pt x="2011" y="851"/>
                  <a:pt x="2001" y="851"/>
                </a:cubicBezTo>
                <a:close/>
                <a:moveTo>
                  <a:pt x="868" y="358"/>
                </a:moveTo>
                <a:cubicBezTo>
                  <a:pt x="766" y="358"/>
                  <a:pt x="766" y="358"/>
                  <a:pt x="766" y="358"/>
                </a:cubicBezTo>
                <a:cubicBezTo>
                  <a:pt x="754" y="358"/>
                  <a:pt x="744" y="368"/>
                  <a:pt x="744" y="380"/>
                </a:cubicBezTo>
                <a:cubicBezTo>
                  <a:pt x="744" y="392"/>
                  <a:pt x="754" y="402"/>
                  <a:pt x="766" y="402"/>
                </a:cubicBezTo>
                <a:cubicBezTo>
                  <a:pt x="804" y="402"/>
                  <a:pt x="804" y="402"/>
                  <a:pt x="804" y="402"/>
                </a:cubicBezTo>
                <a:cubicBezTo>
                  <a:pt x="809" y="402"/>
                  <a:pt x="812" y="405"/>
                  <a:pt x="812" y="409"/>
                </a:cubicBezTo>
                <a:cubicBezTo>
                  <a:pt x="812" y="413"/>
                  <a:pt x="809" y="416"/>
                  <a:pt x="804" y="416"/>
                </a:cubicBezTo>
                <a:cubicBezTo>
                  <a:pt x="768" y="416"/>
                  <a:pt x="768" y="416"/>
                  <a:pt x="768" y="416"/>
                </a:cubicBezTo>
                <a:cubicBezTo>
                  <a:pt x="756" y="416"/>
                  <a:pt x="747" y="426"/>
                  <a:pt x="747" y="438"/>
                </a:cubicBezTo>
                <a:cubicBezTo>
                  <a:pt x="747" y="450"/>
                  <a:pt x="756" y="459"/>
                  <a:pt x="768" y="459"/>
                </a:cubicBezTo>
                <a:cubicBezTo>
                  <a:pt x="969" y="459"/>
                  <a:pt x="969" y="459"/>
                  <a:pt x="969" y="459"/>
                </a:cubicBezTo>
                <a:cubicBezTo>
                  <a:pt x="973" y="459"/>
                  <a:pt x="977" y="463"/>
                  <a:pt x="977" y="467"/>
                </a:cubicBezTo>
                <a:cubicBezTo>
                  <a:pt x="977" y="471"/>
                  <a:pt x="973" y="474"/>
                  <a:pt x="969" y="474"/>
                </a:cubicBezTo>
                <a:cubicBezTo>
                  <a:pt x="846" y="474"/>
                  <a:pt x="846" y="474"/>
                  <a:pt x="846" y="474"/>
                </a:cubicBezTo>
                <a:cubicBezTo>
                  <a:pt x="834" y="474"/>
                  <a:pt x="824" y="484"/>
                  <a:pt x="824" y="496"/>
                </a:cubicBezTo>
                <a:cubicBezTo>
                  <a:pt x="824" y="507"/>
                  <a:pt x="834" y="517"/>
                  <a:pt x="846" y="517"/>
                </a:cubicBezTo>
                <a:cubicBezTo>
                  <a:pt x="972" y="517"/>
                  <a:pt x="972" y="517"/>
                  <a:pt x="972" y="517"/>
                </a:cubicBezTo>
                <a:cubicBezTo>
                  <a:pt x="976" y="517"/>
                  <a:pt x="979" y="520"/>
                  <a:pt x="979" y="524"/>
                </a:cubicBezTo>
                <a:cubicBezTo>
                  <a:pt x="979" y="529"/>
                  <a:pt x="976" y="532"/>
                  <a:pt x="972" y="532"/>
                </a:cubicBezTo>
                <a:cubicBezTo>
                  <a:pt x="805" y="532"/>
                  <a:pt x="805" y="532"/>
                  <a:pt x="805" y="532"/>
                </a:cubicBezTo>
                <a:cubicBezTo>
                  <a:pt x="793" y="532"/>
                  <a:pt x="783" y="541"/>
                  <a:pt x="783" y="553"/>
                </a:cubicBezTo>
                <a:cubicBezTo>
                  <a:pt x="783" y="565"/>
                  <a:pt x="793" y="575"/>
                  <a:pt x="805" y="575"/>
                </a:cubicBezTo>
                <a:cubicBezTo>
                  <a:pt x="860" y="575"/>
                  <a:pt x="860" y="575"/>
                  <a:pt x="860" y="575"/>
                </a:cubicBezTo>
                <a:cubicBezTo>
                  <a:pt x="864" y="575"/>
                  <a:pt x="867" y="578"/>
                  <a:pt x="867" y="582"/>
                </a:cubicBezTo>
                <a:cubicBezTo>
                  <a:pt x="867" y="586"/>
                  <a:pt x="864" y="590"/>
                  <a:pt x="860" y="590"/>
                </a:cubicBezTo>
                <a:cubicBezTo>
                  <a:pt x="805" y="590"/>
                  <a:pt x="805" y="590"/>
                  <a:pt x="805" y="590"/>
                </a:cubicBezTo>
                <a:cubicBezTo>
                  <a:pt x="793" y="590"/>
                  <a:pt x="783" y="599"/>
                  <a:pt x="783" y="611"/>
                </a:cubicBezTo>
                <a:cubicBezTo>
                  <a:pt x="783" y="623"/>
                  <a:pt x="793" y="633"/>
                  <a:pt x="805" y="633"/>
                </a:cubicBezTo>
                <a:cubicBezTo>
                  <a:pt x="1011" y="633"/>
                  <a:pt x="1011" y="633"/>
                  <a:pt x="1011" y="633"/>
                </a:cubicBezTo>
                <a:cubicBezTo>
                  <a:pt x="1015" y="633"/>
                  <a:pt x="1018" y="636"/>
                  <a:pt x="1018" y="640"/>
                </a:cubicBezTo>
                <a:cubicBezTo>
                  <a:pt x="1018" y="644"/>
                  <a:pt x="1015" y="647"/>
                  <a:pt x="1011" y="647"/>
                </a:cubicBezTo>
                <a:cubicBezTo>
                  <a:pt x="763" y="647"/>
                  <a:pt x="763" y="647"/>
                  <a:pt x="763" y="647"/>
                </a:cubicBezTo>
                <a:cubicBezTo>
                  <a:pt x="751" y="647"/>
                  <a:pt x="741" y="657"/>
                  <a:pt x="741" y="669"/>
                </a:cubicBezTo>
                <a:cubicBezTo>
                  <a:pt x="741" y="681"/>
                  <a:pt x="751" y="691"/>
                  <a:pt x="763" y="691"/>
                </a:cubicBezTo>
                <a:cubicBezTo>
                  <a:pt x="1046" y="691"/>
                  <a:pt x="1046" y="691"/>
                  <a:pt x="1046" y="691"/>
                </a:cubicBezTo>
                <a:cubicBezTo>
                  <a:pt x="1050" y="691"/>
                  <a:pt x="1054" y="694"/>
                  <a:pt x="1054" y="698"/>
                </a:cubicBezTo>
                <a:cubicBezTo>
                  <a:pt x="1054" y="702"/>
                  <a:pt x="1050" y="705"/>
                  <a:pt x="1046" y="705"/>
                </a:cubicBezTo>
                <a:cubicBezTo>
                  <a:pt x="791" y="705"/>
                  <a:pt x="791" y="705"/>
                  <a:pt x="791" y="705"/>
                </a:cubicBezTo>
                <a:cubicBezTo>
                  <a:pt x="779" y="705"/>
                  <a:pt x="770" y="715"/>
                  <a:pt x="770" y="727"/>
                </a:cubicBezTo>
                <a:cubicBezTo>
                  <a:pt x="770" y="739"/>
                  <a:pt x="779" y="748"/>
                  <a:pt x="791" y="748"/>
                </a:cubicBezTo>
                <a:cubicBezTo>
                  <a:pt x="1104" y="748"/>
                  <a:pt x="1104" y="748"/>
                  <a:pt x="1104" y="748"/>
                </a:cubicBezTo>
                <a:cubicBezTo>
                  <a:pt x="1108" y="748"/>
                  <a:pt x="1111" y="752"/>
                  <a:pt x="1111" y="756"/>
                </a:cubicBezTo>
                <a:cubicBezTo>
                  <a:pt x="1111" y="760"/>
                  <a:pt x="1108" y="763"/>
                  <a:pt x="1104" y="763"/>
                </a:cubicBezTo>
                <a:cubicBezTo>
                  <a:pt x="905" y="763"/>
                  <a:pt x="905" y="763"/>
                  <a:pt x="905" y="763"/>
                </a:cubicBezTo>
                <a:cubicBezTo>
                  <a:pt x="893" y="763"/>
                  <a:pt x="883" y="773"/>
                  <a:pt x="883" y="785"/>
                </a:cubicBezTo>
                <a:cubicBezTo>
                  <a:pt x="883" y="797"/>
                  <a:pt x="893" y="806"/>
                  <a:pt x="905" y="806"/>
                </a:cubicBezTo>
                <a:cubicBezTo>
                  <a:pt x="1049" y="806"/>
                  <a:pt x="1049" y="806"/>
                  <a:pt x="1049" y="806"/>
                </a:cubicBezTo>
                <a:cubicBezTo>
                  <a:pt x="1053" y="806"/>
                  <a:pt x="1057" y="810"/>
                  <a:pt x="1057" y="814"/>
                </a:cubicBezTo>
                <a:cubicBezTo>
                  <a:pt x="1057" y="818"/>
                  <a:pt x="1053" y="821"/>
                  <a:pt x="1049" y="821"/>
                </a:cubicBezTo>
                <a:cubicBezTo>
                  <a:pt x="914" y="821"/>
                  <a:pt x="914" y="821"/>
                  <a:pt x="914" y="821"/>
                </a:cubicBezTo>
                <a:cubicBezTo>
                  <a:pt x="902" y="821"/>
                  <a:pt x="892" y="831"/>
                  <a:pt x="892" y="842"/>
                </a:cubicBezTo>
                <a:cubicBezTo>
                  <a:pt x="892" y="854"/>
                  <a:pt x="902" y="864"/>
                  <a:pt x="914" y="864"/>
                </a:cubicBezTo>
                <a:cubicBezTo>
                  <a:pt x="1053" y="864"/>
                  <a:pt x="1053" y="864"/>
                  <a:pt x="1053" y="864"/>
                </a:cubicBezTo>
                <a:cubicBezTo>
                  <a:pt x="1057" y="864"/>
                  <a:pt x="1061" y="867"/>
                  <a:pt x="1061" y="871"/>
                </a:cubicBezTo>
                <a:cubicBezTo>
                  <a:pt x="1061" y="875"/>
                  <a:pt x="1057" y="879"/>
                  <a:pt x="1053" y="879"/>
                </a:cubicBezTo>
                <a:cubicBezTo>
                  <a:pt x="919" y="879"/>
                  <a:pt x="919" y="879"/>
                  <a:pt x="919" y="879"/>
                </a:cubicBezTo>
                <a:cubicBezTo>
                  <a:pt x="907" y="879"/>
                  <a:pt x="898" y="888"/>
                  <a:pt x="898" y="900"/>
                </a:cubicBezTo>
                <a:cubicBezTo>
                  <a:pt x="898" y="912"/>
                  <a:pt x="907" y="922"/>
                  <a:pt x="919" y="922"/>
                </a:cubicBezTo>
                <a:cubicBezTo>
                  <a:pt x="1017" y="922"/>
                  <a:pt x="1017" y="922"/>
                  <a:pt x="1017" y="922"/>
                </a:cubicBezTo>
                <a:cubicBezTo>
                  <a:pt x="1021" y="922"/>
                  <a:pt x="1024" y="925"/>
                  <a:pt x="1024" y="929"/>
                </a:cubicBezTo>
                <a:cubicBezTo>
                  <a:pt x="1024" y="933"/>
                  <a:pt x="1021" y="936"/>
                  <a:pt x="1017" y="936"/>
                </a:cubicBezTo>
                <a:cubicBezTo>
                  <a:pt x="941" y="936"/>
                  <a:pt x="941" y="936"/>
                  <a:pt x="941" y="936"/>
                </a:cubicBezTo>
                <a:cubicBezTo>
                  <a:pt x="929" y="936"/>
                  <a:pt x="919" y="946"/>
                  <a:pt x="919" y="958"/>
                </a:cubicBezTo>
                <a:cubicBezTo>
                  <a:pt x="919" y="970"/>
                  <a:pt x="929" y="980"/>
                  <a:pt x="941" y="980"/>
                </a:cubicBezTo>
                <a:cubicBezTo>
                  <a:pt x="979" y="980"/>
                  <a:pt x="979" y="980"/>
                  <a:pt x="979" y="980"/>
                </a:cubicBezTo>
                <a:cubicBezTo>
                  <a:pt x="983" y="980"/>
                  <a:pt x="986" y="983"/>
                  <a:pt x="986" y="987"/>
                </a:cubicBezTo>
                <a:cubicBezTo>
                  <a:pt x="986" y="991"/>
                  <a:pt x="983" y="994"/>
                  <a:pt x="979" y="994"/>
                </a:cubicBezTo>
                <a:cubicBezTo>
                  <a:pt x="976" y="994"/>
                  <a:pt x="976" y="994"/>
                  <a:pt x="976" y="994"/>
                </a:cubicBezTo>
                <a:cubicBezTo>
                  <a:pt x="956" y="994"/>
                  <a:pt x="940" y="1010"/>
                  <a:pt x="940" y="1030"/>
                </a:cubicBezTo>
                <a:cubicBezTo>
                  <a:pt x="940" y="1050"/>
                  <a:pt x="956" y="1066"/>
                  <a:pt x="976" y="1066"/>
                </a:cubicBezTo>
                <a:cubicBezTo>
                  <a:pt x="1017" y="1066"/>
                  <a:pt x="1017" y="1066"/>
                  <a:pt x="1017" y="1066"/>
                </a:cubicBezTo>
                <a:cubicBezTo>
                  <a:pt x="1029" y="1066"/>
                  <a:pt x="1039" y="1076"/>
                  <a:pt x="1039" y="1088"/>
                </a:cubicBezTo>
                <a:cubicBezTo>
                  <a:pt x="1039" y="1100"/>
                  <a:pt x="1029" y="1110"/>
                  <a:pt x="1017" y="1110"/>
                </a:cubicBezTo>
                <a:cubicBezTo>
                  <a:pt x="443" y="1110"/>
                  <a:pt x="443" y="1110"/>
                  <a:pt x="443" y="1110"/>
                </a:cubicBezTo>
                <a:cubicBezTo>
                  <a:pt x="439" y="1110"/>
                  <a:pt x="436" y="1107"/>
                  <a:pt x="436" y="1103"/>
                </a:cubicBezTo>
                <a:cubicBezTo>
                  <a:pt x="436" y="1099"/>
                  <a:pt x="439" y="1095"/>
                  <a:pt x="443" y="1095"/>
                </a:cubicBezTo>
                <a:cubicBezTo>
                  <a:pt x="472" y="1095"/>
                  <a:pt x="472" y="1095"/>
                  <a:pt x="472" y="1095"/>
                </a:cubicBezTo>
                <a:cubicBezTo>
                  <a:pt x="484" y="1095"/>
                  <a:pt x="493" y="1086"/>
                  <a:pt x="493" y="1074"/>
                </a:cubicBezTo>
                <a:cubicBezTo>
                  <a:pt x="493" y="1062"/>
                  <a:pt x="484" y="1052"/>
                  <a:pt x="472" y="1052"/>
                </a:cubicBezTo>
                <a:cubicBezTo>
                  <a:pt x="443" y="1052"/>
                  <a:pt x="443" y="1052"/>
                  <a:pt x="443" y="1052"/>
                </a:cubicBezTo>
                <a:cubicBezTo>
                  <a:pt x="439" y="1052"/>
                  <a:pt x="436" y="1049"/>
                  <a:pt x="436" y="1045"/>
                </a:cubicBezTo>
                <a:cubicBezTo>
                  <a:pt x="436" y="1041"/>
                  <a:pt x="439" y="1037"/>
                  <a:pt x="443" y="1037"/>
                </a:cubicBezTo>
                <a:cubicBezTo>
                  <a:pt x="495" y="1037"/>
                  <a:pt x="495" y="1037"/>
                  <a:pt x="495" y="1037"/>
                </a:cubicBezTo>
                <a:cubicBezTo>
                  <a:pt x="507" y="1037"/>
                  <a:pt x="517" y="1028"/>
                  <a:pt x="517" y="1016"/>
                </a:cubicBezTo>
                <a:cubicBezTo>
                  <a:pt x="517" y="1004"/>
                  <a:pt x="507" y="994"/>
                  <a:pt x="495" y="994"/>
                </a:cubicBezTo>
                <a:cubicBezTo>
                  <a:pt x="438" y="994"/>
                  <a:pt x="438" y="994"/>
                  <a:pt x="438" y="994"/>
                </a:cubicBezTo>
                <a:cubicBezTo>
                  <a:pt x="434" y="994"/>
                  <a:pt x="431" y="991"/>
                  <a:pt x="431" y="987"/>
                </a:cubicBezTo>
                <a:cubicBezTo>
                  <a:pt x="431" y="983"/>
                  <a:pt x="434" y="980"/>
                  <a:pt x="438" y="980"/>
                </a:cubicBezTo>
                <a:cubicBezTo>
                  <a:pt x="551" y="980"/>
                  <a:pt x="551" y="980"/>
                  <a:pt x="551" y="980"/>
                </a:cubicBezTo>
                <a:cubicBezTo>
                  <a:pt x="563" y="980"/>
                  <a:pt x="572" y="970"/>
                  <a:pt x="572" y="958"/>
                </a:cubicBezTo>
                <a:cubicBezTo>
                  <a:pt x="572" y="946"/>
                  <a:pt x="563" y="936"/>
                  <a:pt x="551" y="936"/>
                </a:cubicBezTo>
                <a:cubicBezTo>
                  <a:pt x="446" y="936"/>
                  <a:pt x="446" y="936"/>
                  <a:pt x="446" y="936"/>
                </a:cubicBezTo>
                <a:cubicBezTo>
                  <a:pt x="442" y="936"/>
                  <a:pt x="439" y="933"/>
                  <a:pt x="439" y="929"/>
                </a:cubicBezTo>
                <a:cubicBezTo>
                  <a:pt x="439" y="925"/>
                  <a:pt x="442" y="922"/>
                  <a:pt x="446" y="922"/>
                </a:cubicBezTo>
                <a:cubicBezTo>
                  <a:pt x="593" y="922"/>
                  <a:pt x="593" y="922"/>
                  <a:pt x="593" y="922"/>
                </a:cubicBezTo>
                <a:cubicBezTo>
                  <a:pt x="605" y="922"/>
                  <a:pt x="614" y="912"/>
                  <a:pt x="614" y="900"/>
                </a:cubicBezTo>
                <a:cubicBezTo>
                  <a:pt x="614" y="888"/>
                  <a:pt x="605" y="879"/>
                  <a:pt x="593" y="879"/>
                </a:cubicBezTo>
                <a:cubicBezTo>
                  <a:pt x="417" y="879"/>
                  <a:pt x="417" y="879"/>
                  <a:pt x="417" y="879"/>
                </a:cubicBezTo>
                <a:cubicBezTo>
                  <a:pt x="413" y="879"/>
                  <a:pt x="410" y="875"/>
                  <a:pt x="410" y="871"/>
                </a:cubicBezTo>
                <a:cubicBezTo>
                  <a:pt x="410" y="867"/>
                  <a:pt x="413" y="864"/>
                  <a:pt x="417" y="864"/>
                </a:cubicBezTo>
                <a:cubicBezTo>
                  <a:pt x="607" y="864"/>
                  <a:pt x="607" y="864"/>
                  <a:pt x="607" y="864"/>
                </a:cubicBezTo>
                <a:cubicBezTo>
                  <a:pt x="619" y="864"/>
                  <a:pt x="629" y="854"/>
                  <a:pt x="629" y="842"/>
                </a:cubicBezTo>
                <a:cubicBezTo>
                  <a:pt x="629" y="831"/>
                  <a:pt x="619" y="821"/>
                  <a:pt x="607" y="821"/>
                </a:cubicBezTo>
                <a:cubicBezTo>
                  <a:pt x="377" y="821"/>
                  <a:pt x="377" y="821"/>
                  <a:pt x="377" y="821"/>
                </a:cubicBezTo>
                <a:cubicBezTo>
                  <a:pt x="373" y="821"/>
                  <a:pt x="370" y="818"/>
                  <a:pt x="370" y="814"/>
                </a:cubicBezTo>
                <a:cubicBezTo>
                  <a:pt x="370" y="810"/>
                  <a:pt x="373" y="806"/>
                  <a:pt x="377" y="806"/>
                </a:cubicBezTo>
                <a:cubicBezTo>
                  <a:pt x="529" y="806"/>
                  <a:pt x="529" y="806"/>
                  <a:pt x="529" y="806"/>
                </a:cubicBezTo>
                <a:cubicBezTo>
                  <a:pt x="541" y="806"/>
                  <a:pt x="551" y="797"/>
                  <a:pt x="551" y="785"/>
                </a:cubicBezTo>
                <a:cubicBezTo>
                  <a:pt x="551" y="773"/>
                  <a:pt x="541" y="763"/>
                  <a:pt x="529" y="763"/>
                </a:cubicBezTo>
                <a:cubicBezTo>
                  <a:pt x="337" y="763"/>
                  <a:pt x="337" y="763"/>
                  <a:pt x="337" y="763"/>
                </a:cubicBezTo>
                <a:cubicBezTo>
                  <a:pt x="333" y="763"/>
                  <a:pt x="330" y="760"/>
                  <a:pt x="330" y="756"/>
                </a:cubicBezTo>
                <a:cubicBezTo>
                  <a:pt x="330" y="752"/>
                  <a:pt x="333" y="748"/>
                  <a:pt x="337" y="748"/>
                </a:cubicBezTo>
                <a:cubicBezTo>
                  <a:pt x="353" y="748"/>
                  <a:pt x="353" y="748"/>
                  <a:pt x="353" y="748"/>
                </a:cubicBezTo>
                <a:cubicBezTo>
                  <a:pt x="365" y="748"/>
                  <a:pt x="375" y="739"/>
                  <a:pt x="375" y="727"/>
                </a:cubicBezTo>
                <a:cubicBezTo>
                  <a:pt x="375" y="715"/>
                  <a:pt x="365" y="705"/>
                  <a:pt x="353" y="705"/>
                </a:cubicBezTo>
                <a:cubicBezTo>
                  <a:pt x="273" y="705"/>
                  <a:pt x="273" y="705"/>
                  <a:pt x="273" y="705"/>
                </a:cubicBezTo>
                <a:cubicBezTo>
                  <a:pt x="269" y="705"/>
                  <a:pt x="266" y="702"/>
                  <a:pt x="266" y="698"/>
                </a:cubicBezTo>
                <a:cubicBezTo>
                  <a:pt x="266" y="694"/>
                  <a:pt x="269" y="691"/>
                  <a:pt x="273" y="691"/>
                </a:cubicBezTo>
                <a:cubicBezTo>
                  <a:pt x="276" y="691"/>
                  <a:pt x="276" y="691"/>
                  <a:pt x="276" y="691"/>
                </a:cubicBezTo>
                <a:cubicBezTo>
                  <a:pt x="288" y="691"/>
                  <a:pt x="297" y="681"/>
                  <a:pt x="297" y="669"/>
                </a:cubicBezTo>
                <a:cubicBezTo>
                  <a:pt x="297" y="657"/>
                  <a:pt x="288" y="647"/>
                  <a:pt x="276" y="647"/>
                </a:cubicBezTo>
                <a:cubicBezTo>
                  <a:pt x="236" y="647"/>
                  <a:pt x="236" y="647"/>
                  <a:pt x="236" y="647"/>
                </a:cubicBezTo>
                <a:cubicBezTo>
                  <a:pt x="232" y="647"/>
                  <a:pt x="229" y="644"/>
                  <a:pt x="229" y="640"/>
                </a:cubicBezTo>
                <a:cubicBezTo>
                  <a:pt x="229" y="636"/>
                  <a:pt x="232" y="633"/>
                  <a:pt x="236" y="633"/>
                </a:cubicBezTo>
                <a:cubicBezTo>
                  <a:pt x="266" y="633"/>
                  <a:pt x="266" y="633"/>
                  <a:pt x="266" y="633"/>
                </a:cubicBezTo>
                <a:cubicBezTo>
                  <a:pt x="278" y="633"/>
                  <a:pt x="288" y="623"/>
                  <a:pt x="288" y="611"/>
                </a:cubicBezTo>
                <a:cubicBezTo>
                  <a:pt x="288" y="599"/>
                  <a:pt x="278" y="590"/>
                  <a:pt x="266" y="590"/>
                </a:cubicBezTo>
                <a:cubicBezTo>
                  <a:pt x="190" y="590"/>
                  <a:pt x="190" y="590"/>
                  <a:pt x="190" y="590"/>
                </a:cubicBezTo>
                <a:cubicBezTo>
                  <a:pt x="186" y="590"/>
                  <a:pt x="182" y="586"/>
                  <a:pt x="182" y="582"/>
                </a:cubicBezTo>
                <a:cubicBezTo>
                  <a:pt x="182" y="578"/>
                  <a:pt x="186" y="575"/>
                  <a:pt x="190" y="575"/>
                </a:cubicBezTo>
                <a:cubicBezTo>
                  <a:pt x="381" y="575"/>
                  <a:pt x="381" y="575"/>
                  <a:pt x="381" y="575"/>
                </a:cubicBezTo>
                <a:cubicBezTo>
                  <a:pt x="393" y="575"/>
                  <a:pt x="402" y="565"/>
                  <a:pt x="402" y="553"/>
                </a:cubicBezTo>
                <a:cubicBezTo>
                  <a:pt x="402" y="541"/>
                  <a:pt x="393" y="532"/>
                  <a:pt x="381" y="532"/>
                </a:cubicBezTo>
                <a:cubicBezTo>
                  <a:pt x="162" y="532"/>
                  <a:pt x="162" y="532"/>
                  <a:pt x="162" y="532"/>
                </a:cubicBezTo>
                <a:cubicBezTo>
                  <a:pt x="158" y="532"/>
                  <a:pt x="154" y="529"/>
                  <a:pt x="154" y="524"/>
                </a:cubicBezTo>
                <a:cubicBezTo>
                  <a:pt x="154" y="520"/>
                  <a:pt x="158" y="517"/>
                  <a:pt x="162" y="517"/>
                </a:cubicBezTo>
                <a:cubicBezTo>
                  <a:pt x="433" y="517"/>
                  <a:pt x="433" y="517"/>
                  <a:pt x="433" y="517"/>
                </a:cubicBezTo>
                <a:cubicBezTo>
                  <a:pt x="445" y="517"/>
                  <a:pt x="454" y="507"/>
                  <a:pt x="454" y="496"/>
                </a:cubicBezTo>
                <a:cubicBezTo>
                  <a:pt x="454" y="484"/>
                  <a:pt x="445" y="474"/>
                  <a:pt x="433" y="474"/>
                </a:cubicBezTo>
                <a:cubicBezTo>
                  <a:pt x="180" y="474"/>
                  <a:pt x="180" y="474"/>
                  <a:pt x="180" y="474"/>
                </a:cubicBezTo>
                <a:cubicBezTo>
                  <a:pt x="176" y="474"/>
                  <a:pt x="173" y="471"/>
                  <a:pt x="173" y="467"/>
                </a:cubicBezTo>
                <a:cubicBezTo>
                  <a:pt x="173" y="463"/>
                  <a:pt x="176" y="459"/>
                  <a:pt x="180" y="459"/>
                </a:cubicBezTo>
                <a:cubicBezTo>
                  <a:pt x="518" y="459"/>
                  <a:pt x="518" y="459"/>
                  <a:pt x="518" y="459"/>
                </a:cubicBezTo>
                <a:cubicBezTo>
                  <a:pt x="530" y="459"/>
                  <a:pt x="540" y="450"/>
                  <a:pt x="540" y="438"/>
                </a:cubicBezTo>
                <a:cubicBezTo>
                  <a:pt x="540" y="426"/>
                  <a:pt x="530" y="416"/>
                  <a:pt x="518" y="416"/>
                </a:cubicBezTo>
                <a:cubicBezTo>
                  <a:pt x="164" y="416"/>
                  <a:pt x="164" y="416"/>
                  <a:pt x="164" y="416"/>
                </a:cubicBezTo>
                <a:cubicBezTo>
                  <a:pt x="160" y="416"/>
                  <a:pt x="156" y="413"/>
                  <a:pt x="156" y="409"/>
                </a:cubicBezTo>
                <a:cubicBezTo>
                  <a:pt x="156" y="405"/>
                  <a:pt x="160" y="402"/>
                  <a:pt x="164" y="402"/>
                </a:cubicBezTo>
                <a:cubicBezTo>
                  <a:pt x="522" y="402"/>
                  <a:pt x="522" y="402"/>
                  <a:pt x="522" y="402"/>
                </a:cubicBezTo>
                <a:cubicBezTo>
                  <a:pt x="534" y="402"/>
                  <a:pt x="544" y="392"/>
                  <a:pt x="544" y="380"/>
                </a:cubicBezTo>
                <a:cubicBezTo>
                  <a:pt x="544" y="378"/>
                  <a:pt x="543" y="375"/>
                  <a:pt x="543" y="373"/>
                </a:cubicBezTo>
                <a:cubicBezTo>
                  <a:pt x="625" y="373"/>
                  <a:pt x="625" y="373"/>
                  <a:pt x="625" y="373"/>
                </a:cubicBezTo>
                <a:cubicBezTo>
                  <a:pt x="636" y="373"/>
                  <a:pt x="646" y="363"/>
                  <a:pt x="646" y="351"/>
                </a:cubicBezTo>
                <a:cubicBezTo>
                  <a:pt x="646" y="339"/>
                  <a:pt x="636" y="330"/>
                  <a:pt x="625" y="330"/>
                </a:cubicBezTo>
                <a:cubicBezTo>
                  <a:pt x="601" y="330"/>
                  <a:pt x="601" y="330"/>
                  <a:pt x="601" y="330"/>
                </a:cubicBezTo>
                <a:cubicBezTo>
                  <a:pt x="597" y="330"/>
                  <a:pt x="594" y="326"/>
                  <a:pt x="594" y="322"/>
                </a:cubicBezTo>
                <a:cubicBezTo>
                  <a:pt x="594" y="318"/>
                  <a:pt x="597" y="315"/>
                  <a:pt x="601" y="315"/>
                </a:cubicBezTo>
                <a:cubicBezTo>
                  <a:pt x="721" y="315"/>
                  <a:pt x="721" y="315"/>
                  <a:pt x="721" y="315"/>
                </a:cubicBezTo>
                <a:cubicBezTo>
                  <a:pt x="733" y="315"/>
                  <a:pt x="743" y="305"/>
                  <a:pt x="743" y="294"/>
                </a:cubicBezTo>
                <a:cubicBezTo>
                  <a:pt x="743" y="282"/>
                  <a:pt x="733" y="272"/>
                  <a:pt x="721" y="272"/>
                </a:cubicBezTo>
                <a:cubicBezTo>
                  <a:pt x="600" y="272"/>
                  <a:pt x="600" y="272"/>
                  <a:pt x="600" y="272"/>
                </a:cubicBezTo>
                <a:cubicBezTo>
                  <a:pt x="596" y="272"/>
                  <a:pt x="593" y="269"/>
                  <a:pt x="593" y="265"/>
                </a:cubicBezTo>
                <a:cubicBezTo>
                  <a:pt x="593" y="261"/>
                  <a:pt x="596" y="257"/>
                  <a:pt x="600" y="257"/>
                </a:cubicBezTo>
                <a:cubicBezTo>
                  <a:pt x="734" y="257"/>
                  <a:pt x="734" y="257"/>
                  <a:pt x="734" y="257"/>
                </a:cubicBezTo>
                <a:cubicBezTo>
                  <a:pt x="746" y="257"/>
                  <a:pt x="756" y="248"/>
                  <a:pt x="756" y="236"/>
                </a:cubicBezTo>
                <a:cubicBezTo>
                  <a:pt x="756" y="224"/>
                  <a:pt x="746" y="214"/>
                  <a:pt x="734" y="214"/>
                </a:cubicBezTo>
                <a:cubicBezTo>
                  <a:pt x="581" y="214"/>
                  <a:pt x="581" y="214"/>
                  <a:pt x="581" y="214"/>
                </a:cubicBezTo>
                <a:cubicBezTo>
                  <a:pt x="577" y="214"/>
                  <a:pt x="573" y="211"/>
                  <a:pt x="573" y="207"/>
                </a:cubicBezTo>
                <a:cubicBezTo>
                  <a:pt x="573" y="203"/>
                  <a:pt x="577" y="200"/>
                  <a:pt x="581" y="200"/>
                </a:cubicBezTo>
                <a:cubicBezTo>
                  <a:pt x="749" y="200"/>
                  <a:pt x="749" y="200"/>
                  <a:pt x="749" y="200"/>
                </a:cubicBezTo>
                <a:cubicBezTo>
                  <a:pt x="760" y="200"/>
                  <a:pt x="770" y="190"/>
                  <a:pt x="770" y="178"/>
                </a:cubicBezTo>
                <a:cubicBezTo>
                  <a:pt x="770" y="166"/>
                  <a:pt x="760" y="156"/>
                  <a:pt x="749" y="156"/>
                </a:cubicBezTo>
                <a:cubicBezTo>
                  <a:pt x="561" y="156"/>
                  <a:pt x="561" y="156"/>
                  <a:pt x="561" y="156"/>
                </a:cubicBezTo>
                <a:cubicBezTo>
                  <a:pt x="557" y="156"/>
                  <a:pt x="554" y="153"/>
                  <a:pt x="554" y="149"/>
                </a:cubicBezTo>
                <a:cubicBezTo>
                  <a:pt x="554" y="145"/>
                  <a:pt x="557" y="142"/>
                  <a:pt x="561" y="142"/>
                </a:cubicBezTo>
                <a:cubicBezTo>
                  <a:pt x="754" y="142"/>
                  <a:pt x="754" y="142"/>
                  <a:pt x="754" y="142"/>
                </a:cubicBezTo>
                <a:cubicBezTo>
                  <a:pt x="766" y="142"/>
                  <a:pt x="776" y="132"/>
                  <a:pt x="776" y="120"/>
                </a:cubicBezTo>
                <a:cubicBezTo>
                  <a:pt x="776" y="108"/>
                  <a:pt x="766" y="99"/>
                  <a:pt x="754" y="99"/>
                </a:cubicBezTo>
                <a:cubicBezTo>
                  <a:pt x="622" y="99"/>
                  <a:pt x="622" y="99"/>
                  <a:pt x="622" y="99"/>
                </a:cubicBezTo>
                <a:cubicBezTo>
                  <a:pt x="618" y="99"/>
                  <a:pt x="614" y="95"/>
                  <a:pt x="614" y="91"/>
                </a:cubicBezTo>
                <a:cubicBezTo>
                  <a:pt x="614" y="87"/>
                  <a:pt x="618" y="84"/>
                  <a:pt x="622" y="84"/>
                </a:cubicBezTo>
                <a:cubicBezTo>
                  <a:pt x="1237" y="84"/>
                  <a:pt x="1237" y="84"/>
                  <a:pt x="1237" y="84"/>
                </a:cubicBezTo>
                <a:cubicBezTo>
                  <a:pt x="1241" y="84"/>
                  <a:pt x="1244" y="87"/>
                  <a:pt x="1244" y="91"/>
                </a:cubicBezTo>
                <a:cubicBezTo>
                  <a:pt x="1244" y="95"/>
                  <a:pt x="1241" y="99"/>
                  <a:pt x="1237" y="99"/>
                </a:cubicBezTo>
                <a:cubicBezTo>
                  <a:pt x="1225" y="99"/>
                  <a:pt x="1225" y="99"/>
                  <a:pt x="1225" y="99"/>
                </a:cubicBezTo>
                <a:cubicBezTo>
                  <a:pt x="1213" y="99"/>
                  <a:pt x="1203" y="108"/>
                  <a:pt x="1203" y="120"/>
                </a:cubicBezTo>
                <a:cubicBezTo>
                  <a:pt x="1203" y="132"/>
                  <a:pt x="1213" y="142"/>
                  <a:pt x="1225" y="142"/>
                </a:cubicBezTo>
                <a:cubicBezTo>
                  <a:pt x="1693" y="142"/>
                  <a:pt x="1693" y="142"/>
                  <a:pt x="1693" y="142"/>
                </a:cubicBezTo>
                <a:cubicBezTo>
                  <a:pt x="1697" y="142"/>
                  <a:pt x="1701" y="145"/>
                  <a:pt x="1701" y="149"/>
                </a:cubicBezTo>
                <a:cubicBezTo>
                  <a:pt x="1701" y="153"/>
                  <a:pt x="1697" y="156"/>
                  <a:pt x="1693" y="156"/>
                </a:cubicBezTo>
                <a:cubicBezTo>
                  <a:pt x="1075" y="156"/>
                  <a:pt x="1075" y="156"/>
                  <a:pt x="1075" y="156"/>
                </a:cubicBezTo>
                <a:cubicBezTo>
                  <a:pt x="1063" y="156"/>
                  <a:pt x="1054" y="166"/>
                  <a:pt x="1054" y="178"/>
                </a:cubicBezTo>
                <a:cubicBezTo>
                  <a:pt x="1054" y="190"/>
                  <a:pt x="1063" y="200"/>
                  <a:pt x="1075" y="200"/>
                </a:cubicBezTo>
                <a:cubicBezTo>
                  <a:pt x="1686" y="200"/>
                  <a:pt x="1686" y="200"/>
                  <a:pt x="1686" y="200"/>
                </a:cubicBezTo>
                <a:cubicBezTo>
                  <a:pt x="1690" y="200"/>
                  <a:pt x="1693" y="203"/>
                  <a:pt x="1693" y="207"/>
                </a:cubicBezTo>
                <a:cubicBezTo>
                  <a:pt x="1693" y="211"/>
                  <a:pt x="1690" y="214"/>
                  <a:pt x="1686" y="214"/>
                </a:cubicBezTo>
                <a:cubicBezTo>
                  <a:pt x="1145" y="214"/>
                  <a:pt x="1145" y="214"/>
                  <a:pt x="1145" y="214"/>
                </a:cubicBezTo>
                <a:cubicBezTo>
                  <a:pt x="1133" y="214"/>
                  <a:pt x="1123" y="224"/>
                  <a:pt x="1123" y="236"/>
                </a:cubicBezTo>
                <a:cubicBezTo>
                  <a:pt x="1123" y="248"/>
                  <a:pt x="1133" y="257"/>
                  <a:pt x="1145" y="257"/>
                </a:cubicBezTo>
                <a:cubicBezTo>
                  <a:pt x="1683" y="257"/>
                  <a:pt x="1683" y="257"/>
                  <a:pt x="1683" y="257"/>
                </a:cubicBezTo>
                <a:cubicBezTo>
                  <a:pt x="1687" y="257"/>
                  <a:pt x="1691" y="261"/>
                  <a:pt x="1691" y="265"/>
                </a:cubicBezTo>
                <a:cubicBezTo>
                  <a:pt x="1691" y="269"/>
                  <a:pt x="1687" y="272"/>
                  <a:pt x="1683" y="272"/>
                </a:cubicBezTo>
                <a:cubicBezTo>
                  <a:pt x="940" y="272"/>
                  <a:pt x="940" y="272"/>
                  <a:pt x="940" y="272"/>
                </a:cubicBezTo>
                <a:cubicBezTo>
                  <a:pt x="929" y="272"/>
                  <a:pt x="919" y="282"/>
                  <a:pt x="919" y="294"/>
                </a:cubicBezTo>
                <a:cubicBezTo>
                  <a:pt x="919" y="305"/>
                  <a:pt x="929" y="315"/>
                  <a:pt x="940" y="315"/>
                </a:cubicBezTo>
                <a:cubicBezTo>
                  <a:pt x="1553" y="315"/>
                  <a:pt x="1553" y="315"/>
                  <a:pt x="1553" y="315"/>
                </a:cubicBezTo>
                <a:cubicBezTo>
                  <a:pt x="1557" y="315"/>
                  <a:pt x="1561" y="318"/>
                  <a:pt x="1561" y="322"/>
                </a:cubicBezTo>
                <a:cubicBezTo>
                  <a:pt x="1561" y="326"/>
                  <a:pt x="1557" y="330"/>
                  <a:pt x="1553" y="330"/>
                </a:cubicBezTo>
                <a:cubicBezTo>
                  <a:pt x="888" y="330"/>
                  <a:pt x="888" y="330"/>
                  <a:pt x="888" y="330"/>
                </a:cubicBezTo>
                <a:cubicBezTo>
                  <a:pt x="876" y="330"/>
                  <a:pt x="867" y="339"/>
                  <a:pt x="867" y="351"/>
                </a:cubicBezTo>
                <a:cubicBezTo>
                  <a:pt x="867" y="354"/>
                  <a:pt x="867" y="356"/>
                  <a:pt x="868" y="358"/>
                </a:cubicBezTo>
                <a:close/>
              </a:path>
            </a:pathLst>
          </a:custGeom>
          <a:solidFill>
            <a:srgbClr val="FFFFFF"/>
          </a:solidFill>
          <a:ln>
            <a:noFill/>
          </a:ln>
        </p:spPr>
        <p:txBody>
          <a:bodyPr vert="horz" wrap="square" lIns="67893" tIns="33945" rIns="67893" bIns="33945" numCol="1" anchor="t" anchorCtr="0" compatLnSpc="1">
            <a:prstTxWarp prst="textNoShape">
              <a:avLst/>
            </a:prstTxWarp>
          </a:bodyPr>
          <a:lstStyle/>
          <a:p>
            <a:endParaRPr lang="en-US" sz="1114"/>
          </a:p>
        </p:txBody>
      </p:sp>
    </p:spTree>
    <p:extLst>
      <p:ext uri="{BB962C8B-B14F-4D97-AF65-F5344CB8AC3E}">
        <p14:creationId xmlns:p14="http://schemas.microsoft.com/office/powerpoint/2010/main" val="863801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0059"/>
            <a:ext cx="11623331" cy="366236"/>
          </a:xfrm>
          <a:prstGeom prst="rect">
            <a:avLst/>
          </a:prstGeom>
          <a:noFill/>
          <a:ln w="12700">
            <a:noFill/>
            <a:miter lim="800000"/>
            <a:headEnd type="none" w="sm" len="sm"/>
            <a:tailEnd type="none" w="sm" len="sm"/>
          </a:ln>
          <a:effectLst/>
        </p:spPr>
        <p:txBody>
          <a:bodyPr vert="horz" wrap="square" lIns="166102" tIns="132881" rIns="166102" bIns="132881" numCol="1" anchor="t" anchorCtr="0" compatLnSpc="1">
            <a:prstTxWarp prst="textNoShape">
              <a:avLst/>
            </a:prstTxWarp>
            <a:spAutoFit/>
          </a:bodyPr>
          <a:lstStyle/>
          <a:p>
            <a:pPr defTabSz="846838" eaLnBrk="0" hangingPunct="0"/>
            <a:r>
              <a:rPr lang="en-US" sz="636">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1" cy="690694"/>
          </a:xfrm>
          <a:prstGeom prst="rect">
            <a:avLst/>
          </a:prstGeom>
        </p:spPr>
      </p:pic>
    </p:spTree>
    <p:extLst>
      <p:ext uri="{BB962C8B-B14F-4D97-AF65-F5344CB8AC3E}">
        <p14:creationId xmlns:p14="http://schemas.microsoft.com/office/powerpoint/2010/main" val="23290954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9" name="Title 1"/>
          <p:cNvSpPr>
            <a:spLocks noGrp="1"/>
          </p:cNvSpPr>
          <p:nvPr>
            <p:ph type="title"/>
          </p:nvPr>
        </p:nvSpPr>
        <p:spPr>
          <a:xfrm>
            <a:off x="217716" y="201706"/>
            <a:ext cx="7402286" cy="484094"/>
          </a:xfrm>
        </p:spPr>
        <p:txBody>
          <a:bodyPr lIns="45720" rIns="0" anchor="b"/>
          <a:lstStyle>
            <a:lvl1pPr>
              <a:defRPr sz="2118">
                <a:solidFill>
                  <a:schemeClr val="bg2">
                    <a:lumMod val="10000"/>
                  </a:schemeClr>
                </a:solidFill>
              </a:defRPr>
            </a:lvl1pPr>
          </a:lstStyle>
          <a:p>
            <a:r>
              <a:rPr lang="en-US"/>
              <a:t>Click to edit Master title style</a:t>
            </a:r>
          </a:p>
        </p:txBody>
      </p:sp>
    </p:spTree>
    <p:extLst>
      <p:ext uri="{BB962C8B-B14F-4D97-AF65-F5344CB8AC3E}">
        <p14:creationId xmlns:p14="http://schemas.microsoft.com/office/powerpoint/2010/main" val="313324540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9" name="Title 1"/>
          <p:cNvSpPr>
            <a:spLocks noGrp="1"/>
          </p:cNvSpPr>
          <p:nvPr>
            <p:ph type="title"/>
          </p:nvPr>
        </p:nvSpPr>
        <p:spPr>
          <a:xfrm>
            <a:off x="217716" y="201706"/>
            <a:ext cx="11756571" cy="484094"/>
          </a:xfrm>
        </p:spPr>
        <p:txBody>
          <a:bodyPr lIns="45720" rIns="0" anchor="b"/>
          <a:lstStyle>
            <a:lvl1pPr>
              <a:defRPr sz="2118">
                <a:solidFill>
                  <a:schemeClr val="bg2">
                    <a:lumMod val="10000"/>
                  </a:schemeClr>
                </a:solidFill>
              </a:defRPr>
            </a:lvl1pPr>
          </a:lstStyle>
          <a:p>
            <a:r>
              <a:rPr lang="en-US"/>
              <a:t>Click to edit Master title style</a:t>
            </a:r>
          </a:p>
        </p:txBody>
      </p:sp>
      <p:sp>
        <p:nvSpPr>
          <p:cNvPr id="3" name="Text Placeholder 6">
            <a:extLst>
              <a:ext uri="{FF2B5EF4-FFF2-40B4-BE49-F238E27FC236}">
                <a16:creationId xmlns:a16="http://schemas.microsoft.com/office/drawing/2014/main" id="{41A1C0EE-CED8-4A81-9645-CFABD45B9E55}"/>
              </a:ext>
            </a:extLst>
          </p:cNvPr>
          <p:cNvSpPr>
            <a:spLocks noGrp="1"/>
          </p:cNvSpPr>
          <p:nvPr>
            <p:ph type="body" sz="quarter" idx="12" hasCustomPrompt="1"/>
          </p:nvPr>
        </p:nvSpPr>
        <p:spPr>
          <a:xfrm>
            <a:off x="6865070" y="-3"/>
            <a:ext cx="5326931" cy="484094"/>
          </a:xfrm>
        </p:spPr>
        <p:txBody>
          <a:bodyPr vert="horz" wrap="square" lIns="127337" tIns="79586" rIns="127337" bIns="79586" rtlCol="0" anchor="t">
            <a:noAutofit/>
          </a:bodyPr>
          <a:lstStyle>
            <a:lvl1pPr marL="0" indent="0" algn="r" defTabSz="648691">
              <a:buFontTx/>
              <a:buNone/>
              <a:defRPr lang="en-US" sz="1144" b="0" cap="none" baseline="0" dirty="0">
                <a:ln w="3175">
                  <a:noFill/>
                </a:ln>
                <a:solidFill>
                  <a:schemeClr val="tx1"/>
                </a:solidFill>
                <a:effectLst/>
                <a:latin typeface="+mn-lt"/>
                <a:cs typeface="Segoe UI" pitchFamily="34" charset="0"/>
              </a:defRPr>
            </a:lvl1pPr>
          </a:lstStyle>
          <a:p>
            <a:pPr algn="r" defTabSz="735144"/>
            <a:r>
              <a:rPr lang="en-GB" sz="981">
                <a:latin typeface="Segoe UI Light"/>
              </a:rPr>
              <a:t>Presenter: Insert Name / OneNote page:  / Slide 1 of X</a:t>
            </a:r>
            <a:endParaRPr lang="en-US" sz="981">
              <a:latin typeface="Segoe UI Light"/>
            </a:endParaRPr>
          </a:p>
        </p:txBody>
      </p:sp>
    </p:spTree>
    <p:extLst>
      <p:ext uri="{BB962C8B-B14F-4D97-AF65-F5344CB8AC3E}">
        <p14:creationId xmlns:p14="http://schemas.microsoft.com/office/powerpoint/2010/main" val="382103940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69" y="0"/>
            <a:ext cx="5326931" cy="484094"/>
          </a:xfrm>
        </p:spPr>
        <p:txBody>
          <a:bodyPr vert="horz" wrap="square" lIns="127337" tIns="79586" rIns="127337" bIns="79586" rtlCol="0" anchor="t">
            <a:noAutofit/>
          </a:bodyPr>
          <a:lstStyle>
            <a:lvl1pPr marL="0" indent="0" algn="r" defTabSz="648691">
              <a:buFontTx/>
              <a:buNone/>
              <a:defRPr lang="en-US" sz="1235" b="0" cap="none" baseline="0" dirty="0">
                <a:ln w="3175">
                  <a:noFill/>
                </a:ln>
                <a:solidFill>
                  <a:schemeClr val="tx1"/>
                </a:solidFill>
                <a:effectLst/>
                <a:latin typeface="+mn-lt"/>
                <a:cs typeface="Segoe UI" pitchFamily="34" charset="0"/>
              </a:defRPr>
            </a:lvl1pPr>
          </a:lstStyle>
          <a:p>
            <a:pPr algn="r" defTabSz="735144"/>
            <a:r>
              <a:rPr lang="en-GB" sz="1059">
                <a:latin typeface="Segoe UI Light"/>
              </a:rPr>
              <a:t>Presenter: Insert Name / OneNote page:  / Slide 1 of X</a:t>
            </a:r>
            <a:endParaRPr lang="en-US" sz="1059">
              <a:latin typeface="Segoe UI Light"/>
            </a:endParaRPr>
          </a:p>
        </p:txBody>
      </p:sp>
      <p:sp>
        <p:nvSpPr>
          <p:cNvPr id="9" name="Title 1"/>
          <p:cNvSpPr>
            <a:spLocks noGrp="1"/>
          </p:cNvSpPr>
          <p:nvPr>
            <p:ph type="title"/>
          </p:nvPr>
        </p:nvSpPr>
        <p:spPr>
          <a:xfrm>
            <a:off x="217715" y="201706"/>
            <a:ext cx="7402286"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139493728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DEFAULT_Title_Bulleted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74D392-A269-4E57-89D6-0403897A583F}"/>
              </a:ext>
            </a:extLst>
          </p:cNvPr>
          <p:cNvSpPr>
            <a:spLocks noGrp="1"/>
          </p:cNvSpPr>
          <p:nvPr>
            <p:ph sz="quarter" idx="19"/>
          </p:nvPr>
        </p:nvSpPr>
        <p:spPr>
          <a:xfrm>
            <a:off x="217715" y="821943"/>
            <a:ext cx="11753548" cy="501804"/>
          </a:xfrm>
        </p:spPr>
        <p:txBody>
          <a:bodyPr/>
          <a:lstStyle/>
          <a:p>
            <a:pPr lvl="0"/>
            <a:r>
              <a:rPr lang="en-US"/>
              <a:t>Edit Master text styles</a:t>
            </a:r>
          </a:p>
        </p:txBody>
      </p:sp>
      <p:sp>
        <p:nvSpPr>
          <p:cNvPr id="6" name="Title 2" descr="txt_content_slide_title">
            <a:extLst>
              <a:ext uri="{FF2B5EF4-FFF2-40B4-BE49-F238E27FC236}">
                <a16:creationId xmlns:a16="http://schemas.microsoft.com/office/drawing/2014/main" id="{AA5BFB2B-13E8-460D-94FD-9DABF9D69740}"/>
              </a:ext>
            </a:extLst>
          </p:cNvPr>
          <p:cNvSpPr>
            <a:spLocks noGrp="1"/>
          </p:cNvSpPr>
          <p:nvPr>
            <p:ph type="title" hasCustomPrompt="1"/>
          </p:nvPr>
        </p:nvSpPr>
        <p:spPr>
          <a:xfrm>
            <a:off x="217717" y="201712"/>
            <a:ext cx="8360231" cy="484095"/>
          </a:xfrm>
        </p:spPr>
        <p:txBody>
          <a:bodyPr/>
          <a:lstStyle>
            <a:lvl1pPr algn="l" defTabSz="214198" rtl="0" eaLnBrk="1" latinLnBrk="0" hangingPunct="1">
              <a:lnSpc>
                <a:spcPct val="90000"/>
              </a:lnSpc>
              <a:spcBef>
                <a:spcPct val="0"/>
              </a:spcBef>
              <a:buNone/>
              <a:defRPr lang="en-US" sz="2118" b="1" kern="1200" cap="none" spc="-25" baseline="0">
                <a:ln w="3175">
                  <a:noFill/>
                </a:ln>
                <a:solidFill>
                  <a:schemeClr val="bg2">
                    <a:lumMod val="10000"/>
                  </a:schemeClr>
                </a:solidFill>
                <a:effectLst/>
                <a:latin typeface="+mj-lt"/>
                <a:ea typeface="+mn-ea"/>
                <a:cs typeface="Segoe UI Light" panose="020B0502040204020203" pitchFamily="34" charset="0"/>
              </a:defRPr>
            </a:lvl1pPr>
          </a:lstStyle>
          <a:p>
            <a:r>
              <a:rPr lang="en-US">
                <a:solidFill>
                  <a:srgbClr val="505050"/>
                </a:solidFill>
                <a:latin typeface="Segoe UI Semibold" panose="020B0702040204020203" pitchFamily="34" charset="0"/>
                <a:cs typeface="Segoe UI Semibold" panose="020B0702040204020203" pitchFamily="34" charset="0"/>
              </a:rPr>
              <a:t>&lt;Topic&gt;</a:t>
            </a:r>
            <a:endParaRPr lang="en-US"/>
          </a:p>
        </p:txBody>
      </p:sp>
      <p:sp>
        <p:nvSpPr>
          <p:cNvPr id="8" name="Text Placeholder 4">
            <a:extLst>
              <a:ext uri="{FF2B5EF4-FFF2-40B4-BE49-F238E27FC236}">
                <a16:creationId xmlns:a16="http://schemas.microsoft.com/office/drawing/2014/main" id="{85F667C6-AE81-44F0-A487-A2463964D9C4}"/>
              </a:ext>
            </a:extLst>
          </p:cNvPr>
          <p:cNvSpPr>
            <a:spLocks noGrp="1"/>
          </p:cNvSpPr>
          <p:nvPr>
            <p:ph type="body" sz="quarter" idx="18" hasCustomPrompt="1"/>
          </p:nvPr>
        </p:nvSpPr>
        <p:spPr>
          <a:xfrm>
            <a:off x="9502017" y="6586596"/>
            <a:ext cx="2472267" cy="275075"/>
          </a:xfrm>
        </p:spPr>
        <p:txBody>
          <a:bodyPr/>
          <a:lstStyle>
            <a:lvl1pPr marL="0" indent="0">
              <a:buNone/>
              <a:defRPr sz="653" b="0">
                <a:latin typeface="+mj-lt"/>
                <a:ea typeface="Microsoft Himalaya" panose="01010100010101010101" pitchFamily="2" charset="0"/>
                <a:cs typeface="Microsoft Himalaya" panose="01010100010101010101" pitchFamily="2" charset="0"/>
              </a:defRPr>
            </a:lvl1pPr>
          </a:lstStyle>
          <a:p>
            <a:pPr lvl="0"/>
            <a:r>
              <a:rPr lang="en-US"/>
              <a:t>Slide Lock Date:</a:t>
            </a:r>
          </a:p>
        </p:txBody>
      </p:sp>
      <p:sp>
        <p:nvSpPr>
          <p:cNvPr id="9" name="Text Placeholder 6">
            <a:extLst>
              <a:ext uri="{FF2B5EF4-FFF2-40B4-BE49-F238E27FC236}">
                <a16:creationId xmlns:a16="http://schemas.microsoft.com/office/drawing/2014/main" id="{04A709E9-275C-48B6-AFDE-9BB462E4AE16}"/>
              </a:ext>
            </a:extLst>
          </p:cNvPr>
          <p:cNvSpPr>
            <a:spLocks noGrp="1"/>
          </p:cNvSpPr>
          <p:nvPr>
            <p:ph type="body" sz="quarter" idx="12" hasCustomPrompt="1"/>
          </p:nvPr>
        </p:nvSpPr>
        <p:spPr>
          <a:xfrm>
            <a:off x="8575187" y="201717"/>
            <a:ext cx="3396343" cy="484094"/>
          </a:xfrm>
        </p:spPr>
        <p:txBody>
          <a:bodyPr vert="horz" wrap="square" lIns="127337" tIns="79586" rIns="127337" bIns="79586" rtlCol="0" anchor="t">
            <a:noAutofit/>
          </a:bodyPr>
          <a:lstStyle>
            <a:lvl1pPr marL="0" indent="0" algn="r" defTabSz="648691">
              <a:buFontTx/>
              <a:buNone/>
              <a:defRPr lang="en-US" sz="982" b="0" cap="none" dirty="0">
                <a:ln w="3175">
                  <a:noFill/>
                </a:ln>
                <a:solidFill>
                  <a:schemeClr val="tx1"/>
                </a:solidFill>
                <a:effectLst/>
                <a:latin typeface="+mn-lt"/>
                <a:cs typeface="Segoe UI" pitchFamily="34" charset="0"/>
              </a:defRPr>
            </a:lvl1pPr>
          </a:lstStyle>
          <a:p>
            <a:pPr algn="r" defTabSz="735144"/>
            <a:r>
              <a:rPr lang="en-GB" sz="842">
                <a:latin typeface="Segoe UI Light"/>
              </a:rPr>
              <a:t>Presenter:  Insert Name </a:t>
            </a:r>
          </a:p>
          <a:p>
            <a:pPr algn="r" defTabSz="735144"/>
            <a:r>
              <a:rPr lang="en-GB" sz="842">
                <a:latin typeface="Segoe UI Light"/>
              </a:rPr>
              <a:t>OneNote page:  / Slide 1 of X</a:t>
            </a:r>
            <a:endParaRPr lang="en-US" sz="842">
              <a:latin typeface="Segoe UI Light"/>
            </a:endParaRPr>
          </a:p>
        </p:txBody>
      </p:sp>
    </p:spTree>
    <p:extLst>
      <p:ext uri="{BB962C8B-B14F-4D97-AF65-F5344CB8AC3E}">
        <p14:creationId xmlns:p14="http://schemas.microsoft.com/office/powerpoint/2010/main" val="65111157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84945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5D943C7-8694-4703-BE82-DD2513F83C2A}"/>
              </a:ext>
            </a:extLst>
          </p:cNvPr>
          <p:cNvSpPr>
            <a:spLocks noGrp="1"/>
          </p:cNvSpPr>
          <p:nvPr>
            <p:ph type="dt" sz="half" idx="10"/>
          </p:nvPr>
        </p:nvSpPr>
        <p:spPr/>
        <p:txBody>
          <a:bodyPr/>
          <a:lstStyle/>
          <a:p>
            <a:fld id="{A2B32D49-EEE2-44C2-A1DF-53567D7A36B8}" type="datetimeFigureOut">
              <a:rPr lang="en-US" smtClean="0"/>
              <a:t>6/26/2020</a:t>
            </a:fld>
            <a:endParaRPr lang="en-US"/>
          </a:p>
        </p:txBody>
      </p:sp>
      <p:sp>
        <p:nvSpPr>
          <p:cNvPr id="3" name="Footer Placeholder 2">
            <a:extLst>
              <a:ext uri="{FF2B5EF4-FFF2-40B4-BE49-F238E27FC236}">
                <a16:creationId xmlns:a16="http://schemas.microsoft.com/office/drawing/2014/main" id="{8ADDE8B7-9C53-4E94-A797-4BCBC6E9E75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13CECF-B327-425B-8CD7-E4DC60024FC0}"/>
              </a:ext>
            </a:extLst>
          </p:cNvPr>
          <p:cNvSpPr>
            <a:spLocks noGrp="1"/>
          </p:cNvSpPr>
          <p:nvPr>
            <p:ph type="sldNum" sz="quarter" idx="12"/>
          </p:nvPr>
        </p:nvSpPr>
        <p:spPr/>
        <p:txBody>
          <a:bodyPr/>
          <a:lstStyle/>
          <a:p>
            <a:fld id="{844ACFD3-9EBE-4441-898D-0C478F8066D7}" type="slidenum">
              <a:rPr lang="en-US" smtClean="0"/>
              <a:t>‹#›</a:t>
            </a:fld>
            <a:endParaRPr lang="en-US"/>
          </a:p>
        </p:txBody>
      </p:sp>
    </p:spTree>
    <p:extLst>
      <p:ext uri="{BB962C8B-B14F-4D97-AF65-F5344CB8AC3E}">
        <p14:creationId xmlns:p14="http://schemas.microsoft.com/office/powerpoint/2010/main" val="184236163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62AFA6C-9270-4565-AC24-4D31F2F2C6F8}"/>
              </a:ext>
            </a:extLst>
          </p:cNvPr>
          <p:cNvSpPr>
            <a:spLocks noGrp="1"/>
          </p:cNvSpPr>
          <p:nvPr>
            <p:ph type="dt" sz="half" idx="10"/>
          </p:nvPr>
        </p:nvSpPr>
        <p:spPr/>
        <p:txBody>
          <a:bodyPr/>
          <a:lstStyle/>
          <a:p>
            <a:fld id="{5EE04A31-6B83-43A9-BFE3-5B9F9EB03BA1}" type="datetimeFigureOut">
              <a:rPr lang="en-US" smtClean="0"/>
              <a:t>6/26/2020</a:t>
            </a:fld>
            <a:endParaRPr lang="en-US"/>
          </a:p>
        </p:txBody>
      </p:sp>
      <p:sp>
        <p:nvSpPr>
          <p:cNvPr id="3" name="Footer Placeholder 2">
            <a:extLst>
              <a:ext uri="{FF2B5EF4-FFF2-40B4-BE49-F238E27FC236}">
                <a16:creationId xmlns:a16="http://schemas.microsoft.com/office/drawing/2014/main" id="{3818D157-9385-46FB-B51B-4DEA7CC3F1A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D06D94-8D1E-4C76-B3BC-26A4AA9B507E}"/>
              </a:ext>
            </a:extLst>
          </p:cNvPr>
          <p:cNvSpPr>
            <a:spLocks noGrp="1"/>
          </p:cNvSpPr>
          <p:nvPr>
            <p:ph type="sldNum" sz="quarter" idx="12"/>
          </p:nvPr>
        </p:nvSpPr>
        <p:spPr/>
        <p:txBody>
          <a:bodyPr/>
          <a:lstStyle/>
          <a:p>
            <a:fld id="{B331D113-5D9E-412E-826A-3A56190E669A}" type="slidenum">
              <a:rPr lang="en-US" smtClean="0"/>
              <a:t>‹#›</a:t>
            </a:fld>
            <a:endParaRPr lang="en-US"/>
          </a:p>
        </p:txBody>
      </p:sp>
    </p:spTree>
    <p:extLst>
      <p:ext uri="{BB962C8B-B14F-4D97-AF65-F5344CB8AC3E}">
        <p14:creationId xmlns:p14="http://schemas.microsoft.com/office/powerpoint/2010/main" val="374673596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41030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6080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63041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5FC90-E3C2-42ED-9E8A-8F06C1D5B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D832CF-6D1D-4036-85FA-699D9848A0B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5D985C-544A-4FBD-A214-9000E669ADB8}"/>
              </a:ext>
            </a:extLst>
          </p:cNvPr>
          <p:cNvSpPr>
            <a:spLocks noGrp="1"/>
          </p:cNvSpPr>
          <p:nvPr>
            <p:ph type="dt" sz="half" idx="10"/>
          </p:nvPr>
        </p:nvSpPr>
        <p:spPr/>
        <p:txBody>
          <a:bodyPr/>
          <a:lstStyle/>
          <a:p>
            <a:fld id="{5EE04A31-6B83-43A9-BFE3-5B9F9EB03BA1}" type="datetimeFigureOut">
              <a:rPr lang="en-US" smtClean="0"/>
              <a:t>6/26/2020</a:t>
            </a:fld>
            <a:endParaRPr lang="en-US"/>
          </a:p>
        </p:txBody>
      </p:sp>
      <p:sp>
        <p:nvSpPr>
          <p:cNvPr id="5" name="Footer Placeholder 4">
            <a:extLst>
              <a:ext uri="{FF2B5EF4-FFF2-40B4-BE49-F238E27FC236}">
                <a16:creationId xmlns:a16="http://schemas.microsoft.com/office/drawing/2014/main" id="{69818223-A69D-4F70-B7C6-9626D7DDD9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56C3D4-1DF7-421A-BC7A-EBD7ED3EC167}"/>
              </a:ext>
            </a:extLst>
          </p:cNvPr>
          <p:cNvSpPr>
            <a:spLocks noGrp="1"/>
          </p:cNvSpPr>
          <p:nvPr>
            <p:ph type="sldNum" sz="quarter" idx="12"/>
          </p:nvPr>
        </p:nvSpPr>
        <p:spPr/>
        <p:txBody>
          <a:bodyPr/>
          <a:lstStyle/>
          <a:p>
            <a:fld id="{B331D113-5D9E-412E-826A-3A56190E669A}" type="slidenum">
              <a:rPr lang="en-US" smtClean="0"/>
              <a:t>‹#›</a:t>
            </a:fld>
            <a:endParaRPr lang="en-US"/>
          </a:p>
        </p:txBody>
      </p:sp>
    </p:spTree>
    <p:extLst>
      <p:ext uri="{BB962C8B-B14F-4D97-AF65-F5344CB8AC3E}">
        <p14:creationId xmlns:p14="http://schemas.microsoft.com/office/powerpoint/2010/main" val="271084966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59768"/>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8248308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prstGeom prst="rect">
            <a:avLst/>
          </a:prstGeom>
          <a:noFill/>
        </p:spPr>
        <p:txBody>
          <a:bodyPr lIns="146304" tIns="91440" rIns="146304" bIns="91440" anchor="t" anchorCtr="0"/>
          <a:lstStyle>
            <a:lvl1pPr>
              <a:defRPr sz="528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5"/>
            <a:ext cx="7171337" cy="1792326"/>
          </a:xfrm>
          <a:noFill/>
        </p:spPr>
        <p:txBody>
          <a:bodyPr lIns="164592" tIns="109728" rIns="164592" bIns="109728">
            <a:noAutofit/>
          </a:bodyPr>
          <a:lstStyle>
            <a:lvl1pPr marL="0" indent="0">
              <a:spcBef>
                <a:spcPts val="0"/>
              </a:spcBef>
              <a:buNone/>
              <a:defRPr sz="3131"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4" y="470068"/>
            <a:ext cx="1423303" cy="30482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81599" y="3846941"/>
            <a:ext cx="3133239" cy="3145783"/>
          </a:xfrm>
          <a:prstGeom prst="rect">
            <a:avLst/>
          </a:prstGeom>
        </p:spPr>
      </p:pic>
    </p:spTree>
    <p:extLst>
      <p:ext uri="{BB962C8B-B14F-4D97-AF65-F5344CB8AC3E}">
        <p14:creationId xmlns:p14="http://schemas.microsoft.com/office/powerpoint/2010/main" val="17607920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prstGeom prst="rect">
            <a:avLst/>
          </a:prstGeom>
          <a:noFill/>
        </p:spPr>
        <p:txBody>
          <a:bodyPr lIns="146304" tIns="91440" rIns="146304" bIns="91440" anchor="t" anchorCtr="0"/>
          <a:lstStyle>
            <a:lvl1pPr>
              <a:defRPr sz="528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5"/>
            <a:ext cx="7171337" cy="1792326"/>
          </a:xfrm>
          <a:noFill/>
        </p:spPr>
        <p:txBody>
          <a:bodyPr lIns="164592" tIns="109728" rIns="164592" bIns="109728">
            <a:noAutofit/>
          </a:bodyPr>
          <a:lstStyle>
            <a:lvl1pPr marL="0" indent="0">
              <a:spcBef>
                <a:spcPts val="0"/>
              </a:spcBef>
              <a:buNone/>
              <a:defRPr sz="3131"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4" y="470068"/>
            <a:ext cx="1423303" cy="30482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81599" y="3846941"/>
            <a:ext cx="3133239" cy="3145783"/>
          </a:xfrm>
          <a:prstGeom prst="rect">
            <a:avLst/>
          </a:prstGeom>
        </p:spPr>
      </p:pic>
    </p:spTree>
    <p:extLst>
      <p:ext uri="{BB962C8B-B14F-4D97-AF65-F5344CB8AC3E}">
        <p14:creationId xmlns:p14="http://schemas.microsoft.com/office/powerpoint/2010/main" val="6568723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48873446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2192169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7F58C-8BAF-4165-BF53-5F4ADF40E7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359D09A-8A21-498F-9628-158D9BC739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B03A7A1-82E2-4973-98D9-A85D700F5C67}"/>
              </a:ext>
            </a:extLst>
          </p:cNvPr>
          <p:cNvSpPr>
            <a:spLocks noGrp="1"/>
          </p:cNvSpPr>
          <p:nvPr>
            <p:ph type="dt" sz="half" idx="10"/>
          </p:nvPr>
        </p:nvSpPr>
        <p:spPr/>
        <p:txBody>
          <a:bodyPr/>
          <a:lstStyle/>
          <a:p>
            <a:fld id="{2E3B41E8-6625-4A42-8ABF-CB5E76B85CF7}" type="datetimeFigureOut">
              <a:rPr lang="en-US" smtClean="0"/>
              <a:t>6/26/2020</a:t>
            </a:fld>
            <a:endParaRPr lang="en-US"/>
          </a:p>
        </p:txBody>
      </p:sp>
      <p:sp>
        <p:nvSpPr>
          <p:cNvPr id="5" name="Footer Placeholder 4">
            <a:extLst>
              <a:ext uri="{FF2B5EF4-FFF2-40B4-BE49-F238E27FC236}">
                <a16:creationId xmlns:a16="http://schemas.microsoft.com/office/drawing/2014/main" id="{8FACBC9F-8F68-4D87-B7B3-D38E2FB9DD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3EA550-8E1B-499A-8DC7-1357A60DC614}"/>
              </a:ext>
            </a:extLst>
          </p:cNvPr>
          <p:cNvSpPr>
            <a:spLocks noGrp="1"/>
          </p:cNvSpPr>
          <p:nvPr>
            <p:ph type="sldNum" sz="quarter" idx="12"/>
          </p:nvPr>
        </p:nvSpPr>
        <p:spPr/>
        <p:txBody>
          <a:bodyPr/>
          <a:lstStyle/>
          <a:p>
            <a:fld id="{3DD048D0-5940-47DC-9F5C-B99DE9EC2668}" type="slidenum">
              <a:rPr lang="en-US" smtClean="0"/>
              <a:t>‹#›</a:t>
            </a:fld>
            <a:endParaRPr lang="en-US"/>
          </a:p>
        </p:txBody>
      </p:sp>
    </p:spTree>
    <p:extLst>
      <p:ext uri="{BB962C8B-B14F-4D97-AF65-F5344CB8AC3E}">
        <p14:creationId xmlns:p14="http://schemas.microsoft.com/office/powerpoint/2010/main" val="393313129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55E3F-BC70-4FF4-8B62-91BAF96B4D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A2E0A2-BF14-4C33-B933-685A3CBB45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043854-44DE-404D-AAAF-D0767578B6A6}"/>
              </a:ext>
            </a:extLst>
          </p:cNvPr>
          <p:cNvSpPr>
            <a:spLocks noGrp="1"/>
          </p:cNvSpPr>
          <p:nvPr>
            <p:ph type="dt" sz="half" idx="10"/>
          </p:nvPr>
        </p:nvSpPr>
        <p:spPr/>
        <p:txBody>
          <a:bodyPr/>
          <a:lstStyle/>
          <a:p>
            <a:fld id="{2E3B41E8-6625-4A42-8ABF-CB5E76B85CF7}" type="datetimeFigureOut">
              <a:rPr lang="en-US" smtClean="0"/>
              <a:t>6/26/2020</a:t>
            </a:fld>
            <a:endParaRPr lang="en-US"/>
          </a:p>
        </p:txBody>
      </p:sp>
      <p:sp>
        <p:nvSpPr>
          <p:cNvPr id="5" name="Footer Placeholder 4">
            <a:extLst>
              <a:ext uri="{FF2B5EF4-FFF2-40B4-BE49-F238E27FC236}">
                <a16:creationId xmlns:a16="http://schemas.microsoft.com/office/drawing/2014/main" id="{07BCD208-6A68-4C99-A39A-231F6408FB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9653B8-D44C-4210-9B28-3D2BEC5A137A}"/>
              </a:ext>
            </a:extLst>
          </p:cNvPr>
          <p:cNvSpPr>
            <a:spLocks noGrp="1"/>
          </p:cNvSpPr>
          <p:nvPr>
            <p:ph type="sldNum" sz="quarter" idx="12"/>
          </p:nvPr>
        </p:nvSpPr>
        <p:spPr/>
        <p:txBody>
          <a:bodyPr/>
          <a:lstStyle/>
          <a:p>
            <a:fld id="{3DD048D0-5940-47DC-9F5C-B99DE9EC2668}" type="slidenum">
              <a:rPr lang="en-US" smtClean="0"/>
              <a:t>‹#›</a:t>
            </a:fld>
            <a:endParaRPr lang="en-US"/>
          </a:p>
        </p:txBody>
      </p:sp>
    </p:spTree>
    <p:extLst>
      <p:ext uri="{BB962C8B-B14F-4D97-AF65-F5344CB8AC3E}">
        <p14:creationId xmlns:p14="http://schemas.microsoft.com/office/powerpoint/2010/main" val="219520762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46424-0FBD-4483-8693-23B2296E07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53CF78C-B3A8-4DA4-87D7-54C3D982D8A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F1DC5E7-5CDE-438A-A947-DFB57D25A72F}"/>
              </a:ext>
            </a:extLst>
          </p:cNvPr>
          <p:cNvSpPr>
            <a:spLocks noGrp="1"/>
          </p:cNvSpPr>
          <p:nvPr>
            <p:ph type="dt" sz="half" idx="10"/>
          </p:nvPr>
        </p:nvSpPr>
        <p:spPr/>
        <p:txBody>
          <a:bodyPr/>
          <a:lstStyle/>
          <a:p>
            <a:fld id="{2E3B41E8-6625-4A42-8ABF-CB5E76B85CF7}" type="datetimeFigureOut">
              <a:rPr lang="en-US" smtClean="0"/>
              <a:t>6/26/2020</a:t>
            </a:fld>
            <a:endParaRPr lang="en-US"/>
          </a:p>
        </p:txBody>
      </p:sp>
      <p:sp>
        <p:nvSpPr>
          <p:cNvPr id="5" name="Footer Placeholder 4">
            <a:extLst>
              <a:ext uri="{FF2B5EF4-FFF2-40B4-BE49-F238E27FC236}">
                <a16:creationId xmlns:a16="http://schemas.microsoft.com/office/drawing/2014/main" id="{C8AF6F91-3065-4DA8-B0BF-47F7E18CE9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A3BA70-C840-470E-AF45-4E8C90CCF56D}"/>
              </a:ext>
            </a:extLst>
          </p:cNvPr>
          <p:cNvSpPr>
            <a:spLocks noGrp="1"/>
          </p:cNvSpPr>
          <p:nvPr>
            <p:ph type="sldNum" sz="quarter" idx="12"/>
          </p:nvPr>
        </p:nvSpPr>
        <p:spPr/>
        <p:txBody>
          <a:bodyPr/>
          <a:lstStyle/>
          <a:p>
            <a:fld id="{3DD048D0-5940-47DC-9F5C-B99DE9EC2668}" type="slidenum">
              <a:rPr lang="en-US" smtClean="0"/>
              <a:t>‹#›</a:t>
            </a:fld>
            <a:endParaRPr lang="en-US"/>
          </a:p>
        </p:txBody>
      </p:sp>
    </p:spTree>
    <p:extLst>
      <p:ext uri="{BB962C8B-B14F-4D97-AF65-F5344CB8AC3E}">
        <p14:creationId xmlns:p14="http://schemas.microsoft.com/office/powerpoint/2010/main" val="22727835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83000">
                      <a:schemeClr val="tx1"/>
                    </a:gs>
                    <a:gs pos="100000">
                      <a:schemeClr val="tx1"/>
                    </a:gs>
                  </a:gsLst>
                  <a:lin ang="5400000" scaled="1"/>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7784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45013-4885-4822-B05A-2929D3E3E8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16C354-9AD1-4174-8C85-E48257D89F1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A250739-72B0-4BD4-9294-010D408ACEC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2D72851-BF39-40FE-8411-3FE5F15BCF3C}"/>
              </a:ext>
            </a:extLst>
          </p:cNvPr>
          <p:cNvSpPr>
            <a:spLocks noGrp="1"/>
          </p:cNvSpPr>
          <p:nvPr>
            <p:ph type="dt" sz="half" idx="10"/>
          </p:nvPr>
        </p:nvSpPr>
        <p:spPr/>
        <p:txBody>
          <a:bodyPr/>
          <a:lstStyle/>
          <a:p>
            <a:fld id="{2E3B41E8-6625-4A42-8ABF-CB5E76B85CF7}" type="datetimeFigureOut">
              <a:rPr lang="en-US" smtClean="0"/>
              <a:t>6/26/2020</a:t>
            </a:fld>
            <a:endParaRPr lang="en-US"/>
          </a:p>
        </p:txBody>
      </p:sp>
      <p:sp>
        <p:nvSpPr>
          <p:cNvPr id="6" name="Footer Placeholder 5">
            <a:extLst>
              <a:ext uri="{FF2B5EF4-FFF2-40B4-BE49-F238E27FC236}">
                <a16:creationId xmlns:a16="http://schemas.microsoft.com/office/drawing/2014/main" id="{2414ED81-63E5-4EAE-9FC0-451406B978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0E12AF-33BF-4E15-BC6A-799BBD986622}"/>
              </a:ext>
            </a:extLst>
          </p:cNvPr>
          <p:cNvSpPr>
            <a:spLocks noGrp="1"/>
          </p:cNvSpPr>
          <p:nvPr>
            <p:ph type="sldNum" sz="quarter" idx="12"/>
          </p:nvPr>
        </p:nvSpPr>
        <p:spPr/>
        <p:txBody>
          <a:bodyPr/>
          <a:lstStyle/>
          <a:p>
            <a:fld id="{3DD048D0-5940-47DC-9F5C-B99DE9EC2668}" type="slidenum">
              <a:rPr lang="en-US" smtClean="0"/>
              <a:t>‹#›</a:t>
            </a:fld>
            <a:endParaRPr lang="en-US"/>
          </a:p>
        </p:txBody>
      </p:sp>
    </p:spTree>
    <p:extLst>
      <p:ext uri="{BB962C8B-B14F-4D97-AF65-F5344CB8AC3E}">
        <p14:creationId xmlns:p14="http://schemas.microsoft.com/office/powerpoint/2010/main" val="289993353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13345-41F2-4394-959B-424BFE1EC17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93A6723-D74B-4D82-B2DC-2299231CCF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3C8C7B6-8A58-4C63-AD7E-71130451F64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69E2F15-0890-4E64-BF00-C7105F011E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4E1C4EB-F07E-46C6-9D26-4F6350263FB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0A6EFD0-EDC1-4E26-B3F0-122C74822D9B}"/>
              </a:ext>
            </a:extLst>
          </p:cNvPr>
          <p:cNvSpPr>
            <a:spLocks noGrp="1"/>
          </p:cNvSpPr>
          <p:nvPr>
            <p:ph type="dt" sz="half" idx="10"/>
          </p:nvPr>
        </p:nvSpPr>
        <p:spPr/>
        <p:txBody>
          <a:bodyPr/>
          <a:lstStyle/>
          <a:p>
            <a:fld id="{2E3B41E8-6625-4A42-8ABF-CB5E76B85CF7}" type="datetimeFigureOut">
              <a:rPr lang="en-US" smtClean="0"/>
              <a:t>6/26/2020</a:t>
            </a:fld>
            <a:endParaRPr lang="en-US"/>
          </a:p>
        </p:txBody>
      </p:sp>
      <p:sp>
        <p:nvSpPr>
          <p:cNvPr id="8" name="Footer Placeholder 7">
            <a:extLst>
              <a:ext uri="{FF2B5EF4-FFF2-40B4-BE49-F238E27FC236}">
                <a16:creationId xmlns:a16="http://schemas.microsoft.com/office/drawing/2014/main" id="{B6FC380E-033C-40AF-BA4A-7761988EFB4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4F2D0E5-92D0-45CA-8473-63D481CFB5A5}"/>
              </a:ext>
            </a:extLst>
          </p:cNvPr>
          <p:cNvSpPr>
            <a:spLocks noGrp="1"/>
          </p:cNvSpPr>
          <p:nvPr>
            <p:ph type="sldNum" sz="quarter" idx="12"/>
          </p:nvPr>
        </p:nvSpPr>
        <p:spPr/>
        <p:txBody>
          <a:bodyPr/>
          <a:lstStyle/>
          <a:p>
            <a:fld id="{3DD048D0-5940-47DC-9F5C-B99DE9EC2668}" type="slidenum">
              <a:rPr lang="en-US" smtClean="0"/>
              <a:t>‹#›</a:t>
            </a:fld>
            <a:endParaRPr lang="en-US"/>
          </a:p>
        </p:txBody>
      </p:sp>
    </p:spTree>
    <p:extLst>
      <p:ext uri="{BB962C8B-B14F-4D97-AF65-F5344CB8AC3E}">
        <p14:creationId xmlns:p14="http://schemas.microsoft.com/office/powerpoint/2010/main" val="343316227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9DF62-FFC7-493B-920A-4F25A0B32A6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FADD3F6-BE76-4974-9B33-C47DA22CBEA3}"/>
              </a:ext>
            </a:extLst>
          </p:cNvPr>
          <p:cNvSpPr>
            <a:spLocks noGrp="1"/>
          </p:cNvSpPr>
          <p:nvPr>
            <p:ph type="dt" sz="half" idx="10"/>
          </p:nvPr>
        </p:nvSpPr>
        <p:spPr/>
        <p:txBody>
          <a:bodyPr/>
          <a:lstStyle/>
          <a:p>
            <a:fld id="{2E3B41E8-6625-4A42-8ABF-CB5E76B85CF7}" type="datetimeFigureOut">
              <a:rPr lang="en-US" smtClean="0"/>
              <a:t>6/26/2020</a:t>
            </a:fld>
            <a:endParaRPr lang="en-US"/>
          </a:p>
        </p:txBody>
      </p:sp>
      <p:sp>
        <p:nvSpPr>
          <p:cNvPr id="4" name="Footer Placeholder 3">
            <a:extLst>
              <a:ext uri="{FF2B5EF4-FFF2-40B4-BE49-F238E27FC236}">
                <a16:creationId xmlns:a16="http://schemas.microsoft.com/office/drawing/2014/main" id="{D81CEFCF-C7F8-443E-A763-9AEFB20B8F8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CA71D24-8E2E-4787-B0EB-16C5E18196F3}"/>
              </a:ext>
            </a:extLst>
          </p:cNvPr>
          <p:cNvSpPr>
            <a:spLocks noGrp="1"/>
          </p:cNvSpPr>
          <p:nvPr>
            <p:ph type="sldNum" sz="quarter" idx="12"/>
          </p:nvPr>
        </p:nvSpPr>
        <p:spPr/>
        <p:txBody>
          <a:bodyPr/>
          <a:lstStyle/>
          <a:p>
            <a:fld id="{3DD048D0-5940-47DC-9F5C-B99DE9EC2668}" type="slidenum">
              <a:rPr lang="en-US" smtClean="0"/>
              <a:t>‹#›</a:t>
            </a:fld>
            <a:endParaRPr lang="en-US"/>
          </a:p>
        </p:txBody>
      </p:sp>
    </p:spTree>
    <p:extLst>
      <p:ext uri="{BB962C8B-B14F-4D97-AF65-F5344CB8AC3E}">
        <p14:creationId xmlns:p14="http://schemas.microsoft.com/office/powerpoint/2010/main" val="23846734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5D4932-DDF0-4095-8076-E2F54CDFC4A7}"/>
              </a:ext>
            </a:extLst>
          </p:cNvPr>
          <p:cNvSpPr>
            <a:spLocks noGrp="1"/>
          </p:cNvSpPr>
          <p:nvPr>
            <p:ph type="dt" sz="half" idx="10"/>
          </p:nvPr>
        </p:nvSpPr>
        <p:spPr/>
        <p:txBody>
          <a:bodyPr/>
          <a:lstStyle/>
          <a:p>
            <a:fld id="{2E3B41E8-6625-4A42-8ABF-CB5E76B85CF7}" type="datetimeFigureOut">
              <a:rPr lang="en-US" smtClean="0"/>
              <a:t>6/26/2020</a:t>
            </a:fld>
            <a:endParaRPr lang="en-US"/>
          </a:p>
        </p:txBody>
      </p:sp>
      <p:sp>
        <p:nvSpPr>
          <p:cNvPr id="3" name="Footer Placeholder 2">
            <a:extLst>
              <a:ext uri="{FF2B5EF4-FFF2-40B4-BE49-F238E27FC236}">
                <a16:creationId xmlns:a16="http://schemas.microsoft.com/office/drawing/2014/main" id="{F4F05FCC-A18C-4715-92EE-F0A854E10A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5FA87AD-A893-48D9-AA58-E7E9B6913D2E}"/>
              </a:ext>
            </a:extLst>
          </p:cNvPr>
          <p:cNvSpPr>
            <a:spLocks noGrp="1"/>
          </p:cNvSpPr>
          <p:nvPr>
            <p:ph type="sldNum" sz="quarter" idx="12"/>
          </p:nvPr>
        </p:nvSpPr>
        <p:spPr/>
        <p:txBody>
          <a:bodyPr/>
          <a:lstStyle/>
          <a:p>
            <a:fld id="{3DD048D0-5940-47DC-9F5C-B99DE9EC2668}" type="slidenum">
              <a:rPr lang="en-US" smtClean="0"/>
              <a:t>‹#›</a:t>
            </a:fld>
            <a:endParaRPr lang="en-US"/>
          </a:p>
        </p:txBody>
      </p:sp>
    </p:spTree>
    <p:extLst>
      <p:ext uri="{BB962C8B-B14F-4D97-AF65-F5344CB8AC3E}">
        <p14:creationId xmlns:p14="http://schemas.microsoft.com/office/powerpoint/2010/main" val="264897308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BAA9CD-8A10-4B42-8820-320AA960EB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0F2EF9E-3006-411A-88BD-FB39BE82A5F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0145E10-D55D-4EF4-A0EF-C977CA32A6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7B9EEF9-DC04-4C9F-AB8D-617B32D9CE1F}"/>
              </a:ext>
            </a:extLst>
          </p:cNvPr>
          <p:cNvSpPr>
            <a:spLocks noGrp="1"/>
          </p:cNvSpPr>
          <p:nvPr>
            <p:ph type="dt" sz="half" idx="10"/>
          </p:nvPr>
        </p:nvSpPr>
        <p:spPr/>
        <p:txBody>
          <a:bodyPr/>
          <a:lstStyle/>
          <a:p>
            <a:fld id="{2E3B41E8-6625-4A42-8ABF-CB5E76B85CF7}" type="datetimeFigureOut">
              <a:rPr lang="en-US" smtClean="0"/>
              <a:t>6/26/2020</a:t>
            </a:fld>
            <a:endParaRPr lang="en-US"/>
          </a:p>
        </p:txBody>
      </p:sp>
      <p:sp>
        <p:nvSpPr>
          <p:cNvPr id="6" name="Footer Placeholder 5">
            <a:extLst>
              <a:ext uri="{FF2B5EF4-FFF2-40B4-BE49-F238E27FC236}">
                <a16:creationId xmlns:a16="http://schemas.microsoft.com/office/drawing/2014/main" id="{AABFAEE9-5C4B-498D-A932-BE2B9CD6A9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CFDFC4-5715-46D6-9F90-02C1606ADF41}"/>
              </a:ext>
            </a:extLst>
          </p:cNvPr>
          <p:cNvSpPr>
            <a:spLocks noGrp="1"/>
          </p:cNvSpPr>
          <p:nvPr>
            <p:ph type="sldNum" sz="quarter" idx="12"/>
          </p:nvPr>
        </p:nvSpPr>
        <p:spPr/>
        <p:txBody>
          <a:bodyPr/>
          <a:lstStyle/>
          <a:p>
            <a:fld id="{3DD048D0-5940-47DC-9F5C-B99DE9EC2668}" type="slidenum">
              <a:rPr lang="en-US" smtClean="0"/>
              <a:t>‹#›</a:t>
            </a:fld>
            <a:endParaRPr lang="en-US"/>
          </a:p>
        </p:txBody>
      </p:sp>
    </p:spTree>
    <p:extLst>
      <p:ext uri="{BB962C8B-B14F-4D97-AF65-F5344CB8AC3E}">
        <p14:creationId xmlns:p14="http://schemas.microsoft.com/office/powerpoint/2010/main" val="13394679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348A5-D42B-45B1-BD5A-80F9F37BF0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543FBFB-D8DF-4552-8E36-00A4C4464B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F924020-4F16-44CF-8C19-A7D3FBC9A7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0FB814-EBDF-4B1B-B60F-9451EA19C1F0}"/>
              </a:ext>
            </a:extLst>
          </p:cNvPr>
          <p:cNvSpPr>
            <a:spLocks noGrp="1"/>
          </p:cNvSpPr>
          <p:nvPr>
            <p:ph type="dt" sz="half" idx="10"/>
          </p:nvPr>
        </p:nvSpPr>
        <p:spPr/>
        <p:txBody>
          <a:bodyPr/>
          <a:lstStyle/>
          <a:p>
            <a:fld id="{2E3B41E8-6625-4A42-8ABF-CB5E76B85CF7}" type="datetimeFigureOut">
              <a:rPr lang="en-US" smtClean="0"/>
              <a:t>6/26/2020</a:t>
            </a:fld>
            <a:endParaRPr lang="en-US"/>
          </a:p>
        </p:txBody>
      </p:sp>
      <p:sp>
        <p:nvSpPr>
          <p:cNvPr id="6" name="Footer Placeholder 5">
            <a:extLst>
              <a:ext uri="{FF2B5EF4-FFF2-40B4-BE49-F238E27FC236}">
                <a16:creationId xmlns:a16="http://schemas.microsoft.com/office/drawing/2014/main" id="{62C598D0-F649-458D-AE58-11AF1F1276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7BECA0-2DBE-479C-8D1E-400CD3CAC2FA}"/>
              </a:ext>
            </a:extLst>
          </p:cNvPr>
          <p:cNvSpPr>
            <a:spLocks noGrp="1"/>
          </p:cNvSpPr>
          <p:nvPr>
            <p:ph type="sldNum" sz="quarter" idx="12"/>
          </p:nvPr>
        </p:nvSpPr>
        <p:spPr/>
        <p:txBody>
          <a:bodyPr/>
          <a:lstStyle/>
          <a:p>
            <a:fld id="{3DD048D0-5940-47DC-9F5C-B99DE9EC2668}" type="slidenum">
              <a:rPr lang="en-US" smtClean="0"/>
              <a:t>‹#›</a:t>
            </a:fld>
            <a:endParaRPr lang="en-US"/>
          </a:p>
        </p:txBody>
      </p:sp>
    </p:spTree>
    <p:extLst>
      <p:ext uri="{BB962C8B-B14F-4D97-AF65-F5344CB8AC3E}">
        <p14:creationId xmlns:p14="http://schemas.microsoft.com/office/powerpoint/2010/main" val="197914387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B23F5-3DB4-4D9E-833C-9E16D89DA7F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99DBCFB-A320-43FA-B7FB-AFDAD460F2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0095A0-ACD2-4E85-97CB-6F7A81B2303A}"/>
              </a:ext>
            </a:extLst>
          </p:cNvPr>
          <p:cNvSpPr>
            <a:spLocks noGrp="1"/>
          </p:cNvSpPr>
          <p:nvPr>
            <p:ph type="dt" sz="half" idx="10"/>
          </p:nvPr>
        </p:nvSpPr>
        <p:spPr/>
        <p:txBody>
          <a:bodyPr/>
          <a:lstStyle/>
          <a:p>
            <a:fld id="{2E3B41E8-6625-4A42-8ABF-CB5E76B85CF7}" type="datetimeFigureOut">
              <a:rPr lang="en-US" smtClean="0"/>
              <a:t>6/26/2020</a:t>
            </a:fld>
            <a:endParaRPr lang="en-US"/>
          </a:p>
        </p:txBody>
      </p:sp>
      <p:sp>
        <p:nvSpPr>
          <p:cNvPr id="5" name="Footer Placeholder 4">
            <a:extLst>
              <a:ext uri="{FF2B5EF4-FFF2-40B4-BE49-F238E27FC236}">
                <a16:creationId xmlns:a16="http://schemas.microsoft.com/office/drawing/2014/main" id="{A26FBC98-A1B9-4C36-8ACB-0B9A9ED23B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05A74F-7FD7-446D-9A3E-2A3F17742CCF}"/>
              </a:ext>
            </a:extLst>
          </p:cNvPr>
          <p:cNvSpPr>
            <a:spLocks noGrp="1"/>
          </p:cNvSpPr>
          <p:nvPr>
            <p:ph type="sldNum" sz="quarter" idx="12"/>
          </p:nvPr>
        </p:nvSpPr>
        <p:spPr/>
        <p:txBody>
          <a:bodyPr/>
          <a:lstStyle/>
          <a:p>
            <a:fld id="{3DD048D0-5940-47DC-9F5C-B99DE9EC2668}" type="slidenum">
              <a:rPr lang="en-US" smtClean="0"/>
              <a:t>‹#›</a:t>
            </a:fld>
            <a:endParaRPr lang="en-US"/>
          </a:p>
        </p:txBody>
      </p:sp>
    </p:spTree>
    <p:extLst>
      <p:ext uri="{BB962C8B-B14F-4D97-AF65-F5344CB8AC3E}">
        <p14:creationId xmlns:p14="http://schemas.microsoft.com/office/powerpoint/2010/main" val="28699915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F111627-807D-4631-8C0D-D4B66FB2240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0819CAF-DE45-4597-8C58-316D3FC27B5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A232A0-E170-481B-9248-B1261605DB3A}"/>
              </a:ext>
            </a:extLst>
          </p:cNvPr>
          <p:cNvSpPr>
            <a:spLocks noGrp="1"/>
          </p:cNvSpPr>
          <p:nvPr>
            <p:ph type="dt" sz="half" idx="10"/>
          </p:nvPr>
        </p:nvSpPr>
        <p:spPr/>
        <p:txBody>
          <a:bodyPr/>
          <a:lstStyle/>
          <a:p>
            <a:fld id="{2E3B41E8-6625-4A42-8ABF-CB5E76B85CF7}" type="datetimeFigureOut">
              <a:rPr lang="en-US" smtClean="0"/>
              <a:t>6/26/2020</a:t>
            </a:fld>
            <a:endParaRPr lang="en-US"/>
          </a:p>
        </p:txBody>
      </p:sp>
      <p:sp>
        <p:nvSpPr>
          <p:cNvPr id="5" name="Footer Placeholder 4">
            <a:extLst>
              <a:ext uri="{FF2B5EF4-FFF2-40B4-BE49-F238E27FC236}">
                <a16:creationId xmlns:a16="http://schemas.microsoft.com/office/drawing/2014/main" id="{2DFEB443-2791-4AFA-81F5-D2850BCE27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275FCA-1573-41FA-8C44-D2BC15BEB4A4}"/>
              </a:ext>
            </a:extLst>
          </p:cNvPr>
          <p:cNvSpPr>
            <a:spLocks noGrp="1"/>
          </p:cNvSpPr>
          <p:nvPr>
            <p:ph type="sldNum" sz="quarter" idx="12"/>
          </p:nvPr>
        </p:nvSpPr>
        <p:spPr/>
        <p:txBody>
          <a:bodyPr/>
          <a:lstStyle/>
          <a:p>
            <a:fld id="{3DD048D0-5940-47DC-9F5C-B99DE9EC2668}" type="slidenum">
              <a:rPr lang="en-US" smtClean="0"/>
              <a:t>‹#›</a:t>
            </a:fld>
            <a:endParaRPr lang="en-US"/>
          </a:p>
        </p:txBody>
      </p:sp>
    </p:spTree>
    <p:extLst>
      <p:ext uri="{BB962C8B-B14F-4D97-AF65-F5344CB8AC3E}">
        <p14:creationId xmlns:p14="http://schemas.microsoft.com/office/powerpoint/2010/main" val="94314742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30530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21350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65422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cSld name="Title and Bullets">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69304" y="1187646"/>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384" y="6043944"/>
            <a:ext cx="1880002" cy="805829"/>
          </a:xfrm>
          <a:prstGeom prst="rect">
            <a:avLst/>
          </a:prstGeom>
        </p:spPr>
      </p:pic>
      <p:sp>
        <p:nvSpPr>
          <p:cNvPr id="7"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A2976F41-3A97-445D-9E07-C5C27A872DA7}" type="slidenum">
              <a:rPr lang="en-US" smtClean="0"/>
              <a:t>‹#›</a:t>
            </a:fld>
            <a:endParaRPr lang="en-US"/>
          </a:p>
        </p:txBody>
      </p:sp>
    </p:spTree>
    <p:extLst>
      <p:ext uri="{BB962C8B-B14F-4D97-AF65-F5344CB8AC3E}">
        <p14:creationId xmlns:p14="http://schemas.microsoft.com/office/powerpoint/2010/main" val="1093305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1250">
                      <a:srgbClr val="50E6FF"/>
                    </a:gs>
                    <a:gs pos="100000">
                      <a:srgbClr val="50E6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42787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3959639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36923935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9" name="Slide Number Placeholder 5"/>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67FF61F5-E481-41BC-8EB1-1A63A96D5FE8}" type="slidenum">
              <a:rPr lang="en-US" smtClean="0"/>
              <a:pPr/>
              <a:t>‹#›</a:t>
            </a:fld>
            <a:endParaRPr lang="en-US"/>
          </a:p>
        </p:txBody>
      </p:sp>
      <p:sp>
        <p:nvSpPr>
          <p:cNvPr id="10" name="Footer Placeholder 6"/>
          <p:cNvSpPr>
            <a:spLocks noGrp="1"/>
          </p:cNvSpPr>
          <p:nvPr>
            <p:ph type="ftr" sz="quarter" idx="3"/>
          </p:nvPr>
        </p:nvSpPr>
        <p:spPr>
          <a:xfrm>
            <a:off x="436378" y="6356350"/>
            <a:ext cx="11336980" cy="365125"/>
          </a:xfrm>
          <a:prstGeom prst="rect">
            <a:avLst/>
          </a:prstGeom>
        </p:spPr>
        <p:txBody>
          <a:bodyPr vert="horz" lIns="91440" tIns="45720" rIns="91440" bIns="45720" numCol="2" rtlCol="0" anchor="ctr"/>
          <a:lstStyle>
            <a:lvl1pPr algn="l">
              <a:defRPr sz="1200">
                <a:solidFill>
                  <a:schemeClr val="tx1">
                    <a:tint val="75000"/>
                  </a:schemeClr>
                </a:solidFill>
              </a:defRPr>
            </a:lvl1pPr>
          </a:lstStyle>
          <a:p>
            <a:r>
              <a:rPr lang="en-US" sz="800">
                <a:solidFill>
                  <a:schemeClr val="bg1">
                    <a:lumMod val="65000"/>
                  </a:schemeClr>
                </a:solidFill>
              </a:rPr>
              <a:t>© Microsoft Corporation</a:t>
            </a:r>
          </a:p>
          <a:p>
            <a:endParaRPr lang="en-US" sz="800">
              <a:solidFill>
                <a:schemeClr val="bg1">
                  <a:lumMod val="65000"/>
                </a:schemeClr>
              </a:solidFill>
            </a:endParaRPr>
          </a:p>
          <a:p>
            <a:pPr algn="r"/>
            <a:r>
              <a:rPr lang="en-US" sz="800">
                <a:solidFill>
                  <a:schemeClr val="bg1">
                    <a:lumMod val="65000"/>
                  </a:schemeClr>
                </a:solidFill>
              </a:rPr>
              <a:t>Azure</a:t>
            </a:r>
          </a:p>
        </p:txBody>
      </p:sp>
    </p:spTree>
    <p:extLst>
      <p:ext uri="{BB962C8B-B14F-4D97-AF65-F5344CB8AC3E}">
        <p14:creationId xmlns:p14="http://schemas.microsoft.com/office/powerpoint/2010/main" val="172923103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13" name="Slide Number Placeholder 5"/>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67FF61F5-E481-41BC-8EB1-1A63A96D5FE8}" type="slidenum">
              <a:rPr lang="en-US" smtClean="0"/>
              <a:pPr/>
              <a:t>‹#›</a:t>
            </a:fld>
            <a:endParaRPr lang="en-US"/>
          </a:p>
        </p:txBody>
      </p:sp>
      <p:sp>
        <p:nvSpPr>
          <p:cNvPr id="15" name="Footer Placeholder 6"/>
          <p:cNvSpPr>
            <a:spLocks noGrp="1"/>
          </p:cNvSpPr>
          <p:nvPr>
            <p:ph type="ftr" sz="quarter" idx="3"/>
          </p:nvPr>
        </p:nvSpPr>
        <p:spPr>
          <a:xfrm>
            <a:off x="436378" y="6356350"/>
            <a:ext cx="11336980" cy="365125"/>
          </a:xfrm>
          <a:prstGeom prst="rect">
            <a:avLst/>
          </a:prstGeom>
        </p:spPr>
        <p:txBody>
          <a:bodyPr vert="horz" lIns="91440" tIns="45720" rIns="91440" bIns="45720" numCol="2" rtlCol="0" anchor="ctr"/>
          <a:lstStyle>
            <a:lvl1pPr algn="l">
              <a:defRPr sz="1200">
                <a:solidFill>
                  <a:schemeClr val="tx1">
                    <a:tint val="75000"/>
                  </a:schemeClr>
                </a:solidFill>
              </a:defRPr>
            </a:lvl1pPr>
          </a:lstStyle>
          <a:p>
            <a:r>
              <a:rPr lang="en-US" sz="800">
                <a:solidFill>
                  <a:schemeClr val="bg1">
                    <a:lumMod val="65000"/>
                  </a:schemeClr>
                </a:solidFill>
              </a:rPr>
              <a:t>© Microsoft Corporation</a:t>
            </a:r>
          </a:p>
          <a:p>
            <a:endParaRPr lang="en-US" sz="800">
              <a:solidFill>
                <a:schemeClr val="bg1">
                  <a:lumMod val="65000"/>
                </a:schemeClr>
              </a:solidFill>
            </a:endParaRPr>
          </a:p>
          <a:p>
            <a:pPr algn="r"/>
            <a:r>
              <a:rPr lang="en-US" sz="800">
                <a:solidFill>
                  <a:schemeClr val="bg1">
                    <a:lumMod val="65000"/>
                  </a:schemeClr>
                </a:solidFill>
              </a:rPr>
              <a:t>Azure</a:t>
            </a:r>
          </a:p>
        </p:txBody>
      </p:sp>
    </p:spTree>
    <p:extLst>
      <p:ext uri="{BB962C8B-B14F-4D97-AF65-F5344CB8AC3E}">
        <p14:creationId xmlns:p14="http://schemas.microsoft.com/office/powerpoint/2010/main" val="392738912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
        <p:nvSpPr>
          <p:cNvPr id="16" name="Slide Number Placeholder 5"/>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67FF61F5-E481-41BC-8EB1-1A63A96D5FE8}" type="slidenum">
              <a:rPr lang="en-US" smtClean="0"/>
              <a:pPr/>
              <a:t>‹#›</a:t>
            </a:fld>
            <a:endParaRPr lang="en-US"/>
          </a:p>
        </p:txBody>
      </p:sp>
      <p:sp>
        <p:nvSpPr>
          <p:cNvPr id="17" name="Footer Placeholder 6"/>
          <p:cNvSpPr>
            <a:spLocks noGrp="1"/>
          </p:cNvSpPr>
          <p:nvPr>
            <p:ph type="ftr" sz="quarter" idx="3"/>
          </p:nvPr>
        </p:nvSpPr>
        <p:spPr>
          <a:xfrm>
            <a:off x="436378" y="6356350"/>
            <a:ext cx="11336980" cy="365125"/>
          </a:xfrm>
          <a:prstGeom prst="rect">
            <a:avLst/>
          </a:prstGeom>
        </p:spPr>
        <p:txBody>
          <a:bodyPr vert="horz" lIns="91440" tIns="45720" rIns="91440" bIns="45720" numCol="2" rtlCol="0" anchor="ctr"/>
          <a:lstStyle>
            <a:lvl1pPr algn="l">
              <a:defRPr sz="1200">
                <a:solidFill>
                  <a:schemeClr val="tx1">
                    <a:tint val="75000"/>
                  </a:schemeClr>
                </a:solidFill>
              </a:defRPr>
            </a:lvl1pPr>
          </a:lstStyle>
          <a:p>
            <a:r>
              <a:rPr lang="en-US" sz="800">
                <a:solidFill>
                  <a:schemeClr val="bg1">
                    <a:lumMod val="65000"/>
                  </a:schemeClr>
                </a:solidFill>
              </a:rPr>
              <a:t>© Microsoft Corporation</a:t>
            </a:r>
          </a:p>
          <a:p>
            <a:endParaRPr lang="en-US" sz="800">
              <a:solidFill>
                <a:schemeClr val="bg1">
                  <a:lumMod val="65000"/>
                </a:schemeClr>
              </a:solidFill>
            </a:endParaRPr>
          </a:p>
          <a:p>
            <a:pPr algn="r"/>
            <a:r>
              <a:rPr lang="en-US" sz="800">
                <a:solidFill>
                  <a:schemeClr val="bg1">
                    <a:lumMod val="65000"/>
                  </a:schemeClr>
                </a:solidFill>
              </a:rPr>
              <a:t>Azure</a:t>
            </a:r>
          </a:p>
        </p:txBody>
      </p:sp>
    </p:spTree>
    <p:extLst>
      <p:ext uri="{BB962C8B-B14F-4D97-AF65-F5344CB8AC3E}">
        <p14:creationId xmlns:p14="http://schemas.microsoft.com/office/powerpoint/2010/main" val="289289906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11" name="Slide Number Placeholder 5"/>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67FF61F5-E481-41BC-8EB1-1A63A96D5FE8}" type="slidenum">
              <a:rPr lang="en-US" smtClean="0"/>
              <a:pPr/>
              <a:t>‹#›</a:t>
            </a:fld>
            <a:endParaRPr lang="en-US"/>
          </a:p>
        </p:txBody>
      </p:sp>
      <p:sp>
        <p:nvSpPr>
          <p:cNvPr id="12" name="Footer Placeholder 6"/>
          <p:cNvSpPr>
            <a:spLocks noGrp="1"/>
          </p:cNvSpPr>
          <p:nvPr>
            <p:ph type="ftr" sz="quarter" idx="3"/>
          </p:nvPr>
        </p:nvSpPr>
        <p:spPr>
          <a:xfrm>
            <a:off x="436378" y="6356350"/>
            <a:ext cx="11336980" cy="365125"/>
          </a:xfrm>
          <a:prstGeom prst="rect">
            <a:avLst/>
          </a:prstGeom>
        </p:spPr>
        <p:txBody>
          <a:bodyPr vert="horz" lIns="91440" tIns="45720" rIns="91440" bIns="45720" numCol="2" rtlCol="0" anchor="ctr"/>
          <a:lstStyle>
            <a:lvl1pPr algn="l">
              <a:defRPr sz="1200">
                <a:solidFill>
                  <a:schemeClr val="tx1">
                    <a:tint val="75000"/>
                  </a:schemeClr>
                </a:solidFill>
              </a:defRPr>
            </a:lvl1pPr>
          </a:lstStyle>
          <a:p>
            <a:r>
              <a:rPr lang="en-US" sz="800">
                <a:solidFill>
                  <a:schemeClr val="bg1">
                    <a:lumMod val="65000"/>
                  </a:schemeClr>
                </a:solidFill>
              </a:rPr>
              <a:t>© Microsoft Corporation</a:t>
            </a:r>
          </a:p>
          <a:p>
            <a:endParaRPr lang="en-US" sz="800">
              <a:solidFill>
                <a:schemeClr val="bg1">
                  <a:lumMod val="65000"/>
                </a:schemeClr>
              </a:solidFill>
            </a:endParaRPr>
          </a:p>
          <a:p>
            <a:pPr algn="r"/>
            <a:r>
              <a:rPr lang="en-US" sz="800">
                <a:solidFill>
                  <a:schemeClr val="bg1">
                    <a:lumMod val="65000"/>
                  </a:schemeClr>
                </a:solidFill>
              </a:rPr>
              <a:t>Azure</a:t>
            </a:r>
          </a:p>
        </p:txBody>
      </p:sp>
    </p:spTree>
    <p:extLst>
      <p:ext uri="{BB962C8B-B14F-4D97-AF65-F5344CB8AC3E}">
        <p14:creationId xmlns:p14="http://schemas.microsoft.com/office/powerpoint/2010/main" val="107732421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17" name="Slide Number Placeholder 5"/>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67FF61F5-E481-41BC-8EB1-1A63A96D5FE8}" type="slidenum">
              <a:rPr lang="en-US" smtClean="0"/>
              <a:pPr/>
              <a:t>‹#›</a:t>
            </a:fld>
            <a:endParaRPr lang="en-US"/>
          </a:p>
        </p:txBody>
      </p:sp>
      <p:sp>
        <p:nvSpPr>
          <p:cNvPr id="18" name="Footer Placeholder 6"/>
          <p:cNvSpPr>
            <a:spLocks noGrp="1"/>
          </p:cNvSpPr>
          <p:nvPr>
            <p:ph type="ftr" sz="quarter" idx="3"/>
          </p:nvPr>
        </p:nvSpPr>
        <p:spPr>
          <a:xfrm>
            <a:off x="436378" y="6356350"/>
            <a:ext cx="11336980" cy="365125"/>
          </a:xfrm>
          <a:prstGeom prst="rect">
            <a:avLst/>
          </a:prstGeom>
        </p:spPr>
        <p:txBody>
          <a:bodyPr vert="horz" lIns="91440" tIns="45720" rIns="91440" bIns="45720" numCol="2" rtlCol="0" anchor="ctr"/>
          <a:lstStyle>
            <a:lvl1pPr algn="l">
              <a:defRPr sz="1200">
                <a:solidFill>
                  <a:schemeClr val="tx1">
                    <a:tint val="75000"/>
                  </a:schemeClr>
                </a:solidFill>
              </a:defRPr>
            </a:lvl1pPr>
          </a:lstStyle>
          <a:p>
            <a:r>
              <a:rPr lang="en-US" sz="800">
                <a:solidFill>
                  <a:schemeClr val="bg1">
                    <a:lumMod val="65000"/>
                  </a:schemeClr>
                </a:solidFill>
              </a:rPr>
              <a:t>© Microsoft Corporation</a:t>
            </a:r>
          </a:p>
          <a:p>
            <a:endParaRPr lang="en-US" sz="800">
              <a:solidFill>
                <a:schemeClr val="bg1">
                  <a:lumMod val="65000"/>
                </a:schemeClr>
              </a:solidFill>
            </a:endParaRPr>
          </a:p>
          <a:p>
            <a:pPr algn="r"/>
            <a:r>
              <a:rPr lang="en-US" sz="800">
                <a:solidFill>
                  <a:schemeClr val="bg1">
                    <a:lumMod val="65000"/>
                  </a:schemeClr>
                </a:solidFill>
              </a:rPr>
              <a:t>Azure</a:t>
            </a:r>
          </a:p>
        </p:txBody>
      </p:sp>
    </p:spTree>
    <p:extLst>
      <p:ext uri="{BB962C8B-B14F-4D97-AF65-F5344CB8AC3E}">
        <p14:creationId xmlns:p14="http://schemas.microsoft.com/office/powerpoint/2010/main" val="208688332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15" name="Slide Number Placeholder 5"/>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67FF61F5-E481-41BC-8EB1-1A63A96D5FE8}" type="slidenum">
              <a:rPr lang="en-US" smtClean="0"/>
              <a:pPr/>
              <a:t>‹#›</a:t>
            </a:fld>
            <a:endParaRPr lang="en-US"/>
          </a:p>
        </p:txBody>
      </p:sp>
      <p:sp>
        <p:nvSpPr>
          <p:cNvPr id="16" name="Footer Placeholder 6"/>
          <p:cNvSpPr>
            <a:spLocks noGrp="1"/>
          </p:cNvSpPr>
          <p:nvPr>
            <p:ph type="ftr" sz="quarter" idx="3"/>
          </p:nvPr>
        </p:nvSpPr>
        <p:spPr>
          <a:xfrm>
            <a:off x="436378" y="6356350"/>
            <a:ext cx="11336980" cy="365125"/>
          </a:xfrm>
          <a:prstGeom prst="rect">
            <a:avLst/>
          </a:prstGeom>
        </p:spPr>
        <p:txBody>
          <a:bodyPr vert="horz" lIns="91440" tIns="45720" rIns="91440" bIns="45720" numCol="3" rtlCol="0" anchor="ctr"/>
          <a:lstStyle>
            <a:lvl1pPr algn="ctr">
              <a:defRPr sz="1200">
                <a:solidFill>
                  <a:schemeClr val="tx1">
                    <a:tint val="75000"/>
                  </a:schemeClr>
                </a:solidFill>
              </a:defRPr>
            </a:lvl1pPr>
          </a:lstStyle>
          <a:p>
            <a:r>
              <a:rPr lang="en-US" sz="800">
                <a:solidFill>
                  <a:schemeClr val="bg1">
                    <a:lumMod val="65000"/>
                  </a:schemeClr>
                </a:solidFill>
              </a:rPr>
              <a:t>© Microsoft Corporation  Azure</a:t>
            </a:r>
          </a:p>
        </p:txBody>
      </p:sp>
    </p:spTree>
    <p:extLst>
      <p:ext uri="{BB962C8B-B14F-4D97-AF65-F5344CB8AC3E}">
        <p14:creationId xmlns:p14="http://schemas.microsoft.com/office/powerpoint/2010/main" val="17630407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669036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9" name="Slide Number Placeholder 5"/>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67FF61F5-E481-41BC-8EB1-1A63A96D5FE8}" type="slidenum">
              <a:rPr lang="en-US" smtClean="0"/>
              <a:pPr/>
              <a:t>‹#›</a:t>
            </a:fld>
            <a:endParaRPr lang="en-US"/>
          </a:p>
        </p:txBody>
      </p:sp>
      <p:sp>
        <p:nvSpPr>
          <p:cNvPr id="15" name="Footer Placeholder 6"/>
          <p:cNvSpPr>
            <a:spLocks noGrp="1"/>
          </p:cNvSpPr>
          <p:nvPr>
            <p:ph type="ftr" sz="quarter" idx="3"/>
          </p:nvPr>
        </p:nvSpPr>
        <p:spPr>
          <a:xfrm>
            <a:off x="436378" y="6356350"/>
            <a:ext cx="11336980" cy="365125"/>
          </a:xfrm>
          <a:prstGeom prst="rect">
            <a:avLst/>
          </a:prstGeom>
        </p:spPr>
        <p:txBody>
          <a:bodyPr vert="horz" lIns="91440" tIns="45720" rIns="91440" bIns="45720" numCol="3" rtlCol="0" anchor="ctr"/>
          <a:lstStyle>
            <a:lvl1pPr algn="ctr">
              <a:defRPr sz="1200">
                <a:solidFill>
                  <a:schemeClr val="tx1">
                    <a:tint val="75000"/>
                  </a:schemeClr>
                </a:solidFill>
              </a:defRPr>
            </a:lvl1pPr>
          </a:lstStyle>
          <a:p>
            <a:r>
              <a:rPr lang="en-US" sz="800">
                <a:solidFill>
                  <a:schemeClr val="bg1">
                    <a:lumMod val="65000"/>
                  </a:schemeClr>
                </a:solidFill>
              </a:rPr>
              <a:t>© Microsoft Corporation  Azure</a:t>
            </a:r>
          </a:p>
        </p:txBody>
      </p:sp>
    </p:spTree>
    <p:extLst>
      <p:ext uri="{BB962C8B-B14F-4D97-AF65-F5344CB8AC3E}">
        <p14:creationId xmlns:p14="http://schemas.microsoft.com/office/powerpoint/2010/main" val="1830032356"/>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9" name="Slide Number Placeholder 5"/>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67FF61F5-E481-41BC-8EB1-1A63A96D5FE8}" type="slidenum">
              <a:rPr lang="en-US" smtClean="0"/>
              <a:pPr/>
              <a:t>‹#›</a:t>
            </a:fld>
            <a:endParaRPr lang="en-US"/>
          </a:p>
        </p:txBody>
      </p:sp>
      <p:sp>
        <p:nvSpPr>
          <p:cNvPr id="15" name="Footer Placeholder 6"/>
          <p:cNvSpPr>
            <a:spLocks noGrp="1"/>
          </p:cNvSpPr>
          <p:nvPr>
            <p:ph type="ftr" sz="quarter" idx="3"/>
          </p:nvPr>
        </p:nvSpPr>
        <p:spPr>
          <a:xfrm>
            <a:off x="436378" y="6356350"/>
            <a:ext cx="11336980" cy="365125"/>
          </a:xfrm>
          <a:prstGeom prst="rect">
            <a:avLst/>
          </a:prstGeom>
        </p:spPr>
        <p:txBody>
          <a:bodyPr vert="horz" lIns="91440" tIns="45720" rIns="91440" bIns="45720" numCol="3" rtlCol="0" anchor="ctr"/>
          <a:lstStyle>
            <a:lvl1pPr algn="ctr">
              <a:defRPr sz="1200">
                <a:solidFill>
                  <a:schemeClr val="tx1">
                    <a:tint val="75000"/>
                  </a:schemeClr>
                </a:solidFill>
              </a:defRPr>
            </a:lvl1pPr>
          </a:lstStyle>
          <a:p>
            <a:r>
              <a:rPr lang="en-US" sz="800">
                <a:solidFill>
                  <a:schemeClr val="bg1">
                    <a:lumMod val="65000"/>
                  </a:schemeClr>
                </a:solidFill>
              </a:rPr>
              <a:t>© Microsoft Corporation  Azure</a:t>
            </a:r>
          </a:p>
        </p:txBody>
      </p:sp>
    </p:spTree>
    <p:extLst>
      <p:ext uri="{BB962C8B-B14F-4D97-AF65-F5344CB8AC3E}">
        <p14:creationId xmlns:p14="http://schemas.microsoft.com/office/powerpoint/2010/main" val="303770827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
        <p:nvSpPr>
          <p:cNvPr id="21" name="Slide Number Placeholder 5"/>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67FF61F5-E481-41BC-8EB1-1A63A96D5FE8}" type="slidenum">
              <a:rPr lang="en-US" smtClean="0"/>
              <a:pPr/>
              <a:t>‹#›</a:t>
            </a:fld>
            <a:endParaRPr lang="en-US"/>
          </a:p>
        </p:txBody>
      </p:sp>
      <p:sp>
        <p:nvSpPr>
          <p:cNvPr id="22" name="Footer Placeholder 6"/>
          <p:cNvSpPr>
            <a:spLocks noGrp="1"/>
          </p:cNvSpPr>
          <p:nvPr>
            <p:ph type="ftr" sz="quarter" idx="3"/>
          </p:nvPr>
        </p:nvSpPr>
        <p:spPr>
          <a:xfrm>
            <a:off x="436378" y="6356350"/>
            <a:ext cx="11336980" cy="365125"/>
          </a:xfrm>
          <a:prstGeom prst="rect">
            <a:avLst/>
          </a:prstGeom>
        </p:spPr>
        <p:txBody>
          <a:bodyPr vert="horz" lIns="91440" tIns="45720" rIns="91440" bIns="45720" numCol="3" rtlCol="0" anchor="ctr"/>
          <a:lstStyle>
            <a:lvl1pPr algn="ctr">
              <a:defRPr sz="1200">
                <a:solidFill>
                  <a:schemeClr val="tx1">
                    <a:tint val="75000"/>
                  </a:schemeClr>
                </a:solidFill>
              </a:defRPr>
            </a:lvl1pPr>
          </a:lstStyle>
          <a:p>
            <a:r>
              <a:rPr lang="en-US" sz="800">
                <a:solidFill>
                  <a:schemeClr val="bg1">
                    <a:lumMod val="65000"/>
                  </a:schemeClr>
                </a:solidFill>
              </a:rPr>
              <a:t>© Microsoft Corporation  Azure</a:t>
            </a:r>
          </a:p>
        </p:txBody>
      </p:sp>
    </p:spTree>
    <p:extLst>
      <p:ext uri="{BB962C8B-B14F-4D97-AF65-F5344CB8AC3E}">
        <p14:creationId xmlns:p14="http://schemas.microsoft.com/office/powerpoint/2010/main" val="2612756064"/>
      </p:ext>
    </p:extLst>
  </p:cSld>
  <p:clrMapOvr>
    <a:masterClrMapping/>
  </p:clrMapOvr>
  <p:transition>
    <p:fade/>
  </p:transition>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94546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906695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7920686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9423913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10916002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1797765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82804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5303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4F16D-339B-4F9A-81EE-5ECE9C3AD105}"/>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068F8EBD-88FB-4050-8DAB-34C0B1B33E4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928E04C3-B867-44C2-A96E-576CE277170E}"/>
              </a:ext>
            </a:extLst>
          </p:cNvPr>
          <p:cNvSpPr>
            <a:spLocks noGrp="1"/>
          </p:cNvSpPr>
          <p:nvPr>
            <p:ph type="dt" sz="half" idx="10"/>
          </p:nvPr>
        </p:nvSpPr>
        <p:spPr/>
        <p:txBody>
          <a:bodyPr/>
          <a:lstStyle/>
          <a:p>
            <a:fld id="{0386F518-E4DD-4A13-829B-C13A390656AA}" type="datetimeFigureOut">
              <a:rPr lang="de-DE" smtClean="0"/>
              <a:t>26.06.2020</a:t>
            </a:fld>
            <a:endParaRPr lang="de-DE"/>
          </a:p>
        </p:txBody>
      </p:sp>
      <p:sp>
        <p:nvSpPr>
          <p:cNvPr id="5" name="Footer Placeholder 4">
            <a:extLst>
              <a:ext uri="{FF2B5EF4-FFF2-40B4-BE49-F238E27FC236}">
                <a16:creationId xmlns:a16="http://schemas.microsoft.com/office/drawing/2014/main" id="{2F0B7892-3E04-4020-8D6E-C9A778E668F7}"/>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64BF48C2-561D-4822-9B0B-EC6DA1D996F4}"/>
              </a:ext>
            </a:extLst>
          </p:cNvPr>
          <p:cNvSpPr>
            <a:spLocks noGrp="1"/>
          </p:cNvSpPr>
          <p:nvPr>
            <p:ph type="sldNum" sz="quarter" idx="12"/>
          </p:nvPr>
        </p:nvSpPr>
        <p:spPr/>
        <p:txBody>
          <a:bodyPr/>
          <a:lstStyle/>
          <a:p>
            <a:fld id="{F5792228-A752-45F1-804D-000090C5C8C4}" type="slidenum">
              <a:rPr lang="de-DE" smtClean="0"/>
              <a:t>‹#›</a:t>
            </a:fld>
            <a:endParaRPr lang="de-DE"/>
          </a:p>
        </p:txBody>
      </p:sp>
    </p:spTree>
    <p:extLst>
      <p:ext uri="{BB962C8B-B14F-4D97-AF65-F5344CB8AC3E}">
        <p14:creationId xmlns:p14="http://schemas.microsoft.com/office/powerpoint/2010/main" val="51472880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2971883"/>
            <a:ext cx="11430000" cy="914235"/>
          </a:xfrm>
          <a:noFill/>
        </p:spPr>
        <p:txBody>
          <a:bodyPr wrap="square" lIns="182880" tIns="91440" bIns="91440" anchor="t" anchorCtr="0">
            <a:spAutoFit/>
          </a:bodyPr>
          <a:lstStyle>
            <a:lvl1pPr algn="l">
              <a:defRPr sz="5293" spc="-84" baseline="0">
                <a:gradFill>
                  <a:gsLst>
                    <a:gs pos="100000">
                      <a:schemeClr val="tx1"/>
                    </a:gs>
                    <a:gs pos="0">
                      <a:schemeClr val="tx1"/>
                    </a:gs>
                  </a:gsLst>
                  <a:lin ang="5400000" scaled="0"/>
                </a:gradFill>
              </a:defRPr>
            </a:lvl1pPr>
          </a:lstStyle>
          <a:p>
            <a:r>
              <a:rPr lang="en-US"/>
              <a:t>Section title</a:t>
            </a:r>
          </a:p>
        </p:txBody>
      </p:sp>
      <p:sp>
        <p:nvSpPr>
          <p:cNvPr id="3" name="Rectangle 2"/>
          <p:cNvSpPr/>
          <p:nvPr userDrawn="1"/>
        </p:nvSpPr>
        <p:spPr bwMode="auto">
          <a:xfrm>
            <a:off x="11130642" y="1"/>
            <a:ext cx="979715" cy="2941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42" tIns="129074" rIns="161342" bIns="129074" numCol="1" spcCol="0" rtlCol="0" fromWordArt="0" anchor="t" anchorCtr="0" forceAA="0" compatLnSpc="1">
            <a:prstTxWarp prst="textNoShape">
              <a:avLst/>
            </a:prstTxWarp>
            <a:noAutofit/>
          </a:bodyPr>
          <a:lstStyle/>
          <a:p>
            <a:pPr algn="ctr" defTabSz="822601" fontAlgn="base">
              <a:lnSpc>
                <a:spcPct val="90000"/>
              </a:lnSpc>
              <a:spcBef>
                <a:spcPct val="0"/>
              </a:spcBef>
              <a:spcAft>
                <a:spcPct val="0"/>
              </a:spcAft>
            </a:pPr>
            <a:endParaRPr lang="en-US" sz="2117"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7331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269240" y="1189177"/>
            <a:ext cx="11655078" cy="2076338"/>
          </a:xfrm>
        </p:spPr>
        <p:txBody>
          <a:bodyPr>
            <a:spAutoFit/>
          </a:bodyPr>
          <a:lstStyle>
            <a:lvl1pPr marL="0" indent="0">
              <a:buNone/>
              <a:defRPr sz="3200"/>
            </a:lvl1pPr>
            <a:lvl2pPr marL="224097" indent="0">
              <a:buNone/>
              <a:defRPr sz="2400"/>
            </a:lvl2pPr>
            <a:lvl3pPr marL="448193" indent="0">
              <a:buNone/>
              <a:defRPr sz="2000"/>
            </a:lvl3pPr>
            <a:lvl4pPr marL="672290" indent="0">
              <a:buNone/>
              <a:defRPr sz="2000"/>
            </a:lvl4pPr>
            <a:lvl5pPr marL="896386"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2F0248CC-FFEC-4CEE-8A3A-877D8D05F4EF}"/>
              </a:ext>
            </a:extLst>
          </p:cNvPr>
          <p:cNvGrpSpPr/>
          <p:nvPr userDrawn="1"/>
        </p:nvGrpSpPr>
        <p:grpSpPr>
          <a:xfrm>
            <a:off x="0" y="82798"/>
            <a:ext cx="12192000" cy="712730"/>
            <a:chOff x="0" y="82798"/>
            <a:chExt cx="12192000" cy="712730"/>
          </a:xfrm>
        </p:grpSpPr>
        <p:cxnSp>
          <p:nvCxnSpPr>
            <p:cNvPr id="5" name="Straight Connector 4">
              <a:extLst>
                <a:ext uri="{FF2B5EF4-FFF2-40B4-BE49-F238E27FC236}">
                  <a16:creationId xmlns:a16="http://schemas.microsoft.com/office/drawing/2014/main" id="{33ED9A6B-A6B8-4104-AC33-D38E660B1696}"/>
                </a:ext>
              </a:extLst>
            </p:cNvPr>
            <p:cNvCxnSpPr/>
            <p:nvPr userDrawn="1"/>
          </p:nvCxnSpPr>
          <p:spPr>
            <a:xfrm>
              <a:off x="0" y="795528"/>
              <a:ext cx="12192000"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073787F-DBC3-454E-AAF6-FCEE7208C77A}"/>
                </a:ext>
              </a:extLst>
            </p:cNvPr>
            <p:cNvCxnSpPr/>
            <p:nvPr userDrawn="1"/>
          </p:nvCxnSpPr>
          <p:spPr>
            <a:xfrm flipV="1">
              <a:off x="296672" y="438912"/>
              <a:ext cx="0" cy="356616"/>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478A7328-8DAC-4530-A62D-E682F1D4C762}"/>
                </a:ext>
              </a:extLst>
            </p:cNvPr>
            <p:cNvGrpSpPr/>
            <p:nvPr userDrawn="1"/>
          </p:nvGrpSpPr>
          <p:grpSpPr bwMode="black">
            <a:xfrm>
              <a:off x="77216" y="82798"/>
              <a:ext cx="438912" cy="356114"/>
              <a:chOff x="446088" y="2665413"/>
              <a:chExt cx="920750" cy="920750"/>
            </a:xfrm>
            <a:solidFill>
              <a:srgbClr val="0070C0"/>
            </a:solidFill>
          </p:grpSpPr>
          <p:sp>
            <p:nvSpPr>
              <p:cNvPr id="9" name="Freeform 27">
                <a:extLst>
                  <a:ext uri="{FF2B5EF4-FFF2-40B4-BE49-F238E27FC236}">
                    <a16:creationId xmlns:a16="http://schemas.microsoft.com/office/drawing/2014/main" id="{130A060F-8EC5-4CBD-93B5-296A0D743FE5}"/>
                  </a:ext>
                </a:extLst>
              </p:cNvPr>
              <p:cNvSpPr>
                <a:spLocks noEditPoints="1"/>
              </p:cNvSpPr>
              <p:nvPr/>
            </p:nvSpPr>
            <p:spPr bwMode="black">
              <a:xfrm>
                <a:off x="446088" y="2665413"/>
                <a:ext cx="920750" cy="920750"/>
              </a:xfrm>
              <a:custGeom>
                <a:avLst/>
                <a:gdLst>
                  <a:gd name="T0" fmla="*/ 494 w 518"/>
                  <a:gd name="T1" fmla="*/ 216 h 518"/>
                  <a:gd name="T2" fmla="*/ 302 w 518"/>
                  <a:gd name="T3" fmla="*/ 24 h 518"/>
                  <a:gd name="T4" fmla="*/ 216 w 518"/>
                  <a:gd name="T5" fmla="*/ 24 h 518"/>
                  <a:gd name="T6" fmla="*/ 24 w 518"/>
                  <a:gd name="T7" fmla="*/ 216 h 518"/>
                  <a:gd name="T8" fmla="*/ 24 w 518"/>
                  <a:gd name="T9" fmla="*/ 302 h 518"/>
                  <a:gd name="T10" fmla="*/ 216 w 518"/>
                  <a:gd name="T11" fmla="*/ 494 h 518"/>
                  <a:gd name="T12" fmla="*/ 302 w 518"/>
                  <a:gd name="T13" fmla="*/ 494 h 518"/>
                  <a:gd name="T14" fmla="*/ 494 w 518"/>
                  <a:gd name="T15" fmla="*/ 302 h 518"/>
                  <a:gd name="T16" fmla="*/ 494 w 518"/>
                  <a:gd name="T17" fmla="*/ 216 h 518"/>
                  <a:gd name="T18" fmla="*/ 482 w 518"/>
                  <a:gd name="T19" fmla="*/ 290 h 518"/>
                  <a:gd name="T20" fmla="*/ 289 w 518"/>
                  <a:gd name="T21" fmla="*/ 482 h 518"/>
                  <a:gd name="T22" fmla="*/ 228 w 518"/>
                  <a:gd name="T23" fmla="*/ 482 h 518"/>
                  <a:gd name="T24" fmla="*/ 36 w 518"/>
                  <a:gd name="T25" fmla="*/ 290 h 518"/>
                  <a:gd name="T26" fmla="*/ 36 w 518"/>
                  <a:gd name="T27" fmla="*/ 228 h 518"/>
                  <a:gd name="T28" fmla="*/ 228 w 518"/>
                  <a:gd name="T29" fmla="*/ 36 h 518"/>
                  <a:gd name="T30" fmla="*/ 290 w 518"/>
                  <a:gd name="T31" fmla="*/ 36 h 518"/>
                  <a:gd name="T32" fmla="*/ 482 w 518"/>
                  <a:gd name="T33" fmla="*/ 228 h 518"/>
                  <a:gd name="T34" fmla="*/ 482 w 518"/>
                  <a:gd name="T35" fmla="*/ 29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8" h="518">
                    <a:moveTo>
                      <a:pt x="494" y="216"/>
                    </a:moveTo>
                    <a:cubicBezTo>
                      <a:pt x="302" y="24"/>
                      <a:pt x="302" y="24"/>
                      <a:pt x="302" y="24"/>
                    </a:cubicBezTo>
                    <a:cubicBezTo>
                      <a:pt x="278" y="0"/>
                      <a:pt x="240" y="0"/>
                      <a:pt x="216" y="24"/>
                    </a:cubicBezTo>
                    <a:cubicBezTo>
                      <a:pt x="24" y="216"/>
                      <a:pt x="24" y="216"/>
                      <a:pt x="24" y="216"/>
                    </a:cubicBezTo>
                    <a:cubicBezTo>
                      <a:pt x="0" y="240"/>
                      <a:pt x="0" y="278"/>
                      <a:pt x="24" y="302"/>
                    </a:cubicBezTo>
                    <a:cubicBezTo>
                      <a:pt x="216" y="494"/>
                      <a:pt x="216" y="494"/>
                      <a:pt x="216" y="494"/>
                    </a:cubicBezTo>
                    <a:cubicBezTo>
                      <a:pt x="240" y="518"/>
                      <a:pt x="278" y="518"/>
                      <a:pt x="302" y="494"/>
                    </a:cubicBezTo>
                    <a:cubicBezTo>
                      <a:pt x="494" y="302"/>
                      <a:pt x="494" y="302"/>
                      <a:pt x="494" y="302"/>
                    </a:cubicBezTo>
                    <a:cubicBezTo>
                      <a:pt x="518" y="278"/>
                      <a:pt x="518" y="240"/>
                      <a:pt x="494" y="216"/>
                    </a:cubicBezTo>
                    <a:close/>
                    <a:moveTo>
                      <a:pt x="482" y="290"/>
                    </a:moveTo>
                    <a:cubicBezTo>
                      <a:pt x="289" y="482"/>
                      <a:pt x="289" y="482"/>
                      <a:pt x="289" y="482"/>
                    </a:cubicBezTo>
                    <a:cubicBezTo>
                      <a:pt x="273" y="499"/>
                      <a:pt x="245" y="499"/>
                      <a:pt x="228" y="482"/>
                    </a:cubicBezTo>
                    <a:cubicBezTo>
                      <a:pt x="36" y="290"/>
                      <a:pt x="36" y="290"/>
                      <a:pt x="36" y="290"/>
                    </a:cubicBezTo>
                    <a:cubicBezTo>
                      <a:pt x="19" y="273"/>
                      <a:pt x="19" y="245"/>
                      <a:pt x="36" y="228"/>
                    </a:cubicBezTo>
                    <a:cubicBezTo>
                      <a:pt x="228" y="36"/>
                      <a:pt x="228" y="36"/>
                      <a:pt x="228" y="36"/>
                    </a:cubicBezTo>
                    <a:cubicBezTo>
                      <a:pt x="245" y="19"/>
                      <a:pt x="273" y="19"/>
                      <a:pt x="290" y="36"/>
                    </a:cubicBezTo>
                    <a:cubicBezTo>
                      <a:pt x="482" y="228"/>
                      <a:pt x="482" y="228"/>
                      <a:pt x="482" y="228"/>
                    </a:cubicBezTo>
                    <a:cubicBezTo>
                      <a:pt x="499" y="245"/>
                      <a:pt x="499" y="273"/>
                      <a:pt x="482"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28">
                <a:extLst>
                  <a:ext uri="{FF2B5EF4-FFF2-40B4-BE49-F238E27FC236}">
                    <a16:creationId xmlns:a16="http://schemas.microsoft.com/office/drawing/2014/main" id="{3C3617A6-A3C9-45B8-8B68-32B84E6D9443}"/>
                  </a:ext>
                </a:extLst>
              </p:cNvPr>
              <p:cNvSpPr>
                <a:spLocks noEditPoints="1"/>
              </p:cNvSpPr>
              <p:nvPr/>
            </p:nvSpPr>
            <p:spPr bwMode="black">
              <a:xfrm>
                <a:off x="514350" y="2732088"/>
                <a:ext cx="785813" cy="785813"/>
              </a:xfrm>
              <a:custGeom>
                <a:avLst/>
                <a:gdLst>
                  <a:gd name="T0" fmla="*/ 432 w 442"/>
                  <a:gd name="T1" fmla="*/ 203 h 442"/>
                  <a:gd name="T2" fmla="*/ 239 w 442"/>
                  <a:gd name="T3" fmla="*/ 10 h 442"/>
                  <a:gd name="T4" fmla="*/ 203 w 442"/>
                  <a:gd name="T5" fmla="*/ 10 h 442"/>
                  <a:gd name="T6" fmla="*/ 10 w 442"/>
                  <a:gd name="T7" fmla="*/ 203 h 442"/>
                  <a:gd name="T8" fmla="*/ 10 w 442"/>
                  <a:gd name="T9" fmla="*/ 239 h 442"/>
                  <a:gd name="T10" fmla="*/ 203 w 442"/>
                  <a:gd name="T11" fmla="*/ 432 h 442"/>
                  <a:gd name="T12" fmla="*/ 239 w 442"/>
                  <a:gd name="T13" fmla="*/ 432 h 442"/>
                  <a:gd name="T14" fmla="*/ 432 w 442"/>
                  <a:gd name="T15" fmla="*/ 239 h 442"/>
                  <a:gd name="T16" fmla="*/ 432 w 442"/>
                  <a:gd name="T17" fmla="*/ 203 h 442"/>
                  <a:gd name="T18" fmla="*/ 292 w 442"/>
                  <a:gd name="T19" fmla="*/ 331 h 442"/>
                  <a:gd name="T20" fmla="*/ 270 w 442"/>
                  <a:gd name="T21" fmla="*/ 310 h 442"/>
                  <a:gd name="T22" fmla="*/ 245 w 442"/>
                  <a:gd name="T23" fmla="*/ 273 h 442"/>
                  <a:gd name="T24" fmla="*/ 245 w 442"/>
                  <a:gd name="T25" fmla="*/ 352 h 442"/>
                  <a:gd name="T26" fmla="*/ 189 w 442"/>
                  <a:gd name="T27" fmla="*/ 352 h 442"/>
                  <a:gd name="T28" fmla="*/ 189 w 442"/>
                  <a:gd name="T29" fmla="*/ 157 h 442"/>
                  <a:gd name="T30" fmla="*/ 154 w 442"/>
                  <a:gd name="T31" fmla="*/ 157 h 442"/>
                  <a:gd name="T32" fmla="*/ 154 w 442"/>
                  <a:gd name="T33" fmla="*/ 157 h 442"/>
                  <a:gd name="T34" fmla="*/ 146 w 442"/>
                  <a:gd name="T35" fmla="*/ 150 h 442"/>
                  <a:gd name="T36" fmla="*/ 147 w 442"/>
                  <a:gd name="T37" fmla="*/ 146 h 442"/>
                  <a:gd name="T38" fmla="*/ 215 w 442"/>
                  <a:gd name="T39" fmla="*/ 54 h 442"/>
                  <a:gd name="T40" fmla="*/ 286 w 442"/>
                  <a:gd name="T41" fmla="*/ 145 h 442"/>
                  <a:gd name="T42" fmla="*/ 286 w 442"/>
                  <a:gd name="T43" fmla="*/ 145 h 442"/>
                  <a:gd name="T44" fmla="*/ 288 w 442"/>
                  <a:gd name="T45" fmla="*/ 150 h 442"/>
                  <a:gd name="T46" fmla="*/ 280 w 442"/>
                  <a:gd name="T47" fmla="*/ 157 h 442"/>
                  <a:gd name="T48" fmla="*/ 280 w 442"/>
                  <a:gd name="T49" fmla="*/ 157 h 442"/>
                  <a:gd name="T50" fmla="*/ 245 w 442"/>
                  <a:gd name="T51" fmla="*/ 157 h 442"/>
                  <a:gd name="T52" fmla="*/ 245 w 442"/>
                  <a:gd name="T53" fmla="*/ 165 h 442"/>
                  <a:gd name="T54" fmla="*/ 246 w 442"/>
                  <a:gd name="T55" fmla="*/ 170 h 442"/>
                  <a:gd name="T56" fmla="*/ 257 w 442"/>
                  <a:gd name="T57" fmla="*/ 204 h 442"/>
                  <a:gd name="T58" fmla="*/ 300 w 442"/>
                  <a:gd name="T59" fmla="*/ 285 h 442"/>
                  <a:gd name="T60" fmla="*/ 320 w 442"/>
                  <a:gd name="T61" fmla="*/ 303 h 442"/>
                  <a:gd name="T62" fmla="*/ 292 w 442"/>
                  <a:gd name="T63" fmla="*/ 331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2" h="442">
                    <a:moveTo>
                      <a:pt x="432" y="203"/>
                    </a:moveTo>
                    <a:cubicBezTo>
                      <a:pt x="239" y="10"/>
                      <a:pt x="239" y="10"/>
                      <a:pt x="239" y="10"/>
                    </a:cubicBezTo>
                    <a:cubicBezTo>
                      <a:pt x="229" y="0"/>
                      <a:pt x="213" y="0"/>
                      <a:pt x="203" y="10"/>
                    </a:cubicBezTo>
                    <a:cubicBezTo>
                      <a:pt x="10" y="203"/>
                      <a:pt x="10" y="203"/>
                      <a:pt x="10" y="203"/>
                    </a:cubicBezTo>
                    <a:cubicBezTo>
                      <a:pt x="0" y="213"/>
                      <a:pt x="0" y="229"/>
                      <a:pt x="10" y="239"/>
                    </a:cubicBezTo>
                    <a:cubicBezTo>
                      <a:pt x="203" y="432"/>
                      <a:pt x="203" y="432"/>
                      <a:pt x="203" y="432"/>
                    </a:cubicBezTo>
                    <a:cubicBezTo>
                      <a:pt x="213" y="442"/>
                      <a:pt x="229" y="442"/>
                      <a:pt x="239" y="432"/>
                    </a:cubicBezTo>
                    <a:cubicBezTo>
                      <a:pt x="432" y="239"/>
                      <a:pt x="432" y="239"/>
                      <a:pt x="432" y="239"/>
                    </a:cubicBezTo>
                    <a:cubicBezTo>
                      <a:pt x="442" y="229"/>
                      <a:pt x="442" y="213"/>
                      <a:pt x="432" y="203"/>
                    </a:cubicBezTo>
                    <a:close/>
                    <a:moveTo>
                      <a:pt x="292" y="331"/>
                    </a:moveTo>
                    <a:cubicBezTo>
                      <a:pt x="284" y="325"/>
                      <a:pt x="277" y="318"/>
                      <a:pt x="270" y="310"/>
                    </a:cubicBezTo>
                    <a:cubicBezTo>
                      <a:pt x="260" y="299"/>
                      <a:pt x="252" y="286"/>
                      <a:pt x="245" y="273"/>
                    </a:cubicBezTo>
                    <a:cubicBezTo>
                      <a:pt x="245" y="352"/>
                      <a:pt x="245" y="352"/>
                      <a:pt x="245" y="352"/>
                    </a:cubicBezTo>
                    <a:cubicBezTo>
                      <a:pt x="189" y="352"/>
                      <a:pt x="189" y="352"/>
                      <a:pt x="189" y="352"/>
                    </a:cubicBezTo>
                    <a:cubicBezTo>
                      <a:pt x="189" y="157"/>
                      <a:pt x="189" y="157"/>
                      <a:pt x="189" y="157"/>
                    </a:cubicBezTo>
                    <a:cubicBezTo>
                      <a:pt x="154" y="157"/>
                      <a:pt x="154" y="157"/>
                      <a:pt x="154" y="157"/>
                    </a:cubicBezTo>
                    <a:cubicBezTo>
                      <a:pt x="154" y="157"/>
                      <a:pt x="154" y="157"/>
                      <a:pt x="154" y="157"/>
                    </a:cubicBezTo>
                    <a:cubicBezTo>
                      <a:pt x="150" y="157"/>
                      <a:pt x="146" y="154"/>
                      <a:pt x="146" y="150"/>
                    </a:cubicBezTo>
                    <a:cubicBezTo>
                      <a:pt x="146" y="148"/>
                      <a:pt x="147" y="147"/>
                      <a:pt x="147" y="146"/>
                    </a:cubicBezTo>
                    <a:cubicBezTo>
                      <a:pt x="215" y="54"/>
                      <a:pt x="215" y="54"/>
                      <a:pt x="215" y="54"/>
                    </a:cubicBezTo>
                    <a:cubicBezTo>
                      <a:pt x="286" y="145"/>
                      <a:pt x="286" y="145"/>
                      <a:pt x="286" y="145"/>
                    </a:cubicBezTo>
                    <a:cubicBezTo>
                      <a:pt x="286" y="145"/>
                      <a:pt x="286" y="145"/>
                      <a:pt x="286" y="145"/>
                    </a:cubicBezTo>
                    <a:cubicBezTo>
                      <a:pt x="287" y="146"/>
                      <a:pt x="288" y="148"/>
                      <a:pt x="288" y="150"/>
                    </a:cubicBezTo>
                    <a:cubicBezTo>
                      <a:pt x="288" y="154"/>
                      <a:pt x="284" y="157"/>
                      <a:pt x="280" y="157"/>
                    </a:cubicBezTo>
                    <a:cubicBezTo>
                      <a:pt x="280" y="157"/>
                      <a:pt x="280" y="157"/>
                      <a:pt x="280" y="157"/>
                    </a:cubicBezTo>
                    <a:cubicBezTo>
                      <a:pt x="245" y="157"/>
                      <a:pt x="245" y="157"/>
                      <a:pt x="245" y="157"/>
                    </a:cubicBezTo>
                    <a:cubicBezTo>
                      <a:pt x="245" y="165"/>
                      <a:pt x="245" y="165"/>
                      <a:pt x="245" y="165"/>
                    </a:cubicBezTo>
                    <a:cubicBezTo>
                      <a:pt x="245" y="166"/>
                      <a:pt x="246" y="168"/>
                      <a:pt x="246" y="170"/>
                    </a:cubicBezTo>
                    <a:cubicBezTo>
                      <a:pt x="249" y="179"/>
                      <a:pt x="252" y="191"/>
                      <a:pt x="257" y="204"/>
                    </a:cubicBezTo>
                    <a:cubicBezTo>
                      <a:pt x="266" y="230"/>
                      <a:pt x="281" y="263"/>
                      <a:pt x="300" y="285"/>
                    </a:cubicBezTo>
                    <a:cubicBezTo>
                      <a:pt x="307" y="292"/>
                      <a:pt x="313" y="298"/>
                      <a:pt x="320" y="303"/>
                    </a:cubicBezTo>
                    <a:lnTo>
                      <a:pt x="292"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38149119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7" name="Rectangle 6"/>
          <p:cNvSpPr/>
          <p:nvPr/>
        </p:nvSpPr>
        <p:spPr>
          <a:xfrm>
            <a:off x="446534" y="3085764"/>
            <a:ext cx="11298932" cy="3338149"/>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tx1">
                    <a:lumMod val="75000"/>
                    <a:lumOff val="25000"/>
                  </a:schemeClr>
                </a:solidFill>
              </a:defRPr>
            </a:lvl1pPr>
          </a:lstStyle>
          <a:p>
            <a:r>
              <a:rPr lang="en-US"/>
              <a:t>Click to edit Master title style</a:t>
            </a:r>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7">
            <a:extLst>
              <a:ext uri="{FF2B5EF4-FFF2-40B4-BE49-F238E27FC236}">
                <a16:creationId xmlns:a16="http://schemas.microsoft.com/office/drawing/2014/main" id="{7FA0ACE7-29A8-47D3-A7D9-257B711D8023}"/>
              </a:ext>
            </a:extLst>
          </p:cNvPr>
          <p:cNvSpPr>
            <a:spLocks noGrp="1"/>
          </p:cNvSpPr>
          <p:nvPr>
            <p:ph type="dt" sz="half" idx="10"/>
          </p:nvPr>
        </p:nvSpPr>
        <p:spPr/>
        <p:txBody>
          <a:bodyPr/>
          <a:lstStyle/>
          <a:p>
            <a:fld id="{ED291B17-9318-49DB-B28B-6E5994AE9581}" type="datetime1">
              <a:rPr lang="en-US" smtClean="0"/>
              <a:t>6/26/2020</a:t>
            </a:fld>
            <a:endParaRPr lang="en-US"/>
          </a:p>
        </p:txBody>
      </p:sp>
      <p:sp>
        <p:nvSpPr>
          <p:cNvPr id="9" name="Footer Placeholder 8">
            <a:extLst>
              <a:ext uri="{FF2B5EF4-FFF2-40B4-BE49-F238E27FC236}">
                <a16:creationId xmlns:a16="http://schemas.microsoft.com/office/drawing/2014/main" id="{DEC604B9-52E9-4810-8359-47206518D038}"/>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5898A89F-CA25-400F-B05A-AECBF2517E4F}"/>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141983048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2"/>
          </p:nvPr>
        </p:nvSpPr>
        <p:spPr>
          <a:xfrm>
            <a:off x="6187961" y="1273596"/>
            <a:ext cx="5737119" cy="5144688"/>
          </a:xfrm>
        </p:spPr>
        <p:txBody>
          <a:bodyPr>
            <a:noAutofit/>
          </a:bodyPr>
          <a:lstStyle/>
          <a:p>
            <a:pPr lvl="0"/>
            <a:endParaRPr lang="en-US"/>
          </a:p>
        </p:txBody>
      </p:sp>
      <p:sp>
        <p:nvSpPr>
          <p:cNvPr id="6" name="Text Placeholder 5"/>
          <p:cNvSpPr>
            <a:spLocks noGrp="1"/>
          </p:cNvSpPr>
          <p:nvPr>
            <p:ph type="body" sz="quarter" idx="13" hasCustomPrompt="1"/>
          </p:nvPr>
        </p:nvSpPr>
        <p:spPr>
          <a:xfrm>
            <a:off x="269240" y="1273598"/>
            <a:ext cx="5737119" cy="5143909"/>
          </a:xfrm>
        </p:spPr>
        <p:txBody>
          <a:bodyPr>
            <a:noAutofit/>
          </a:bodyPr>
          <a:lstStyle>
            <a:lvl1pPr>
              <a:lnSpc>
                <a:spcPct val="100000"/>
              </a:lnSpc>
              <a:spcBef>
                <a:spcPts val="0"/>
              </a:spcBef>
              <a:spcAft>
                <a:spcPts val="0"/>
              </a:spcAft>
              <a:defRPr sz="1567" b="0">
                <a:solidFill>
                  <a:schemeClr val="tx1"/>
                </a:solidFill>
              </a:defRPr>
            </a:lvl1pPr>
            <a:lvl2pPr marL="225609" indent="-225609">
              <a:lnSpc>
                <a:spcPct val="100000"/>
              </a:lnSpc>
              <a:spcBef>
                <a:spcPts val="0"/>
              </a:spcBef>
              <a:buFont typeface="Arial" panose="020B0604020202020204" pitchFamily="34" charset="0"/>
              <a:buChar char="•"/>
              <a:tabLst/>
              <a:defRPr baseline="0">
                <a:solidFill>
                  <a:schemeClr val="tx1"/>
                </a:solidFill>
              </a:defRPr>
            </a:lvl2pPr>
            <a:lvl3pPr marL="451219" indent="0">
              <a:lnSpc>
                <a:spcPct val="100000"/>
              </a:lnSpc>
              <a:spcBef>
                <a:spcPts val="0"/>
              </a:spcBef>
              <a:spcAft>
                <a:spcPts val="588"/>
              </a:spcAft>
              <a:defRPr/>
            </a:lvl3pPr>
          </a:lstStyle>
          <a:p>
            <a:pPr lvl="0"/>
            <a:r>
              <a:rPr lang="en-US"/>
              <a:t>First level</a:t>
            </a:r>
          </a:p>
          <a:p>
            <a:pPr lvl="1"/>
            <a:r>
              <a:rPr lang="en-US"/>
              <a:t>Second level</a:t>
            </a:r>
          </a:p>
        </p:txBody>
      </p:sp>
    </p:spTree>
    <p:extLst>
      <p:ext uri="{BB962C8B-B14F-4D97-AF65-F5344CB8AC3E}">
        <p14:creationId xmlns:p14="http://schemas.microsoft.com/office/powerpoint/2010/main" val="424844569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C62C03-A0DE-4C03-92B6-75FC8692F5F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836976-0E1D-4722-950B-FFDAC4182C4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Light"/>
              <a:ea typeface="+mn-ea"/>
              <a:cs typeface="+mn-cs"/>
            </a:endParaRPr>
          </a:p>
        </p:txBody>
      </p:sp>
      <p:sp>
        <p:nvSpPr>
          <p:cNvPr id="4" name="Footer Placeholder 3">
            <a:extLst>
              <a:ext uri="{FF2B5EF4-FFF2-40B4-BE49-F238E27FC236}">
                <a16:creationId xmlns:a16="http://schemas.microsoft.com/office/drawing/2014/main" id="{8F4C77A4-C0A4-4389-B48B-4DAD2A7D41D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6" b="0" i="0" u="none" strike="noStrike" kern="1200" cap="none" spc="0" normalizeH="0" baseline="0" noProof="0">
              <a:ln>
                <a:noFill/>
              </a:ln>
              <a:solidFill>
                <a:srgbClr val="505050"/>
              </a:solidFill>
              <a:effectLst/>
              <a:uLnTx/>
              <a:uFillTx/>
              <a:latin typeface="Segoe UI Light"/>
              <a:ea typeface="+mn-ea"/>
              <a:cs typeface="+mn-cs"/>
            </a:endParaRPr>
          </a:p>
        </p:txBody>
      </p:sp>
      <p:sp>
        <p:nvSpPr>
          <p:cNvPr id="5" name="Slide Number Placeholder 4">
            <a:extLst>
              <a:ext uri="{FF2B5EF4-FFF2-40B4-BE49-F238E27FC236}">
                <a16:creationId xmlns:a16="http://schemas.microsoft.com/office/drawing/2014/main" id="{F71D227B-9745-4602-B705-4F3223272F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0BCC5D-1A70-4D0A-B01F-7E76A17FA27C}" type="slidenum">
              <a:rPr kumimoji="0" lang="en-US" sz="970" b="0" i="0" u="none" strike="noStrike" kern="1200" cap="none" spc="0" normalizeH="0" baseline="0" noProof="0" smtClean="0">
                <a:ln>
                  <a:noFill/>
                </a:ln>
                <a:gradFill>
                  <a:gsLst>
                    <a:gs pos="5000">
                      <a:srgbClr val="505050"/>
                    </a:gs>
                    <a:gs pos="31000">
                      <a:srgbClr val="505050"/>
                    </a:gs>
                  </a:gsLst>
                  <a:lin ang="5400000" scaled="0"/>
                </a:gra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70" b="0" i="0" u="none" strike="noStrike" kern="1200" cap="none" spc="0" normalizeH="0" baseline="0" noProof="0">
              <a:ln>
                <a:noFill/>
              </a:ln>
              <a:gradFill>
                <a:gsLst>
                  <a:gs pos="5000">
                    <a:srgbClr val="505050"/>
                  </a:gs>
                  <a:gs pos="31000">
                    <a:srgbClr val="505050"/>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328339617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ivider + Index (Viz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7786E81-E6CB-644F-A2CF-67E98B2C4FFA}"/>
              </a:ext>
            </a:extLst>
          </p:cNvPr>
          <p:cNvPicPr>
            <a:picLocks noChangeAspect="1"/>
          </p:cNvPicPr>
          <p:nvPr userDrawn="1"/>
        </p:nvPicPr>
        <p:blipFill>
          <a:blip r:embed="rId2">
            <a:lum bright="13000"/>
            <a:alphaModFix amt="8000"/>
          </a:blip>
          <a:stretch>
            <a:fillRect/>
          </a:stretch>
        </p:blipFill>
        <p:spPr>
          <a:xfrm>
            <a:off x="5813612" y="115747"/>
            <a:ext cx="6014763" cy="6439596"/>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8" y="3276601"/>
            <a:ext cx="9195564" cy="1402440"/>
          </a:xfrm>
          <a:prstGeom prst="rect">
            <a:avLst/>
          </a:prstGeom>
        </p:spPr>
        <p:txBody>
          <a:bodyPr lIns="0" anchor="t" anchorCtr="0">
            <a:noAutofit/>
          </a:bodyPr>
          <a:lstStyle>
            <a:lvl1pPr>
              <a:defRPr sz="5400" baseline="0">
                <a:solidFill>
                  <a:schemeClr val="tx1"/>
                </a:solidFill>
              </a:defRPr>
            </a:lvl1pPr>
          </a:lstStyle>
          <a:p>
            <a:r>
              <a:rPr lang="en-US"/>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4"/>
            <a:ext cx="8452440" cy="685801"/>
          </a:xfrm>
          <a:prstGeom prst="rect">
            <a:avLst/>
          </a:prstGeom>
        </p:spPr>
        <p:txBody>
          <a:bodyPr vert="horz" lIns="0" tIns="0" rIns="0" bIns="0" rtlCol="0" anchor="b" anchorCtr="0">
            <a:noAutofit/>
          </a:bodyPr>
          <a:lstStyle>
            <a:lvl1pPr marL="457103" indent="-457103">
              <a:buFont typeface="+mj-lt"/>
              <a:buNone/>
              <a:defRPr sz="2400"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a:t>Click to edit Master text styles</a:t>
            </a:r>
          </a:p>
        </p:txBody>
      </p:sp>
      <p:sp>
        <p:nvSpPr>
          <p:cNvPr id="7" name="Text Placeholder 2">
            <a:extLst>
              <a:ext uri="{FF2B5EF4-FFF2-40B4-BE49-F238E27FC236}">
                <a16:creationId xmlns:a16="http://schemas.microsoft.com/office/drawing/2014/main" id="{80C3935E-1AD6-2C48-9FC4-9A48E6D6824E}"/>
              </a:ext>
            </a:extLst>
          </p:cNvPr>
          <p:cNvSpPr>
            <a:spLocks noGrp="1"/>
          </p:cNvSpPr>
          <p:nvPr>
            <p:ph type="body" sz="quarter" idx="30" hasCustomPrompt="1"/>
          </p:nvPr>
        </p:nvSpPr>
        <p:spPr>
          <a:xfrm>
            <a:off x="7509169" y="4416070"/>
            <a:ext cx="4225633" cy="2045982"/>
          </a:xfrm>
          <a:prstGeom prst="rect">
            <a:avLst/>
          </a:prstGeom>
        </p:spPr>
        <p:txBody>
          <a:bodyPr lIns="182880" anchor="ctr" anchorCtr="0">
            <a:normAutofit/>
          </a:bodyPr>
          <a:lstStyle>
            <a:lvl1pPr>
              <a:lnSpc>
                <a:spcPct val="110000"/>
              </a:lnSpc>
              <a:spcBef>
                <a:spcPts val="0"/>
              </a:spcBef>
              <a:spcAft>
                <a:spcPts val="1200"/>
              </a:spcAft>
              <a:defRPr sz="20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ontents of this section go here</a:t>
            </a:r>
          </a:p>
        </p:txBody>
      </p:sp>
      <p:cxnSp>
        <p:nvCxnSpPr>
          <p:cNvPr id="12" name="Straight Connector 11">
            <a:extLst>
              <a:ext uri="{FF2B5EF4-FFF2-40B4-BE49-F238E27FC236}">
                <a16:creationId xmlns:a16="http://schemas.microsoft.com/office/drawing/2014/main" id="{3E757CA4-1FCF-A447-967E-3A3240DB80B6}"/>
              </a:ext>
            </a:extLst>
          </p:cNvPr>
          <p:cNvCxnSpPr>
            <a:cxnSpLocks/>
          </p:cNvCxnSpPr>
          <p:nvPr userDrawn="1"/>
        </p:nvCxnSpPr>
        <p:spPr>
          <a:xfrm>
            <a:off x="7509167" y="4416070"/>
            <a:ext cx="0" cy="204598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010902"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54442776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000" b="1" i="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8" name="Text Placeholder 6">
            <a:extLst>
              <a:ext uri="{FF2B5EF4-FFF2-40B4-BE49-F238E27FC236}">
                <a16:creationId xmlns:a16="http://schemas.microsoft.com/office/drawing/2014/main" id="{7441EAAC-4009-FE41-9D4D-BFD8BC114C3D}"/>
              </a:ext>
            </a:extLst>
          </p:cNvPr>
          <p:cNvSpPr>
            <a:spLocks noGrp="1"/>
          </p:cNvSpPr>
          <p:nvPr>
            <p:ph type="body" sz="quarter" idx="29"/>
          </p:nvPr>
        </p:nvSpPr>
        <p:spPr>
          <a:xfrm>
            <a:off x="457201" y="1737361"/>
            <a:ext cx="5647422" cy="4642802"/>
          </a:xfrm>
        </p:spPr>
        <p:txBody>
          <a:bodyPr tIns="91440" r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2">
            <a:extLst>
              <a:ext uri="{FF2B5EF4-FFF2-40B4-BE49-F238E27FC236}">
                <a16:creationId xmlns:a16="http://schemas.microsoft.com/office/drawing/2014/main" id="{43E538A0-4230-B643-AC16-1FEDE1BAAC5F}"/>
              </a:ext>
            </a:extLst>
          </p:cNvPr>
          <p:cNvSpPr>
            <a:spLocks noGrp="1"/>
          </p:cNvSpPr>
          <p:nvPr>
            <p:ph type="subTitle" idx="27"/>
          </p:nvPr>
        </p:nvSpPr>
        <p:spPr>
          <a:xfrm>
            <a:off x="457200" y="1051560"/>
            <a:ext cx="11277600" cy="685800"/>
          </a:xfrm>
        </p:spPr>
        <p:txBody>
          <a:bodyPr/>
          <a:lstStyle>
            <a:lvl1pPr marL="0" indent="0" algn="l">
              <a:buNone/>
              <a:defRPr sz="2400" b="1" i="0" spc="-60" baseline="0">
                <a:solidFill>
                  <a:schemeClr val="tx2"/>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6">
            <a:extLst>
              <a:ext uri="{FF2B5EF4-FFF2-40B4-BE49-F238E27FC236}">
                <a16:creationId xmlns:a16="http://schemas.microsoft.com/office/drawing/2014/main" id="{D8218F52-A8B7-3C42-A9ED-A133769FACE6}"/>
              </a:ext>
            </a:extLst>
          </p:cNvPr>
          <p:cNvSpPr>
            <a:spLocks noGrp="1"/>
          </p:cNvSpPr>
          <p:nvPr>
            <p:ph type="body" sz="quarter" idx="33"/>
          </p:nvPr>
        </p:nvSpPr>
        <p:spPr>
          <a:xfrm>
            <a:off x="6104623" y="1737361"/>
            <a:ext cx="5630176" cy="4642802"/>
          </a:xfrm>
        </p:spPr>
        <p:txBody>
          <a:bodyPr lIns="182880" tIns="91440" r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846109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000" b="0" i="0" baseline="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0" i="0" spc="-60" baseline="0">
                <a:solidFill>
                  <a:schemeClr val="tx2"/>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Text Placeholder 6">
            <a:extLst>
              <a:ext uri="{FF2B5EF4-FFF2-40B4-BE49-F238E27FC236}">
                <a16:creationId xmlns:a16="http://schemas.microsoft.com/office/drawing/2014/main" id="{BD5B5418-980D-C64C-AD17-C5AB88362FAB}"/>
              </a:ext>
            </a:extLst>
          </p:cNvPr>
          <p:cNvSpPr>
            <a:spLocks noGrp="1"/>
          </p:cNvSpPr>
          <p:nvPr>
            <p:ph type="body" sz="quarter" idx="29"/>
          </p:nvPr>
        </p:nvSpPr>
        <p:spPr>
          <a:xfrm>
            <a:off x="457200" y="1737361"/>
            <a:ext cx="11277599" cy="4642802"/>
          </a:xfrm>
        </p:spPr>
        <p:txBody>
          <a:bodyPr t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728002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77A80767-0168-4202-AF54-9FDB461E3B29}" type="slidenum">
              <a:rPr lang="en-US" smtClean="0"/>
              <a:pPr/>
              <a:t>‹#›</a:t>
            </a:fld>
            <a:endParaRPr lang="en-US"/>
          </a:p>
        </p:txBody>
      </p:sp>
      <p:sp>
        <p:nvSpPr>
          <p:cNvPr id="4" name="Title Placeholder 1">
            <a:extLst>
              <a:ext uri="{FF2B5EF4-FFF2-40B4-BE49-F238E27FC236}">
                <a16:creationId xmlns:a16="http://schemas.microsoft.com/office/drawing/2014/main" id="{0566DA91-9CCE-4F12-8091-6B001FEC79A2}"/>
              </a:ext>
            </a:extLst>
          </p:cNvPr>
          <p:cNvSpPr>
            <a:spLocks noGrp="1"/>
          </p:cNvSpPr>
          <p:nvPr>
            <p:ph type="title"/>
          </p:nvPr>
        </p:nvSpPr>
        <p:spPr>
          <a:xfrm>
            <a:off x="390833" y="467180"/>
            <a:ext cx="11416300" cy="511268"/>
          </a:xfrm>
          <a:prstGeom prst="rect">
            <a:avLst/>
          </a:prstGeom>
        </p:spPr>
        <p:txBody>
          <a:bodyPr vert="horz" wrap="square" lIns="0" tIns="91440" rIns="0" bIns="91440" rtlCol="0" anchor="t">
            <a:noAutofit/>
          </a:bodyPr>
          <a:lstStyle/>
          <a:p>
            <a:r>
              <a:rPr lang="en-US"/>
              <a:t>Click to edit Master title style</a:t>
            </a:r>
          </a:p>
        </p:txBody>
      </p:sp>
    </p:spTree>
    <p:extLst>
      <p:ext uri="{BB962C8B-B14F-4D97-AF65-F5344CB8AC3E}">
        <p14:creationId xmlns:p14="http://schemas.microsoft.com/office/powerpoint/2010/main" val="415549485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37851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85B4A-7D71-4720-9BE2-BF2CDC3AD3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D973440-DDB0-4804-804A-034CB774579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B2E8B0-E598-4122-A8F2-98C5CBF64C21}"/>
              </a:ext>
            </a:extLst>
          </p:cNvPr>
          <p:cNvSpPr>
            <a:spLocks noGrp="1"/>
          </p:cNvSpPr>
          <p:nvPr>
            <p:ph type="dt" sz="half" idx="10"/>
          </p:nvPr>
        </p:nvSpPr>
        <p:spPr/>
        <p:txBody>
          <a:bodyPr/>
          <a:lstStyle/>
          <a:p>
            <a:fld id="{A60B3D8F-E8D4-466B-8AF1-BD0CE7A90D22}" type="datetimeFigureOut">
              <a:rPr lang="en-US" smtClean="0"/>
              <a:t>6/26/2020</a:t>
            </a:fld>
            <a:endParaRPr lang="en-US"/>
          </a:p>
        </p:txBody>
      </p:sp>
      <p:sp>
        <p:nvSpPr>
          <p:cNvPr id="5" name="Footer Placeholder 4">
            <a:extLst>
              <a:ext uri="{FF2B5EF4-FFF2-40B4-BE49-F238E27FC236}">
                <a16:creationId xmlns:a16="http://schemas.microsoft.com/office/drawing/2014/main" id="{2E34AEC8-B1A6-495E-8678-58C943D1EE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43C659-CE49-4DF1-B040-65DBCA79D005}"/>
              </a:ext>
            </a:extLst>
          </p:cNvPr>
          <p:cNvSpPr>
            <a:spLocks noGrp="1"/>
          </p:cNvSpPr>
          <p:nvPr>
            <p:ph type="sldNum" sz="quarter" idx="12"/>
          </p:nvPr>
        </p:nvSpPr>
        <p:spPr/>
        <p:txBody>
          <a:bodyPr/>
          <a:lstStyle/>
          <a:p>
            <a:fld id="{918FBFAF-3C50-4804-8593-CB0E9398A00A}" type="slidenum">
              <a:rPr lang="en-US" smtClean="0"/>
              <a:t>‹#›</a:t>
            </a:fld>
            <a:endParaRPr lang="en-US"/>
          </a:p>
        </p:txBody>
      </p:sp>
    </p:spTree>
    <p:extLst>
      <p:ext uri="{BB962C8B-B14F-4D97-AF65-F5344CB8AC3E}">
        <p14:creationId xmlns:p14="http://schemas.microsoft.com/office/powerpoint/2010/main" val="104564877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4BA2-7826-4817-8B85-FEA66C5991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237CB4-6670-4009-8902-AD9607D2E38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448384-805D-42F8-9F38-180DD29B20B9}"/>
              </a:ext>
            </a:extLst>
          </p:cNvPr>
          <p:cNvSpPr>
            <a:spLocks noGrp="1"/>
          </p:cNvSpPr>
          <p:nvPr>
            <p:ph type="dt" sz="half" idx="10"/>
          </p:nvPr>
        </p:nvSpPr>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85000"/>
                </a:prstClr>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E2E6B5D6-7B7C-4DE2-B3F9-3B7047C34718}"/>
              </a:ext>
            </a:extLst>
          </p:cNvPr>
          <p:cNvSpPr>
            <a:spLocks noGrp="1"/>
          </p:cNvSpPr>
          <p:nvPr>
            <p:ph type="sldNum" sz="quarter" idx="12"/>
          </p:nvPr>
        </p:nvSpPr>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fld id="{2064D0AA-63B8-4954-A966-5C7D07E178C1}" type="slidenum">
              <a:rPr kumimoji="0" lang="en-US" sz="1000" b="0" i="0" u="none" strike="noStrike" kern="1200" cap="none" spc="0" normalizeH="0" baseline="0" noProof="0" smtClean="0">
                <a:ln>
                  <a:noFill/>
                </a:ln>
                <a:solidFill>
                  <a:prstClr val="white">
                    <a:lumMod val="85000"/>
                  </a:prstClr>
                </a:solidFill>
                <a:effectLst/>
                <a:uLnTx/>
                <a:uFillTx/>
                <a:latin typeface="Segoe UI"/>
                <a:ea typeface="+mn-ea"/>
                <a:cs typeface="+mn-cs"/>
              </a:rPr>
              <a:pPr marL="0" marR="0" lvl="0" indent="0" algn="l" defTabSz="914049"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lumMod val="85000"/>
                </a:prstClr>
              </a:solidFill>
              <a:effectLst/>
              <a:uLnTx/>
              <a:uFillTx/>
              <a:latin typeface="Segoe UI"/>
              <a:ea typeface="+mn-ea"/>
              <a:cs typeface="+mn-cs"/>
            </a:endParaRPr>
          </a:p>
        </p:txBody>
      </p:sp>
    </p:spTree>
    <p:extLst>
      <p:ext uri="{BB962C8B-B14F-4D97-AF65-F5344CB8AC3E}">
        <p14:creationId xmlns:p14="http://schemas.microsoft.com/office/powerpoint/2010/main" val="220103266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1085282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4600"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24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517065"/>
          </a:xfrm>
        </p:spPr>
        <p:txBody>
          <a:bodyPr/>
          <a:lstStyle>
            <a:lvl1pPr marL="0" indent="0">
              <a:buNone/>
              <a:defRPr lang="en-US" sz="24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594360" y="6419088"/>
            <a:ext cx="785227" cy="164592"/>
          </a:xfrm>
          <a:prstGeom prst="rect">
            <a:avLst/>
          </a:prstGeom>
        </p:spPr>
      </p:pic>
    </p:spTree>
    <p:extLst>
      <p:ext uri="{BB962C8B-B14F-4D97-AF65-F5344CB8AC3E}">
        <p14:creationId xmlns:p14="http://schemas.microsoft.com/office/powerpoint/2010/main" val="12018809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523220"/>
          </a:xfrm>
        </p:spPr>
        <p:txBody>
          <a:bodyPr/>
          <a:lstStyle>
            <a:lvl1pPr>
              <a:defRPr lang="en-US" sz="3400" b="0" kern="1200" cap="none" spc="0" baseline="0" dirty="0">
                <a:ln w="3175">
                  <a:noFill/>
                </a:ln>
                <a:solidFill>
                  <a:srgbClr val="0078D4"/>
                </a:solidFill>
                <a:effectLst/>
                <a:latin typeface="Segoe UI" panose="020B0502040204020203" pitchFamily="34" charset="0"/>
                <a:ea typeface="+mn-ea"/>
                <a:cs typeface="Segoe UI" pitchFamily="34" charset="0"/>
              </a:defRPr>
            </a:lvl1pPr>
          </a:lstStyle>
          <a:p>
            <a:r>
              <a:rPr lang="en-US"/>
              <a:t>Click to edit Master title style</a:t>
            </a:r>
          </a:p>
        </p:txBody>
      </p:sp>
      <p:pic>
        <p:nvPicPr>
          <p:cNvPr id="3" name="MS logo gray - EMF" descr="Microsoft logo, gray text version">
            <a:extLst>
              <a:ext uri="{FF2B5EF4-FFF2-40B4-BE49-F238E27FC236}">
                <a16:creationId xmlns:a16="http://schemas.microsoft.com/office/drawing/2014/main" id="{C86308C6-53AE-0942-A0C9-4C6C9C35C7E5}"/>
              </a:ext>
            </a:extLst>
          </p:cNvPr>
          <p:cNvPicPr>
            <a:picLocks noChangeAspect="1"/>
          </p:cNvPicPr>
          <p:nvPr userDrawn="1"/>
        </p:nvPicPr>
        <p:blipFill>
          <a:blip r:embed="rId2"/>
          <a:stretch>
            <a:fillRect/>
          </a:stretch>
        </p:blipFill>
        <p:spPr bwMode="black">
          <a:xfrm>
            <a:off x="588263" y="6423102"/>
            <a:ext cx="771319" cy="165169"/>
          </a:xfrm>
          <a:prstGeom prst="rect">
            <a:avLst/>
          </a:prstGeom>
        </p:spPr>
      </p:pic>
    </p:spTree>
    <p:extLst>
      <p:ext uri="{BB962C8B-B14F-4D97-AF65-F5344CB8AC3E}">
        <p14:creationId xmlns:p14="http://schemas.microsoft.com/office/powerpoint/2010/main" val="157407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010250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1728479C-F919-436D-98DA-63AFD420E287}"/>
              </a:ext>
            </a:extLst>
          </p:cNvPr>
          <p:cNvSpPr>
            <a:spLocks noGrp="1"/>
          </p:cNvSpPr>
          <p:nvPr>
            <p:ph type="ftr" sz="quarter" idx="11"/>
          </p:nvPr>
        </p:nvSpPr>
        <p:spPr/>
        <p:txBody>
          <a:bodyPr/>
          <a:lstStyle/>
          <a:p>
            <a:r>
              <a:rPr lang="en-IN"/>
              <a:t>Microsoft Confidential—Internal Only</a:t>
            </a:r>
          </a:p>
        </p:txBody>
      </p:sp>
      <p:sp>
        <p:nvSpPr>
          <p:cNvPr id="3" name="Slide Number Placeholder 2">
            <a:extLst>
              <a:ext uri="{FF2B5EF4-FFF2-40B4-BE49-F238E27FC236}">
                <a16:creationId xmlns:a16="http://schemas.microsoft.com/office/drawing/2014/main" id="{C59F5A40-8D88-4AD1-A749-15D770BB7118}"/>
              </a:ext>
            </a:extLst>
          </p:cNvPr>
          <p:cNvSpPr>
            <a:spLocks noGrp="1"/>
          </p:cNvSpPr>
          <p:nvPr>
            <p:ph type="sldNum" sz="quarter" idx="12"/>
          </p:nvPr>
        </p:nvSpPr>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21777026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43036876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696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8023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509892"/>
            <a:ext cx="11018520" cy="369332"/>
          </a:xfrm>
        </p:spPr>
        <p:txBody>
          <a:bodyPr anchor="b"/>
          <a:lstStyle>
            <a:lvl1pPr>
              <a:defRPr sz="2400">
                <a:gradFill>
                  <a:gsLst>
                    <a:gs pos="83000">
                      <a:schemeClr val="tx1"/>
                    </a:gs>
                    <a:gs pos="100000">
                      <a:schemeClr val="tx1"/>
                    </a:gs>
                  </a:gsLst>
                  <a:lin ang="5400000" scaled="1"/>
                </a:gradFill>
              </a:defRPr>
            </a:lvl1pPr>
          </a:lstStyle>
          <a:p>
            <a:r>
              <a:rPr lang="en-US"/>
              <a:t>Click to edit Master title style</a:t>
            </a:r>
          </a:p>
        </p:txBody>
      </p:sp>
      <p:sp>
        <p:nvSpPr>
          <p:cNvPr id="2" name="Footer Placeholder 1">
            <a:extLst>
              <a:ext uri="{FF2B5EF4-FFF2-40B4-BE49-F238E27FC236}">
                <a16:creationId xmlns:a16="http://schemas.microsoft.com/office/drawing/2014/main" id="{E3C38696-B7A4-494C-891F-D5957A8EBD90}"/>
              </a:ext>
            </a:extLst>
          </p:cNvPr>
          <p:cNvSpPr>
            <a:spLocks noGrp="1"/>
          </p:cNvSpPr>
          <p:nvPr>
            <p:ph type="ftr" sz="quarter" idx="10"/>
          </p:nvPr>
        </p:nvSpPr>
        <p:spPr/>
        <p:txBody>
          <a:bodyPr/>
          <a:lstStyle/>
          <a:p>
            <a:r>
              <a:rPr lang="en-IN"/>
              <a:t>Microsoft Confidential—Internal Only</a:t>
            </a:r>
          </a:p>
        </p:txBody>
      </p:sp>
      <p:sp>
        <p:nvSpPr>
          <p:cNvPr id="9" name="Slide Number Placeholder 8">
            <a:extLst>
              <a:ext uri="{FF2B5EF4-FFF2-40B4-BE49-F238E27FC236}">
                <a16:creationId xmlns:a16="http://schemas.microsoft.com/office/drawing/2014/main" id="{A44E8542-DFF4-45B2-AEC4-83E0F7BB0F23}"/>
              </a:ext>
            </a:extLst>
          </p:cNvPr>
          <p:cNvSpPr>
            <a:spLocks noGrp="1"/>
          </p:cNvSpPr>
          <p:nvPr>
            <p:ph type="sldNum" sz="quarter" idx="11"/>
          </p:nvPr>
        </p:nvSpPr>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34105506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100063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0841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790452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31365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785009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83000">
                      <a:schemeClr val="tx1"/>
                    </a:gs>
                    <a:gs pos="100000">
                      <a:schemeClr val="tx1"/>
                    </a:gs>
                  </a:gsLst>
                  <a:lin ang="5400000" scaled="1"/>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066717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40896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6548582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F0A695F-7F6A-41D9-A136-9FDC1C0AAB60}"/>
              </a:ext>
            </a:extLst>
          </p:cNvPr>
          <p:cNvSpPr>
            <a:spLocks noGrp="1"/>
          </p:cNvSpPr>
          <p:nvPr>
            <p:ph type="ftr" sz="quarter" idx="10"/>
          </p:nvPr>
        </p:nvSpPr>
        <p:spPr/>
        <p:txBody>
          <a:bodyPr/>
          <a:lstStyle/>
          <a:p>
            <a:r>
              <a:rPr lang="en-IN"/>
              <a:t>Microsoft Confidential—Internal Only</a:t>
            </a:r>
          </a:p>
        </p:txBody>
      </p:sp>
      <p:sp>
        <p:nvSpPr>
          <p:cNvPr id="3" name="Slide Number Placeholder 2">
            <a:extLst>
              <a:ext uri="{FF2B5EF4-FFF2-40B4-BE49-F238E27FC236}">
                <a16:creationId xmlns:a16="http://schemas.microsoft.com/office/drawing/2014/main" id="{8C33805D-8F6B-40DD-A002-FB3A9E7F2628}"/>
              </a:ext>
            </a:extLst>
          </p:cNvPr>
          <p:cNvSpPr>
            <a:spLocks noGrp="1"/>
          </p:cNvSpPr>
          <p:nvPr>
            <p:ph type="sldNum" sz="quarter" idx="11"/>
          </p:nvPr>
        </p:nvSpPr>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3839198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28702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091524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825312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179083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200381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Break_B">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848" y="0"/>
            <a:ext cx="12218868" cy="6858000"/>
          </a:xfrm>
          <a:prstGeom prst="rect">
            <a:avLst/>
          </a:prstGeom>
        </p:spPr>
      </p:pic>
      <p:sp>
        <p:nvSpPr>
          <p:cNvPr id="8" name="Rectangle 7"/>
          <p:cNvSpPr/>
          <p:nvPr userDrawn="1"/>
        </p:nvSpPr>
        <p:spPr>
          <a:xfrm>
            <a:off x="-279" y="0"/>
            <a:ext cx="12192558" cy="6857999"/>
          </a:xfrm>
          <a:prstGeom prst="rect">
            <a:avLst/>
          </a:prstGeom>
          <a:solidFill>
            <a:schemeClr val="accent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p:cNvSpPr>
            <a:spLocks noGrp="1"/>
          </p:cNvSpPr>
          <p:nvPr>
            <p:ph type="title"/>
          </p:nvPr>
        </p:nvSpPr>
        <p:spPr>
          <a:xfrm>
            <a:off x="512619" y="2808286"/>
            <a:ext cx="11117406" cy="1325563"/>
          </a:xfrm>
          <a:prstGeom prst="rect">
            <a:avLst/>
          </a:prstGeom>
        </p:spPr>
        <p:txBody>
          <a:bodyPr anchor="ctr">
            <a:normAutofit/>
          </a:bodyPr>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9375379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Section Break_B">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848" y="0"/>
            <a:ext cx="12218868" cy="6858000"/>
          </a:xfrm>
          <a:prstGeom prst="rect">
            <a:avLst/>
          </a:prstGeom>
        </p:spPr>
      </p:pic>
      <p:sp>
        <p:nvSpPr>
          <p:cNvPr id="8" name="Rectangle 7"/>
          <p:cNvSpPr/>
          <p:nvPr userDrawn="1"/>
        </p:nvSpPr>
        <p:spPr>
          <a:xfrm>
            <a:off x="-279" y="0"/>
            <a:ext cx="12192558" cy="6857999"/>
          </a:xfrm>
          <a:prstGeom prst="rect">
            <a:avLst/>
          </a:prstGeom>
          <a:solidFill>
            <a:schemeClr val="accent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p:cNvSpPr>
            <a:spLocks noGrp="1"/>
          </p:cNvSpPr>
          <p:nvPr>
            <p:ph type="title"/>
          </p:nvPr>
        </p:nvSpPr>
        <p:spPr>
          <a:xfrm>
            <a:off x="512619" y="2808286"/>
            <a:ext cx="11117406" cy="1325563"/>
          </a:xfrm>
          <a:prstGeom prst="rect">
            <a:avLst/>
          </a:prstGeom>
        </p:spPr>
        <p:txBody>
          <a:bodyPr anchor="ctr">
            <a:normAutofit/>
          </a:bodyPr>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494085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9400503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3707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884718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01899" y="572762"/>
            <a:ext cx="10988203" cy="907941"/>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384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361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4BA2-7826-4817-8B85-FEA66C5991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237CB4-6670-4009-8902-AD9607D2E38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448384-805D-42F8-9F38-180DD29B20B9}"/>
              </a:ext>
            </a:extLst>
          </p:cNvPr>
          <p:cNvSpPr>
            <a:spLocks noGrp="1"/>
          </p:cNvSpPr>
          <p:nvPr>
            <p:ph type="dt" sz="half" idx="10"/>
          </p:nvPr>
        </p:nvSpPr>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85000"/>
                </a:prstClr>
              </a:solidFill>
              <a:effectLst/>
              <a:uLnTx/>
              <a:uFillTx/>
              <a:latin typeface="Segoe UI"/>
              <a:ea typeface="+mn-ea"/>
              <a:cs typeface="+mn-cs"/>
            </a:endParaRPr>
          </a:p>
        </p:txBody>
      </p:sp>
      <p:sp>
        <p:nvSpPr>
          <p:cNvPr id="6" name="Slide Number Placeholder 5">
            <a:extLst>
              <a:ext uri="{FF2B5EF4-FFF2-40B4-BE49-F238E27FC236}">
                <a16:creationId xmlns:a16="http://schemas.microsoft.com/office/drawing/2014/main" id="{E2E6B5D6-7B7C-4DE2-B3F9-3B7047C34718}"/>
              </a:ext>
            </a:extLst>
          </p:cNvPr>
          <p:cNvSpPr>
            <a:spLocks noGrp="1"/>
          </p:cNvSpPr>
          <p:nvPr>
            <p:ph type="sldNum" sz="quarter" idx="12"/>
          </p:nvPr>
        </p:nvSpPr>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fld id="{2064D0AA-63B8-4954-A966-5C7D07E178C1}" type="slidenum">
              <a:rPr kumimoji="0" lang="en-US" sz="1000" b="0" i="0" u="none" strike="noStrike" kern="1200" cap="none" spc="0" normalizeH="0" baseline="0" noProof="0" smtClean="0">
                <a:ln>
                  <a:noFill/>
                </a:ln>
                <a:solidFill>
                  <a:prstClr val="white">
                    <a:lumMod val="85000"/>
                  </a:prstClr>
                </a:solidFill>
                <a:effectLst/>
                <a:uLnTx/>
                <a:uFillTx/>
                <a:latin typeface="Segoe UI"/>
                <a:ea typeface="+mn-ea"/>
                <a:cs typeface="+mn-cs"/>
              </a:rPr>
              <a:pPr marL="0" marR="0" lvl="0" indent="0" algn="l" defTabSz="914049"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lumMod val="85000"/>
                </a:prstClr>
              </a:solidFill>
              <a:effectLst/>
              <a:uLnTx/>
              <a:uFillTx/>
              <a:latin typeface="Segoe UI"/>
              <a:ea typeface="+mn-ea"/>
              <a:cs typeface="+mn-cs"/>
            </a:endParaRPr>
          </a:p>
        </p:txBody>
      </p:sp>
    </p:spTree>
    <p:extLst>
      <p:ext uri="{BB962C8B-B14F-4D97-AF65-F5344CB8AC3E}">
        <p14:creationId xmlns:p14="http://schemas.microsoft.com/office/powerpoint/2010/main" val="20564319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chemeClr val="bg2">
                    <a:lumMod val="50000"/>
                  </a:schemeClr>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a:t>Presenter: First Name, Last Name</a:t>
            </a:r>
          </a:p>
        </p:txBody>
      </p:sp>
    </p:spTree>
    <p:extLst>
      <p:ext uri="{BB962C8B-B14F-4D97-AF65-F5344CB8AC3E}">
        <p14:creationId xmlns:p14="http://schemas.microsoft.com/office/powerpoint/2010/main" val="50064622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ection Divider">
    <p:bg>
      <p:bgPr>
        <a:solidFill>
          <a:schemeClr val="accent1"/>
        </a:solidFill>
        <a:effectLst/>
      </p:bgPr>
    </p:bg>
    <p:spTree>
      <p:nvGrpSpPr>
        <p:cNvPr id="1" name=""/>
        <p:cNvGrpSpPr/>
        <p:nvPr/>
      </p:nvGrpSpPr>
      <p:grpSpPr>
        <a:xfrm>
          <a:off x="0" y="0"/>
          <a:ext cx="0" cy="0"/>
          <a:chOff x="0" y="0"/>
          <a:chExt cx="0" cy="0"/>
        </a:xfrm>
      </p:grpSpPr>
      <p:pic>
        <p:nvPicPr>
          <p:cNvPr id="55" name="Picture 54">
            <a:extLst>
              <a:ext uri="{FF2B5EF4-FFF2-40B4-BE49-F238E27FC236}">
                <a16:creationId xmlns:a16="http://schemas.microsoft.com/office/drawing/2014/main" id="{CA39075C-73E0-4B22-95A8-974D1B40A53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8431180" y="4894399"/>
            <a:ext cx="1956901" cy="1956899"/>
          </a:xfrm>
          <a:custGeom>
            <a:avLst/>
            <a:gdLst>
              <a:gd name="connsiteX0" fmla="*/ 640269 w 1280539"/>
              <a:gd name="connsiteY0" fmla="*/ 0 h 1280539"/>
              <a:gd name="connsiteX1" fmla="*/ 1280539 w 1280539"/>
              <a:gd name="connsiteY1" fmla="*/ 640270 h 1280539"/>
              <a:gd name="connsiteX2" fmla="*/ 640269 w 1280539"/>
              <a:gd name="connsiteY2" fmla="*/ 1280539 h 1280539"/>
              <a:gd name="connsiteX3" fmla="*/ 0 w 1280539"/>
              <a:gd name="connsiteY3" fmla="*/ 640270 h 1280539"/>
            </a:gdLst>
            <a:ahLst/>
            <a:cxnLst>
              <a:cxn ang="0">
                <a:pos x="connsiteX0" y="connsiteY0"/>
              </a:cxn>
              <a:cxn ang="0">
                <a:pos x="connsiteX1" y="connsiteY1"/>
              </a:cxn>
              <a:cxn ang="0">
                <a:pos x="connsiteX2" y="connsiteY2"/>
              </a:cxn>
              <a:cxn ang="0">
                <a:pos x="connsiteX3" y="connsiteY3"/>
              </a:cxn>
            </a:cxnLst>
            <a:rect l="l" t="t" r="r" b="b"/>
            <a:pathLst>
              <a:path w="1280539" h="1280539">
                <a:moveTo>
                  <a:pt x="640269" y="0"/>
                </a:moveTo>
                <a:lnTo>
                  <a:pt x="1280539" y="640270"/>
                </a:lnTo>
                <a:lnTo>
                  <a:pt x="640269" y="1280539"/>
                </a:lnTo>
                <a:lnTo>
                  <a:pt x="0" y="640270"/>
                </a:lnTo>
                <a:close/>
              </a:path>
            </a:pathLst>
          </a:custGeom>
        </p:spPr>
      </p:pic>
      <p:sp>
        <p:nvSpPr>
          <p:cNvPr id="320" name="Freeform: Shape 319">
            <a:extLst>
              <a:ext uri="{FF2B5EF4-FFF2-40B4-BE49-F238E27FC236}">
                <a16:creationId xmlns:a16="http://schemas.microsoft.com/office/drawing/2014/main" id="{A830C480-570D-46D8-BA3F-5983FCCD2658}"/>
              </a:ext>
            </a:extLst>
          </p:cNvPr>
          <p:cNvSpPr/>
          <p:nvPr userDrawn="1"/>
        </p:nvSpPr>
        <p:spPr bwMode="auto">
          <a:xfrm>
            <a:off x="8315875" y="4779094"/>
            <a:ext cx="2187510" cy="2083884"/>
          </a:xfrm>
          <a:custGeom>
            <a:avLst/>
            <a:gdLst>
              <a:gd name="connsiteX0" fmla="*/ 1093755 w 2187510"/>
              <a:gd name="connsiteY0" fmla="*/ 0 h 2083884"/>
              <a:gd name="connsiteX1" fmla="*/ 2187510 w 2187510"/>
              <a:gd name="connsiteY1" fmla="*/ 1093755 h 2083884"/>
              <a:gd name="connsiteX2" fmla="*/ 1197381 w 2187510"/>
              <a:gd name="connsiteY2" fmla="*/ 2083884 h 2083884"/>
              <a:gd name="connsiteX3" fmla="*/ 990129 w 2187510"/>
              <a:gd name="connsiteY3" fmla="*/ 2083884 h 2083884"/>
              <a:gd name="connsiteX4" fmla="*/ 0 w 2187510"/>
              <a:gd name="connsiteY4" fmla="*/ 1093755 h 2083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7510" h="2083884">
                <a:moveTo>
                  <a:pt x="1093755" y="0"/>
                </a:moveTo>
                <a:lnTo>
                  <a:pt x="2187510" y="1093755"/>
                </a:lnTo>
                <a:lnTo>
                  <a:pt x="1197381" y="2083884"/>
                </a:lnTo>
                <a:lnTo>
                  <a:pt x="990129" y="2083884"/>
                </a:lnTo>
                <a:lnTo>
                  <a:pt x="0" y="1093755"/>
                </a:lnTo>
                <a:close/>
              </a:path>
            </a:pathLst>
          </a:custGeom>
          <a:solidFill>
            <a:srgbClr val="001C44">
              <a:alpha val="31000"/>
            </a:srgbClr>
          </a:solidFill>
          <a:ln w="12700"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11" name="Text Placeholder 10">
            <a:extLst>
              <a:ext uri="{FF2B5EF4-FFF2-40B4-BE49-F238E27FC236}">
                <a16:creationId xmlns:a16="http://schemas.microsoft.com/office/drawing/2014/main" id="{9DECF64A-E325-4B63-A098-9DC58CE72B1C}"/>
              </a:ext>
            </a:extLst>
          </p:cNvPr>
          <p:cNvSpPr>
            <a:spLocks noGrp="1"/>
          </p:cNvSpPr>
          <p:nvPr>
            <p:ph type="body" sz="quarter" idx="10" hasCustomPrompt="1"/>
          </p:nvPr>
        </p:nvSpPr>
        <p:spPr>
          <a:xfrm>
            <a:off x="457200" y="3488181"/>
            <a:ext cx="6371863" cy="932563"/>
          </a:xfrm>
        </p:spPr>
        <p:txBody>
          <a:bodyPr wrap="square" lIns="0" anchor="ctr">
            <a:spAutoFit/>
          </a:bodyPr>
          <a:lstStyle>
            <a:lvl1pPr marL="0" indent="0" algn="l" defTabSz="914367" rtl="0" eaLnBrk="1" latinLnBrk="0" hangingPunct="1">
              <a:lnSpc>
                <a:spcPct val="90000"/>
              </a:lnSpc>
              <a:spcBef>
                <a:spcPct val="0"/>
              </a:spcBef>
              <a:buNone/>
              <a:defRPr lang="en-US" sz="5400" b="0" kern="1200" cap="none" spc="-10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a:lvl2pPr marL="0" indent="0" algn="l" defTabSz="914367" rtl="0" eaLnBrk="1" latinLnBrk="0" hangingPunct="1">
              <a:lnSpc>
                <a:spcPct val="90000"/>
              </a:lnSpc>
              <a:spcBef>
                <a:spcPct val="0"/>
              </a:spcBef>
              <a:buNone/>
              <a:defRPr lang="en-US" sz="6000" b="0" kern="1200" cap="none" spc="-10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2pPr>
            <a:lvl3pPr marL="0" indent="0" algn="l" defTabSz="914367" rtl="0" eaLnBrk="1" latinLnBrk="0" hangingPunct="1">
              <a:lnSpc>
                <a:spcPct val="90000"/>
              </a:lnSpc>
              <a:spcBef>
                <a:spcPct val="0"/>
              </a:spcBef>
              <a:buNone/>
              <a:defRPr lang="en-US" sz="6000" b="0" kern="1200" cap="none" spc="-10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3pPr>
            <a:lvl4pPr marL="0" indent="0" algn="l" defTabSz="914367" rtl="0" eaLnBrk="1" latinLnBrk="0" hangingPunct="1">
              <a:lnSpc>
                <a:spcPct val="90000"/>
              </a:lnSpc>
              <a:spcBef>
                <a:spcPct val="0"/>
              </a:spcBef>
              <a:buNone/>
              <a:defRPr lang="en-US" sz="6000" b="0" kern="1200" cap="none" spc="-10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4pPr>
            <a:lvl5pPr marL="0" indent="0" algn="l" defTabSz="914367" rtl="0" eaLnBrk="1" latinLnBrk="0" hangingPunct="1">
              <a:lnSpc>
                <a:spcPct val="90000"/>
              </a:lnSpc>
              <a:spcBef>
                <a:spcPct val="0"/>
              </a:spcBef>
              <a:buNone/>
              <a:defRPr lang="en-IN" sz="6000" b="0" kern="1200" cap="none" spc="-10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5pPr>
          </a:lstStyle>
          <a:p>
            <a:pPr lvl="0"/>
            <a:r>
              <a:rPr lang="en-US"/>
              <a:t>Add Section Title</a:t>
            </a:r>
            <a:endParaRPr lang="en-IN"/>
          </a:p>
        </p:txBody>
      </p:sp>
      <p:sp>
        <p:nvSpPr>
          <p:cNvPr id="32" name="Oval 31">
            <a:extLst>
              <a:ext uri="{FF2B5EF4-FFF2-40B4-BE49-F238E27FC236}">
                <a16:creationId xmlns:a16="http://schemas.microsoft.com/office/drawing/2014/main" id="{D0CCB4CB-71E1-4262-B87E-76D2F8DE7813}"/>
              </a:ext>
            </a:extLst>
          </p:cNvPr>
          <p:cNvSpPr/>
          <p:nvPr userDrawn="1"/>
        </p:nvSpPr>
        <p:spPr bwMode="auto">
          <a:xfrm>
            <a:off x="457200" y="1766100"/>
            <a:ext cx="1285048" cy="1285048"/>
          </a:xfrm>
          <a:prstGeom prst="ellipse">
            <a:avLst/>
          </a:prstGeom>
          <a:solidFill>
            <a:srgbClr val="001C44">
              <a:alpha val="71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54" name="Picture 53">
            <a:extLst>
              <a:ext uri="{FF2B5EF4-FFF2-40B4-BE49-F238E27FC236}">
                <a16:creationId xmlns:a16="http://schemas.microsoft.com/office/drawing/2014/main" id="{B1DC90F9-A4F3-4702-B6C3-1271494D816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8431179" y="519873"/>
            <a:ext cx="1956901" cy="1956899"/>
          </a:xfrm>
          <a:custGeom>
            <a:avLst/>
            <a:gdLst>
              <a:gd name="connsiteX0" fmla="*/ 640269 w 1280539"/>
              <a:gd name="connsiteY0" fmla="*/ 0 h 1280539"/>
              <a:gd name="connsiteX1" fmla="*/ 1280539 w 1280539"/>
              <a:gd name="connsiteY1" fmla="*/ 640270 h 1280539"/>
              <a:gd name="connsiteX2" fmla="*/ 640269 w 1280539"/>
              <a:gd name="connsiteY2" fmla="*/ 1280539 h 1280539"/>
              <a:gd name="connsiteX3" fmla="*/ 0 w 1280539"/>
              <a:gd name="connsiteY3" fmla="*/ 640270 h 1280539"/>
            </a:gdLst>
            <a:ahLst/>
            <a:cxnLst>
              <a:cxn ang="0">
                <a:pos x="connsiteX0" y="connsiteY0"/>
              </a:cxn>
              <a:cxn ang="0">
                <a:pos x="connsiteX1" y="connsiteY1"/>
              </a:cxn>
              <a:cxn ang="0">
                <a:pos x="connsiteX2" y="connsiteY2"/>
              </a:cxn>
              <a:cxn ang="0">
                <a:pos x="connsiteX3" y="connsiteY3"/>
              </a:cxn>
            </a:cxnLst>
            <a:rect l="l" t="t" r="r" b="b"/>
            <a:pathLst>
              <a:path w="1280539" h="1280539">
                <a:moveTo>
                  <a:pt x="640269" y="0"/>
                </a:moveTo>
                <a:lnTo>
                  <a:pt x="1280539" y="640270"/>
                </a:lnTo>
                <a:lnTo>
                  <a:pt x="640269" y="1280539"/>
                </a:lnTo>
                <a:lnTo>
                  <a:pt x="0" y="640270"/>
                </a:lnTo>
                <a:close/>
              </a:path>
            </a:pathLst>
          </a:custGeom>
        </p:spPr>
      </p:pic>
      <p:cxnSp>
        <p:nvCxnSpPr>
          <p:cNvPr id="56" name="Straight Connector 55">
            <a:extLst>
              <a:ext uri="{FF2B5EF4-FFF2-40B4-BE49-F238E27FC236}">
                <a16:creationId xmlns:a16="http://schemas.microsoft.com/office/drawing/2014/main" id="{B46E9900-1849-4E20-8141-C41F9022C86C}"/>
              </a:ext>
            </a:extLst>
          </p:cNvPr>
          <p:cNvCxnSpPr>
            <a:cxnSpLocks/>
          </p:cNvCxnSpPr>
          <p:nvPr/>
        </p:nvCxnSpPr>
        <p:spPr bwMode="auto">
          <a:xfrm flipH="1" flipV="1">
            <a:off x="10503386" y="5872849"/>
            <a:ext cx="1118885" cy="1107071"/>
          </a:xfrm>
          <a:prstGeom prst="line">
            <a:avLst/>
          </a:prstGeom>
          <a:solidFill>
            <a:srgbClr val="001C44"/>
          </a:solidFill>
          <a:ln w="12700" cap="flat" cmpd="sng" algn="ctr">
            <a:solidFill>
              <a:srgbClr val="FFFFFF">
                <a:alpha val="30000"/>
              </a:srgbClr>
            </a:solidFill>
            <a:prstDash val="solid"/>
            <a:round/>
            <a:headEnd type="none" w="med" len="med"/>
            <a:tailEnd type="none" w="med" len="med"/>
          </a:ln>
          <a:effectLst/>
        </p:spPr>
      </p:cxnSp>
      <p:sp>
        <p:nvSpPr>
          <p:cNvPr id="57" name="Diamond 56">
            <a:extLst>
              <a:ext uri="{FF2B5EF4-FFF2-40B4-BE49-F238E27FC236}">
                <a16:creationId xmlns:a16="http://schemas.microsoft.com/office/drawing/2014/main" id="{10BEA432-E496-482B-8FA5-2515B3874236}"/>
              </a:ext>
            </a:extLst>
          </p:cNvPr>
          <p:cNvSpPr/>
          <p:nvPr/>
        </p:nvSpPr>
        <p:spPr bwMode="auto">
          <a:xfrm>
            <a:off x="7609021" y="1904368"/>
            <a:ext cx="1387747" cy="1387747"/>
          </a:xfrm>
          <a:prstGeom prst="diamond">
            <a:avLst/>
          </a:pr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58" name="Freeform: Shape 57">
            <a:extLst>
              <a:ext uri="{FF2B5EF4-FFF2-40B4-BE49-F238E27FC236}">
                <a16:creationId xmlns:a16="http://schemas.microsoft.com/office/drawing/2014/main" id="{C0B15A3A-40F3-4C0B-956E-396C4AAE214F}"/>
              </a:ext>
            </a:extLst>
          </p:cNvPr>
          <p:cNvSpPr/>
          <p:nvPr/>
        </p:nvSpPr>
        <p:spPr bwMode="auto">
          <a:xfrm>
            <a:off x="7634982" y="-121920"/>
            <a:ext cx="1387747" cy="1220359"/>
          </a:xfrm>
          <a:custGeom>
            <a:avLst/>
            <a:gdLst>
              <a:gd name="connsiteX0" fmla="*/ 355790 w 937815"/>
              <a:gd name="connsiteY0" fmla="*/ 0 h 824697"/>
              <a:gd name="connsiteX1" fmla="*/ 582026 w 937815"/>
              <a:gd name="connsiteY1" fmla="*/ 0 h 824697"/>
              <a:gd name="connsiteX2" fmla="*/ 937815 w 937815"/>
              <a:gd name="connsiteY2" fmla="*/ 355790 h 824697"/>
              <a:gd name="connsiteX3" fmla="*/ 468908 w 937815"/>
              <a:gd name="connsiteY3" fmla="*/ 824697 h 824697"/>
              <a:gd name="connsiteX4" fmla="*/ 0 w 937815"/>
              <a:gd name="connsiteY4" fmla="*/ 355790 h 824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815" h="824697">
                <a:moveTo>
                  <a:pt x="355790" y="0"/>
                </a:moveTo>
                <a:lnTo>
                  <a:pt x="582026" y="0"/>
                </a:lnTo>
                <a:lnTo>
                  <a:pt x="937815" y="355790"/>
                </a:lnTo>
                <a:lnTo>
                  <a:pt x="468908" y="824697"/>
                </a:lnTo>
                <a:lnTo>
                  <a:pt x="0" y="355790"/>
                </a:lnTo>
                <a:close/>
              </a:path>
            </a:pathLst>
          </a:cu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59" name="Diamond 58">
            <a:extLst>
              <a:ext uri="{FF2B5EF4-FFF2-40B4-BE49-F238E27FC236}">
                <a16:creationId xmlns:a16="http://schemas.microsoft.com/office/drawing/2014/main" id="{D5758F99-99D3-4859-A40A-BA30417CA9BA}"/>
              </a:ext>
            </a:extLst>
          </p:cNvPr>
          <p:cNvSpPr/>
          <p:nvPr/>
        </p:nvSpPr>
        <p:spPr bwMode="auto">
          <a:xfrm>
            <a:off x="9819669" y="1891544"/>
            <a:ext cx="1387747" cy="1387747"/>
          </a:xfrm>
          <a:prstGeom prst="diamond">
            <a:avLst/>
          </a:pr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60" name="Diamond 59">
            <a:extLst>
              <a:ext uri="{FF2B5EF4-FFF2-40B4-BE49-F238E27FC236}">
                <a16:creationId xmlns:a16="http://schemas.microsoft.com/office/drawing/2014/main" id="{0AE951BF-7CB6-41D3-84E2-1D6F79BB76FA}"/>
              </a:ext>
            </a:extLst>
          </p:cNvPr>
          <p:cNvSpPr/>
          <p:nvPr userDrawn="1"/>
        </p:nvSpPr>
        <p:spPr bwMode="auto">
          <a:xfrm>
            <a:off x="9804962" y="4099925"/>
            <a:ext cx="1387747" cy="1387747"/>
          </a:xfrm>
          <a:prstGeom prst="diamond">
            <a:avLst/>
          </a:pr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61" name="Diamond 60">
            <a:extLst>
              <a:ext uri="{FF2B5EF4-FFF2-40B4-BE49-F238E27FC236}">
                <a16:creationId xmlns:a16="http://schemas.microsoft.com/office/drawing/2014/main" id="{7BCC76AD-D882-4A83-A7A6-969601749D0B}"/>
              </a:ext>
            </a:extLst>
          </p:cNvPr>
          <p:cNvSpPr/>
          <p:nvPr userDrawn="1"/>
        </p:nvSpPr>
        <p:spPr bwMode="auto">
          <a:xfrm>
            <a:off x="7609021" y="4112400"/>
            <a:ext cx="1387747" cy="1387747"/>
          </a:xfrm>
          <a:prstGeom prst="diamond">
            <a:avLst/>
          </a:pr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pic>
        <p:nvPicPr>
          <p:cNvPr id="63" name="Picture 62">
            <a:extLst>
              <a:ext uri="{FF2B5EF4-FFF2-40B4-BE49-F238E27FC236}">
                <a16:creationId xmlns:a16="http://schemas.microsoft.com/office/drawing/2014/main" id="{C760CEB4-829F-41BF-B2E8-E70B0A49C46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8431181" y="2707381"/>
            <a:ext cx="1956899" cy="1956899"/>
          </a:xfrm>
          <a:custGeom>
            <a:avLst/>
            <a:gdLst>
              <a:gd name="connsiteX0" fmla="*/ 902860 w 1805722"/>
              <a:gd name="connsiteY0" fmla="*/ 0 h 1805722"/>
              <a:gd name="connsiteX1" fmla="*/ 1805722 w 1805722"/>
              <a:gd name="connsiteY1" fmla="*/ 902862 h 1805722"/>
              <a:gd name="connsiteX2" fmla="*/ 902860 w 1805722"/>
              <a:gd name="connsiteY2" fmla="*/ 1805722 h 1805722"/>
              <a:gd name="connsiteX3" fmla="*/ 0 w 1805722"/>
              <a:gd name="connsiteY3" fmla="*/ 902862 h 1805722"/>
            </a:gdLst>
            <a:ahLst/>
            <a:cxnLst>
              <a:cxn ang="0">
                <a:pos x="connsiteX0" y="connsiteY0"/>
              </a:cxn>
              <a:cxn ang="0">
                <a:pos x="connsiteX1" y="connsiteY1"/>
              </a:cxn>
              <a:cxn ang="0">
                <a:pos x="connsiteX2" y="connsiteY2"/>
              </a:cxn>
              <a:cxn ang="0">
                <a:pos x="connsiteX3" y="connsiteY3"/>
              </a:cxn>
            </a:cxnLst>
            <a:rect l="l" t="t" r="r" b="b"/>
            <a:pathLst>
              <a:path w="1805722" h="1805722">
                <a:moveTo>
                  <a:pt x="902860" y="0"/>
                </a:moveTo>
                <a:lnTo>
                  <a:pt x="1805722" y="902862"/>
                </a:lnTo>
                <a:lnTo>
                  <a:pt x="902860" y="1805722"/>
                </a:lnTo>
                <a:lnTo>
                  <a:pt x="0" y="902862"/>
                </a:lnTo>
                <a:close/>
              </a:path>
            </a:pathLst>
          </a:custGeom>
        </p:spPr>
      </p:pic>
      <p:pic>
        <p:nvPicPr>
          <p:cNvPr id="318" name="Picture 317">
            <a:extLst>
              <a:ext uri="{FF2B5EF4-FFF2-40B4-BE49-F238E27FC236}">
                <a16:creationId xmlns:a16="http://schemas.microsoft.com/office/drawing/2014/main" id="{B04DD1BF-FA7D-4006-AC9E-5BA070105DE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10618688" y="2707382"/>
            <a:ext cx="1573312" cy="1956899"/>
          </a:xfrm>
          <a:custGeom>
            <a:avLst/>
            <a:gdLst>
              <a:gd name="connsiteX0" fmla="*/ 594861 w 1573312"/>
              <a:gd name="connsiteY0" fmla="*/ 0 h 1956899"/>
              <a:gd name="connsiteX1" fmla="*/ 0 w 1573312"/>
              <a:gd name="connsiteY1" fmla="*/ 594861 h 1956899"/>
              <a:gd name="connsiteX2" fmla="*/ 0 w 1573312"/>
              <a:gd name="connsiteY2" fmla="*/ 1362039 h 1956899"/>
              <a:gd name="connsiteX3" fmla="*/ 594861 w 1573312"/>
              <a:gd name="connsiteY3" fmla="*/ 1956899 h 1956899"/>
              <a:gd name="connsiteX4" fmla="*/ 1573312 w 1573312"/>
              <a:gd name="connsiteY4" fmla="*/ 978450 h 19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312" h="1956899">
                <a:moveTo>
                  <a:pt x="594861" y="0"/>
                </a:moveTo>
                <a:lnTo>
                  <a:pt x="0" y="594861"/>
                </a:lnTo>
                <a:lnTo>
                  <a:pt x="0" y="1362039"/>
                </a:lnTo>
                <a:lnTo>
                  <a:pt x="594861" y="1956899"/>
                </a:lnTo>
                <a:lnTo>
                  <a:pt x="1573312" y="978450"/>
                </a:lnTo>
                <a:close/>
              </a:path>
            </a:pathLst>
          </a:custGeom>
        </p:spPr>
      </p:pic>
      <p:pic>
        <p:nvPicPr>
          <p:cNvPr id="65" name="Picture 64">
            <a:extLst>
              <a:ext uri="{FF2B5EF4-FFF2-40B4-BE49-F238E27FC236}">
                <a16:creationId xmlns:a16="http://schemas.microsoft.com/office/drawing/2014/main" id="{20F1CF13-4068-4F7C-8CA0-76FA0FDD8C9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flipH="1">
            <a:off x="6243670" y="519872"/>
            <a:ext cx="1956901" cy="1956899"/>
          </a:xfrm>
          <a:custGeom>
            <a:avLst/>
            <a:gdLst>
              <a:gd name="connsiteX0" fmla="*/ 640269 w 1280539"/>
              <a:gd name="connsiteY0" fmla="*/ 0 h 1280539"/>
              <a:gd name="connsiteX1" fmla="*/ 1280539 w 1280539"/>
              <a:gd name="connsiteY1" fmla="*/ 640270 h 1280539"/>
              <a:gd name="connsiteX2" fmla="*/ 640269 w 1280539"/>
              <a:gd name="connsiteY2" fmla="*/ 1280539 h 1280539"/>
              <a:gd name="connsiteX3" fmla="*/ 0 w 1280539"/>
              <a:gd name="connsiteY3" fmla="*/ 640270 h 1280539"/>
            </a:gdLst>
            <a:ahLst/>
            <a:cxnLst>
              <a:cxn ang="0">
                <a:pos x="connsiteX0" y="connsiteY0"/>
              </a:cxn>
              <a:cxn ang="0">
                <a:pos x="connsiteX1" y="connsiteY1"/>
              </a:cxn>
              <a:cxn ang="0">
                <a:pos x="connsiteX2" y="connsiteY2"/>
              </a:cxn>
              <a:cxn ang="0">
                <a:pos x="connsiteX3" y="connsiteY3"/>
              </a:cxn>
            </a:cxnLst>
            <a:rect l="l" t="t" r="r" b="b"/>
            <a:pathLst>
              <a:path w="1280539" h="1280539">
                <a:moveTo>
                  <a:pt x="640269" y="0"/>
                </a:moveTo>
                <a:lnTo>
                  <a:pt x="1280539" y="640270"/>
                </a:lnTo>
                <a:lnTo>
                  <a:pt x="640269" y="1280539"/>
                </a:lnTo>
                <a:lnTo>
                  <a:pt x="0" y="640270"/>
                </a:lnTo>
                <a:close/>
              </a:path>
            </a:pathLst>
          </a:custGeom>
        </p:spPr>
      </p:pic>
      <p:pic>
        <p:nvPicPr>
          <p:cNvPr id="314" name="Picture 313">
            <a:extLst>
              <a:ext uri="{FF2B5EF4-FFF2-40B4-BE49-F238E27FC236}">
                <a16:creationId xmlns:a16="http://schemas.microsoft.com/office/drawing/2014/main" id="{2B20B5B9-8DB2-4161-B58F-D93F9780C8C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flipH="1">
            <a:off x="10616971" y="523578"/>
            <a:ext cx="1575029" cy="1956899"/>
          </a:xfrm>
          <a:custGeom>
            <a:avLst/>
            <a:gdLst>
              <a:gd name="connsiteX0" fmla="*/ 596578 w 1575029"/>
              <a:gd name="connsiteY0" fmla="*/ 0 h 1956899"/>
              <a:gd name="connsiteX1" fmla="*/ 0 w 1575029"/>
              <a:gd name="connsiteY1" fmla="*/ 596578 h 1956899"/>
              <a:gd name="connsiteX2" fmla="*/ 0 w 1575029"/>
              <a:gd name="connsiteY2" fmla="*/ 1360322 h 1956899"/>
              <a:gd name="connsiteX3" fmla="*/ 596578 w 1575029"/>
              <a:gd name="connsiteY3" fmla="*/ 1956899 h 1956899"/>
              <a:gd name="connsiteX4" fmla="*/ 1575029 w 1575029"/>
              <a:gd name="connsiteY4" fmla="*/ 978450 h 19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029" h="1956899">
                <a:moveTo>
                  <a:pt x="596578" y="0"/>
                </a:moveTo>
                <a:lnTo>
                  <a:pt x="0" y="596578"/>
                </a:lnTo>
                <a:lnTo>
                  <a:pt x="0" y="1360322"/>
                </a:lnTo>
                <a:lnTo>
                  <a:pt x="596578" y="1956899"/>
                </a:lnTo>
                <a:lnTo>
                  <a:pt x="1575029" y="978450"/>
                </a:lnTo>
                <a:close/>
              </a:path>
            </a:pathLst>
          </a:custGeom>
        </p:spPr>
      </p:pic>
      <p:sp>
        <p:nvSpPr>
          <p:cNvPr id="312" name="Freeform: Shape 311">
            <a:extLst>
              <a:ext uri="{FF2B5EF4-FFF2-40B4-BE49-F238E27FC236}">
                <a16:creationId xmlns:a16="http://schemas.microsoft.com/office/drawing/2014/main" id="{3B9C1502-37B1-4870-A32A-497FF577FBD8}"/>
              </a:ext>
            </a:extLst>
          </p:cNvPr>
          <p:cNvSpPr/>
          <p:nvPr userDrawn="1"/>
        </p:nvSpPr>
        <p:spPr bwMode="auto">
          <a:xfrm>
            <a:off x="10501668" y="408270"/>
            <a:ext cx="1690332" cy="2187510"/>
          </a:xfrm>
          <a:custGeom>
            <a:avLst/>
            <a:gdLst>
              <a:gd name="connsiteX0" fmla="*/ 1093755 w 1690332"/>
              <a:gd name="connsiteY0" fmla="*/ 0 h 2187510"/>
              <a:gd name="connsiteX1" fmla="*/ 1690332 w 1690332"/>
              <a:gd name="connsiteY1" fmla="*/ 596577 h 2187510"/>
              <a:gd name="connsiteX2" fmla="*/ 1690332 w 1690332"/>
              <a:gd name="connsiteY2" fmla="*/ 1590933 h 2187510"/>
              <a:gd name="connsiteX3" fmla="*/ 1093755 w 1690332"/>
              <a:gd name="connsiteY3" fmla="*/ 2187510 h 2187510"/>
              <a:gd name="connsiteX4" fmla="*/ 0 w 1690332"/>
              <a:gd name="connsiteY4" fmla="*/ 1093755 h 2187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0332" h="2187510">
                <a:moveTo>
                  <a:pt x="1093755" y="0"/>
                </a:moveTo>
                <a:lnTo>
                  <a:pt x="1690332" y="596577"/>
                </a:lnTo>
                <a:lnTo>
                  <a:pt x="1690332" y="1590933"/>
                </a:lnTo>
                <a:lnTo>
                  <a:pt x="1093755" y="2187510"/>
                </a:lnTo>
                <a:lnTo>
                  <a:pt x="0" y="1093755"/>
                </a:lnTo>
                <a:close/>
              </a:path>
            </a:pathLst>
          </a:custGeom>
          <a:solidFill>
            <a:srgbClr val="001C44">
              <a:alpha val="31000"/>
            </a:srgbClr>
          </a:solidFill>
          <a:ln w="12700"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68" name="Diamond 67">
            <a:extLst>
              <a:ext uri="{FF2B5EF4-FFF2-40B4-BE49-F238E27FC236}">
                <a16:creationId xmlns:a16="http://schemas.microsoft.com/office/drawing/2014/main" id="{E2382980-0374-4DB9-A3D6-AC22331D7372}"/>
              </a:ext>
            </a:extLst>
          </p:cNvPr>
          <p:cNvSpPr/>
          <p:nvPr userDrawn="1"/>
        </p:nvSpPr>
        <p:spPr bwMode="auto">
          <a:xfrm>
            <a:off x="6128365" y="404566"/>
            <a:ext cx="2187510" cy="2187510"/>
          </a:xfrm>
          <a:prstGeom prst="diamond">
            <a:avLst/>
          </a:prstGeom>
          <a:solidFill>
            <a:srgbClr val="001C44">
              <a:alpha val="31000"/>
            </a:srgbClr>
          </a:solidFill>
          <a:ln w="12700"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69" name="Diamond 68">
            <a:extLst>
              <a:ext uri="{FF2B5EF4-FFF2-40B4-BE49-F238E27FC236}">
                <a16:creationId xmlns:a16="http://schemas.microsoft.com/office/drawing/2014/main" id="{81D053F7-D39C-4A76-8407-95D8B227DDFB}"/>
              </a:ext>
            </a:extLst>
          </p:cNvPr>
          <p:cNvSpPr/>
          <p:nvPr/>
        </p:nvSpPr>
        <p:spPr bwMode="auto">
          <a:xfrm>
            <a:off x="8315874" y="2592075"/>
            <a:ext cx="2187510" cy="2187510"/>
          </a:xfrm>
          <a:prstGeom prst="diamond">
            <a:avLst/>
          </a:prstGeom>
          <a:solidFill>
            <a:srgbClr val="001C44">
              <a:alpha val="31000"/>
            </a:srgbClr>
          </a:solidFill>
          <a:ln w="12700"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316" name="Freeform: Shape 315">
            <a:extLst>
              <a:ext uri="{FF2B5EF4-FFF2-40B4-BE49-F238E27FC236}">
                <a16:creationId xmlns:a16="http://schemas.microsoft.com/office/drawing/2014/main" id="{EE537B36-A27A-4CAB-B5E3-54B99D798E60}"/>
              </a:ext>
            </a:extLst>
          </p:cNvPr>
          <p:cNvSpPr/>
          <p:nvPr userDrawn="1"/>
        </p:nvSpPr>
        <p:spPr bwMode="auto">
          <a:xfrm>
            <a:off x="10503384" y="2592075"/>
            <a:ext cx="1688616" cy="2187510"/>
          </a:xfrm>
          <a:custGeom>
            <a:avLst/>
            <a:gdLst>
              <a:gd name="connsiteX0" fmla="*/ 1093755 w 1688616"/>
              <a:gd name="connsiteY0" fmla="*/ 0 h 2187510"/>
              <a:gd name="connsiteX1" fmla="*/ 1688616 w 1688616"/>
              <a:gd name="connsiteY1" fmla="*/ 594861 h 2187510"/>
              <a:gd name="connsiteX2" fmla="*/ 1688616 w 1688616"/>
              <a:gd name="connsiteY2" fmla="*/ 1592649 h 2187510"/>
              <a:gd name="connsiteX3" fmla="*/ 1093755 w 1688616"/>
              <a:gd name="connsiteY3" fmla="*/ 2187510 h 2187510"/>
              <a:gd name="connsiteX4" fmla="*/ 0 w 1688616"/>
              <a:gd name="connsiteY4" fmla="*/ 1093755 h 2187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8616" h="2187510">
                <a:moveTo>
                  <a:pt x="1093755" y="0"/>
                </a:moveTo>
                <a:lnTo>
                  <a:pt x="1688616" y="594861"/>
                </a:lnTo>
                <a:lnTo>
                  <a:pt x="1688616" y="1592649"/>
                </a:lnTo>
                <a:lnTo>
                  <a:pt x="1093755" y="2187510"/>
                </a:lnTo>
                <a:lnTo>
                  <a:pt x="0" y="1093755"/>
                </a:lnTo>
                <a:close/>
              </a:path>
            </a:pathLst>
          </a:custGeom>
          <a:solidFill>
            <a:srgbClr val="001C44">
              <a:alpha val="31000"/>
            </a:srgbClr>
          </a:solidFill>
          <a:ln w="12700"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71" name="Diamond 70">
            <a:extLst>
              <a:ext uri="{FF2B5EF4-FFF2-40B4-BE49-F238E27FC236}">
                <a16:creationId xmlns:a16="http://schemas.microsoft.com/office/drawing/2014/main" id="{738CCDC2-E3AB-421D-ADD9-F5C8C9ABC533}"/>
              </a:ext>
            </a:extLst>
          </p:cNvPr>
          <p:cNvSpPr/>
          <p:nvPr/>
        </p:nvSpPr>
        <p:spPr bwMode="auto">
          <a:xfrm>
            <a:off x="8315874" y="408270"/>
            <a:ext cx="2187510" cy="2187510"/>
          </a:xfrm>
          <a:prstGeom prst="diamond">
            <a:avLst/>
          </a:prstGeom>
          <a:solidFill>
            <a:srgbClr val="001C44">
              <a:alpha val="31000"/>
            </a:srgbClr>
          </a:solidFill>
          <a:ln w="12700"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cxnSp>
        <p:nvCxnSpPr>
          <p:cNvPr id="82" name="Straight Connector 81">
            <a:extLst>
              <a:ext uri="{FF2B5EF4-FFF2-40B4-BE49-F238E27FC236}">
                <a16:creationId xmlns:a16="http://schemas.microsoft.com/office/drawing/2014/main" id="{E86EBEF9-AF1D-417C-BDDF-743FFCA5E352}"/>
              </a:ext>
            </a:extLst>
          </p:cNvPr>
          <p:cNvCxnSpPr>
            <a:cxnSpLocks/>
            <a:stCxn id="32" idx="2"/>
          </p:cNvCxnSpPr>
          <p:nvPr userDrawn="1"/>
        </p:nvCxnSpPr>
        <p:spPr>
          <a:xfrm flipH="1">
            <a:off x="0" y="2408624"/>
            <a:ext cx="4572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331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Section Divider">
    <p:bg>
      <p:bgPr>
        <a:solidFill>
          <a:schemeClr val="accent1"/>
        </a:solidFill>
        <a:effectLst/>
      </p:bgPr>
    </p:bg>
    <p:spTree>
      <p:nvGrpSpPr>
        <p:cNvPr id="1" name=""/>
        <p:cNvGrpSpPr/>
        <p:nvPr/>
      </p:nvGrpSpPr>
      <p:grpSpPr>
        <a:xfrm>
          <a:off x="0" y="0"/>
          <a:ext cx="0" cy="0"/>
          <a:chOff x="0" y="0"/>
          <a:chExt cx="0" cy="0"/>
        </a:xfrm>
      </p:grpSpPr>
      <p:pic>
        <p:nvPicPr>
          <p:cNvPr id="55" name="Picture 54">
            <a:extLst>
              <a:ext uri="{FF2B5EF4-FFF2-40B4-BE49-F238E27FC236}">
                <a16:creationId xmlns:a16="http://schemas.microsoft.com/office/drawing/2014/main" id="{CA39075C-73E0-4B22-95A8-974D1B40A53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8431180" y="4894399"/>
            <a:ext cx="1956901" cy="1956899"/>
          </a:xfrm>
          <a:custGeom>
            <a:avLst/>
            <a:gdLst>
              <a:gd name="connsiteX0" fmla="*/ 640269 w 1280539"/>
              <a:gd name="connsiteY0" fmla="*/ 0 h 1280539"/>
              <a:gd name="connsiteX1" fmla="*/ 1280539 w 1280539"/>
              <a:gd name="connsiteY1" fmla="*/ 640270 h 1280539"/>
              <a:gd name="connsiteX2" fmla="*/ 640269 w 1280539"/>
              <a:gd name="connsiteY2" fmla="*/ 1280539 h 1280539"/>
              <a:gd name="connsiteX3" fmla="*/ 0 w 1280539"/>
              <a:gd name="connsiteY3" fmla="*/ 640270 h 1280539"/>
            </a:gdLst>
            <a:ahLst/>
            <a:cxnLst>
              <a:cxn ang="0">
                <a:pos x="connsiteX0" y="connsiteY0"/>
              </a:cxn>
              <a:cxn ang="0">
                <a:pos x="connsiteX1" y="connsiteY1"/>
              </a:cxn>
              <a:cxn ang="0">
                <a:pos x="connsiteX2" y="connsiteY2"/>
              </a:cxn>
              <a:cxn ang="0">
                <a:pos x="connsiteX3" y="connsiteY3"/>
              </a:cxn>
            </a:cxnLst>
            <a:rect l="l" t="t" r="r" b="b"/>
            <a:pathLst>
              <a:path w="1280539" h="1280539">
                <a:moveTo>
                  <a:pt x="640269" y="0"/>
                </a:moveTo>
                <a:lnTo>
                  <a:pt x="1280539" y="640270"/>
                </a:lnTo>
                <a:lnTo>
                  <a:pt x="640269" y="1280539"/>
                </a:lnTo>
                <a:lnTo>
                  <a:pt x="0" y="640270"/>
                </a:lnTo>
                <a:close/>
              </a:path>
            </a:pathLst>
          </a:custGeom>
        </p:spPr>
      </p:pic>
      <p:sp>
        <p:nvSpPr>
          <p:cNvPr id="320" name="Freeform: Shape 319">
            <a:extLst>
              <a:ext uri="{FF2B5EF4-FFF2-40B4-BE49-F238E27FC236}">
                <a16:creationId xmlns:a16="http://schemas.microsoft.com/office/drawing/2014/main" id="{A830C480-570D-46D8-BA3F-5983FCCD2658}"/>
              </a:ext>
            </a:extLst>
          </p:cNvPr>
          <p:cNvSpPr/>
          <p:nvPr userDrawn="1"/>
        </p:nvSpPr>
        <p:spPr bwMode="auto">
          <a:xfrm>
            <a:off x="8315875" y="4779094"/>
            <a:ext cx="2187510" cy="2083884"/>
          </a:xfrm>
          <a:custGeom>
            <a:avLst/>
            <a:gdLst>
              <a:gd name="connsiteX0" fmla="*/ 1093755 w 2187510"/>
              <a:gd name="connsiteY0" fmla="*/ 0 h 2083884"/>
              <a:gd name="connsiteX1" fmla="*/ 2187510 w 2187510"/>
              <a:gd name="connsiteY1" fmla="*/ 1093755 h 2083884"/>
              <a:gd name="connsiteX2" fmla="*/ 1197381 w 2187510"/>
              <a:gd name="connsiteY2" fmla="*/ 2083884 h 2083884"/>
              <a:gd name="connsiteX3" fmla="*/ 990129 w 2187510"/>
              <a:gd name="connsiteY3" fmla="*/ 2083884 h 2083884"/>
              <a:gd name="connsiteX4" fmla="*/ 0 w 2187510"/>
              <a:gd name="connsiteY4" fmla="*/ 1093755 h 2083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7510" h="2083884">
                <a:moveTo>
                  <a:pt x="1093755" y="0"/>
                </a:moveTo>
                <a:lnTo>
                  <a:pt x="2187510" y="1093755"/>
                </a:lnTo>
                <a:lnTo>
                  <a:pt x="1197381" y="2083884"/>
                </a:lnTo>
                <a:lnTo>
                  <a:pt x="990129" y="2083884"/>
                </a:lnTo>
                <a:lnTo>
                  <a:pt x="0" y="1093755"/>
                </a:lnTo>
                <a:close/>
              </a:path>
            </a:pathLst>
          </a:custGeom>
          <a:solidFill>
            <a:srgbClr val="001C44">
              <a:alpha val="31000"/>
            </a:srgbClr>
          </a:solidFill>
          <a:ln w="12700"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11" name="Text Placeholder 10">
            <a:extLst>
              <a:ext uri="{FF2B5EF4-FFF2-40B4-BE49-F238E27FC236}">
                <a16:creationId xmlns:a16="http://schemas.microsoft.com/office/drawing/2014/main" id="{9DECF64A-E325-4B63-A098-9DC58CE72B1C}"/>
              </a:ext>
            </a:extLst>
          </p:cNvPr>
          <p:cNvSpPr>
            <a:spLocks noGrp="1"/>
          </p:cNvSpPr>
          <p:nvPr>
            <p:ph type="body" sz="quarter" idx="10" hasCustomPrompt="1"/>
          </p:nvPr>
        </p:nvSpPr>
        <p:spPr>
          <a:xfrm>
            <a:off x="457200" y="3488181"/>
            <a:ext cx="6371863" cy="932563"/>
          </a:xfrm>
        </p:spPr>
        <p:txBody>
          <a:bodyPr wrap="square" lIns="0" anchor="ctr">
            <a:spAutoFit/>
          </a:bodyPr>
          <a:lstStyle>
            <a:lvl1pPr marL="0" indent="0" algn="l" defTabSz="914367" rtl="0" eaLnBrk="1" latinLnBrk="0" hangingPunct="1">
              <a:lnSpc>
                <a:spcPct val="90000"/>
              </a:lnSpc>
              <a:spcBef>
                <a:spcPct val="0"/>
              </a:spcBef>
              <a:buNone/>
              <a:defRPr lang="en-US" sz="5400" b="0" kern="1200" cap="none" spc="-10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a:lvl2pPr marL="0" indent="0" algn="l" defTabSz="914367" rtl="0" eaLnBrk="1" latinLnBrk="0" hangingPunct="1">
              <a:lnSpc>
                <a:spcPct val="90000"/>
              </a:lnSpc>
              <a:spcBef>
                <a:spcPct val="0"/>
              </a:spcBef>
              <a:buNone/>
              <a:defRPr lang="en-US" sz="6000" b="0" kern="1200" cap="none" spc="-10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2pPr>
            <a:lvl3pPr marL="0" indent="0" algn="l" defTabSz="914367" rtl="0" eaLnBrk="1" latinLnBrk="0" hangingPunct="1">
              <a:lnSpc>
                <a:spcPct val="90000"/>
              </a:lnSpc>
              <a:spcBef>
                <a:spcPct val="0"/>
              </a:spcBef>
              <a:buNone/>
              <a:defRPr lang="en-US" sz="6000" b="0" kern="1200" cap="none" spc="-10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3pPr>
            <a:lvl4pPr marL="0" indent="0" algn="l" defTabSz="914367" rtl="0" eaLnBrk="1" latinLnBrk="0" hangingPunct="1">
              <a:lnSpc>
                <a:spcPct val="90000"/>
              </a:lnSpc>
              <a:spcBef>
                <a:spcPct val="0"/>
              </a:spcBef>
              <a:buNone/>
              <a:defRPr lang="en-US" sz="6000" b="0" kern="1200" cap="none" spc="-10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4pPr>
            <a:lvl5pPr marL="0" indent="0" algn="l" defTabSz="914367" rtl="0" eaLnBrk="1" latinLnBrk="0" hangingPunct="1">
              <a:lnSpc>
                <a:spcPct val="90000"/>
              </a:lnSpc>
              <a:spcBef>
                <a:spcPct val="0"/>
              </a:spcBef>
              <a:buNone/>
              <a:defRPr lang="en-IN" sz="6000" b="0" kern="1200" cap="none" spc="-10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5pPr>
          </a:lstStyle>
          <a:p>
            <a:pPr lvl="0"/>
            <a:r>
              <a:rPr lang="en-US"/>
              <a:t>Add Section Title</a:t>
            </a:r>
            <a:endParaRPr lang="en-IN"/>
          </a:p>
        </p:txBody>
      </p:sp>
      <p:sp>
        <p:nvSpPr>
          <p:cNvPr id="32" name="Oval 31">
            <a:extLst>
              <a:ext uri="{FF2B5EF4-FFF2-40B4-BE49-F238E27FC236}">
                <a16:creationId xmlns:a16="http://schemas.microsoft.com/office/drawing/2014/main" id="{D0CCB4CB-71E1-4262-B87E-76D2F8DE7813}"/>
              </a:ext>
            </a:extLst>
          </p:cNvPr>
          <p:cNvSpPr/>
          <p:nvPr userDrawn="1"/>
        </p:nvSpPr>
        <p:spPr bwMode="auto">
          <a:xfrm>
            <a:off x="457200" y="1766100"/>
            <a:ext cx="1285048" cy="1285048"/>
          </a:xfrm>
          <a:prstGeom prst="ellipse">
            <a:avLst/>
          </a:prstGeom>
          <a:solidFill>
            <a:srgbClr val="001C44">
              <a:alpha val="71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pic>
        <p:nvPicPr>
          <p:cNvPr id="54" name="Picture 53">
            <a:extLst>
              <a:ext uri="{FF2B5EF4-FFF2-40B4-BE49-F238E27FC236}">
                <a16:creationId xmlns:a16="http://schemas.microsoft.com/office/drawing/2014/main" id="{B1DC90F9-A4F3-4702-B6C3-1271494D816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8431179" y="519873"/>
            <a:ext cx="1956901" cy="1956899"/>
          </a:xfrm>
          <a:custGeom>
            <a:avLst/>
            <a:gdLst>
              <a:gd name="connsiteX0" fmla="*/ 640269 w 1280539"/>
              <a:gd name="connsiteY0" fmla="*/ 0 h 1280539"/>
              <a:gd name="connsiteX1" fmla="*/ 1280539 w 1280539"/>
              <a:gd name="connsiteY1" fmla="*/ 640270 h 1280539"/>
              <a:gd name="connsiteX2" fmla="*/ 640269 w 1280539"/>
              <a:gd name="connsiteY2" fmla="*/ 1280539 h 1280539"/>
              <a:gd name="connsiteX3" fmla="*/ 0 w 1280539"/>
              <a:gd name="connsiteY3" fmla="*/ 640270 h 1280539"/>
            </a:gdLst>
            <a:ahLst/>
            <a:cxnLst>
              <a:cxn ang="0">
                <a:pos x="connsiteX0" y="connsiteY0"/>
              </a:cxn>
              <a:cxn ang="0">
                <a:pos x="connsiteX1" y="connsiteY1"/>
              </a:cxn>
              <a:cxn ang="0">
                <a:pos x="connsiteX2" y="connsiteY2"/>
              </a:cxn>
              <a:cxn ang="0">
                <a:pos x="connsiteX3" y="connsiteY3"/>
              </a:cxn>
            </a:cxnLst>
            <a:rect l="l" t="t" r="r" b="b"/>
            <a:pathLst>
              <a:path w="1280539" h="1280539">
                <a:moveTo>
                  <a:pt x="640269" y="0"/>
                </a:moveTo>
                <a:lnTo>
                  <a:pt x="1280539" y="640270"/>
                </a:lnTo>
                <a:lnTo>
                  <a:pt x="640269" y="1280539"/>
                </a:lnTo>
                <a:lnTo>
                  <a:pt x="0" y="640270"/>
                </a:lnTo>
                <a:close/>
              </a:path>
            </a:pathLst>
          </a:custGeom>
        </p:spPr>
      </p:pic>
      <p:cxnSp>
        <p:nvCxnSpPr>
          <p:cNvPr id="56" name="Straight Connector 55">
            <a:extLst>
              <a:ext uri="{FF2B5EF4-FFF2-40B4-BE49-F238E27FC236}">
                <a16:creationId xmlns:a16="http://schemas.microsoft.com/office/drawing/2014/main" id="{B46E9900-1849-4E20-8141-C41F9022C86C}"/>
              </a:ext>
            </a:extLst>
          </p:cNvPr>
          <p:cNvCxnSpPr>
            <a:cxnSpLocks/>
          </p:cNvCxnSpPr>
          <p:nvPr/>
        </p:nvCxnSpPr>
        <p:spPr bwMode="auto">
          <a:xfrm flipH="1" flipV="1">
            <a:off x="10503386" y="5872849"/>
            <a:ext cx="1118885" cy="1107071"/>
          </a:xfrm>
          <a:prstGeom prst="line">
            <a:avLst/>
          </a:prstGeom>
          <a:solidFill>
            <a:srgbClr val="001C44"/>
          </a:solidFill>
          <a:ln w="12700" cap="flat" cmpd="sng" algn="ctr">
            <a:solidFill>
              <a:srgbClr val="FFFFFF">
                <a:alpha val="30000"/>
              </a:srgbClr>
            </a:solidFill>
            <a:prstDash val="solid"/>
            <a:round/>
            <a:headEnd type="none" w="med" len="med"/>
            <a:tailEnd type="none" w="med" len="med"/>
          </a:ln>
          <a:effectLst/>
        </p:spPr>
      </p:cxnSp>
      <p:sp>
        <p:nvSpPr>
          <p:cNvPr id="57" name="Diamond 56">
            <a:extLst>
              <a:ext uri="{FF2B5EF4-FFF2-40B4-BE49-F238E27FC236}">
                <a16:creationId xmlns:a16="http://schemas.microsoft.com/office/drawing/2014/main" id="{10BEA432-E496-482B-8FA5-2515B3874236}"/>
              </a:ext>
            </a:extLst>
          </p:cNvPr>
          <p:cNvSpPr/>
          <p:nvPr/>
        </p:nvSpPr>
        <p:spPr bwMode="auto">
          <a:xfrm>
            <a:off x="7609021" y="1904368"/>
            <a:ext cx="1387747" cy="1387747"/>
          </a:xfrm>
          <a:prstGeom prst="diamond">
            <a:avLst/>
          </a:pr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58" name="Freeform: Shape 57">
            <a:extLst>
              <a:ext uri="{FF2B5EF4-FFF2-40B4-BE49-F238E27FC236}">
                <a16:creationId xmlns:a16="http://schemas.microsoft.com/office/drawing/2014/main" id="{C0B15A3A-40F3-4C0B-956E-396C4AAE214F}"/>
              </a:ext>
            </a:extLst>
          </p:cNvPr>
          <p:cNvSpPr/>
          <p:nvPr/>
        </p:nvSpPr>
        <p:spPr bwMode="auto">
          <a:xfrm>
            <a:off x="7634982" y="-121920"/>
            <a:ext cx="1387747" cy="1220359"/>
          </a:xfrm>
          <a:custGeom>
            <a:avLst/>
            <a:gdLst>
              <a:gd name="connsiteX0" fmla="*/ 355790 w 937815"/>
              <a:gd name="connsiteY0" fmla="*/ 0 h 824697"/>
              <a:gd name="connsiteX1" fmla="*/ 582026 w 937815"/>
              <a:gd name="connsiteY1" fmla="*/ 0 h 824697"/>
              <a:gd name="connsiteX2" fmla="*/ 937815 w 937815"/>
              <a:gd name="connsiteY2" fmla="*/ 355790 h 824697"/>
              <a:gd name="connsiteX3" fmla="*/ 468908 w 937815"/>
              <a:gd name="connsiteY3" fmla="*/ 824697 h 824697"/>
              <a:gd name="connsiteX4" fmla="*/ 0 w 937815"/>
              <a:gd name="connsiteY4" fmla="*/ 355790 h 824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815" h="824697">
                <a:moveTo>
                  <a:pt x="355790" y="0"/>
                </a:moveTo>
                <a:lnTo>
                  <a:pt x="582026" y="0"/>
                </a:lnTo>
                <a:lnTo>
                  <a:pt x="937815" y="355790"/>
                </a:lnTo>
                <a:lnTo>
                  <a:pt x="468908" y="824697"/>
                </a:lnTo>
                <a:lnTo>
                  <a:pt x="0" y="355790"/>
                </a:lnTo>
                <a:close/>
              </a:path>
            </a:pathLst>
          </a:cu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59" name="Diamond 58">
            <a:extLst>
              <a:ext uri="{FF2B5EF4-FFF2-40B4-BE49-F238E27FC236}">
                <a16:creationId xmlns:a16="http://schemas.microsoft.com/office/drawing/2014/main" id="{D5758F99-99D3-4859-A40A-BA30417CA9BA}"/>
              </a:ext>
            </a:extLst>
          </p:cNvPr>
          <p:cNvSpPr/>
          <p:nvPr/>
        </p:nvSpPr>
        <p:spPr bwMode="auto">
          <a:xfrm>
            <a:off x="9819669" y="1891544"/>
            <a:ext cx="1387747" cy="1387747"/>
          </a:xfrm>
          <a:prstGeom prst="diamond">
            <a:avLst/>
          </a:pr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60" name="Diamond 59">
            <a:extLst>
              <a:ext uri="{FF2B5EF4-FFF2-40B4-BE49-F238E27FC236}">
                <a16:creationId xmlns:a16="http://schemas.microsoft.com/office/drawing/2014/main" id="{0AE951BF-7CB6-41D3-84E2-1D6F79BB76FA}"/>
              </a:ext>
            </a:extLst>
          </p:cNvPr>
          <p:cNvSpPr/>
          <p:nvPr userDrawn="1"/>
        </p:nvSpPr>
        <p:spPr bwMode="auto">
          <a:xfrm>
            <a:off x="9804962" y="4099925"/>
            <a:ext cx="1387747" cy="1387747"/>
          </a:xfrm>
          <a:prstGeom prst="diamond">
            <a:avLst/>
          </a:pr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61" name="Diamond 60">
            <a:extLst>
              <a:ext uri="{FF2B5EF4-FFF2-40B4-BE49-F238E27FC236}">
                <a16:creationId xmlns:a16="http://schemas.microsoft.com/office/drawing/2014/main" id="{7BCC76AD-D882-4A83-A7A6-969601749D0B}"/>
              </a:ext>
            </a:extLst>
          </p:cNvPr>
          <p:cNvSpPr/>
          <p:nvPr userDrawn="1"/>
        </p:nvSpPr>
        <p:spPr bwMode="auto">
          <a:xfrm>
            <a:off x="7609021" y="4112400"/>
            <a:ext cx="1387747" cy="1387747"/>
          </a:xfrm>
          <a:prstGeom prst="diamond">
            <a:avLst/>
          </a:pr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pic>
        <p:nvPicPr>
          <p:cNvPr id="63" name="Picture 62">
            <a:extLst>
              <a:ext uri="{FF2B5EF4-FFF2-40B4-BE49-F238E27FC236}">
                <a16:creationId xmlns:a16="http://schemas.microsoft.com/office/drawing/2014/main" id="{C760CEB4-829F-41BF-B2E8-E70B0A49C46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8431181" y="2707381"/>
            <a:ext cx="1956899" cy="1956899"/>
          </a:xfrm>
          <a:custGeom>
            <a:avLst/>
            <a:gdLst>
              <a:gd name="connsiteX0" fmla="*/ 902860 w 1805722"/>
              <a:gd name="connsiteY0" fmla="*/ 0 h 1805722"/>
              <a:gd name="connsiteX1" fmla="*/ 1805722 w 1805722"/>
              <a:gd name="connsiteY1" fmla="*/ 902862 h 1805722"/>
              <a:gd name="connsiteX2" fmla="*/ 902860 w 1805722"/>
              <a:gd name="connsiteY2" fmla="*/ 1805722 h 1805722"/>
              <a:gd name="connsiteX3" fmla="*/ 0 w 1805722"/>
              <a:gd name="connsiteY3" fmla="*/ 902862 h 1805722"/>
            </a:gdLst>
            <a:ahLst/>
            <a:cxnLst>
              <a:cxn ang="0">
                <a:pos x="connsiteX0" y="connsiteY0"/>
              </a:cxn>
              <a:cxn ang="0">
                <a:pos x="connsiteX1" y="connsiteY1"/>
              </a:cxn>
              <a:cxn ang="0">
                <a:pos x="connsiteX2" y="connsiteY2"/>
              </a:cxn>
              <a:cxn ang="0">
                <a:pos x="connsiteX3" y="connsiteY3"/>
              </a:cxn>
            </a:cxnLst>
            <a:rect l="l" t="t" r="r" b="b"/>
            <a:pathLst>
              <a:path w="1805722" h="1805722">
                <a:moveTo>
                  <a:pt x="902860" y="0"/>
                </a:moveTo>
                <a:lnTo>
                  <a:pt x="1805722" y="902862"/>
                </a:lnTo>
                <a:lnTo>
                  <a:pt x="902860" y="1805722"/>
                </a:lnTo>
                <a:lnTo>
                  <a:pt x="0" y="902862"/>
                </a:lnTo>
                <a:close/>
              </a:path>
            </a:pathLst>
          </a:custGeom>
        </p:spPr>
      </p:pic>
      <p:pic>
        <p:nvPicPr>
          <p:cNvPr id="318" name="Picture 317">
            <a:extLst>
              <a:ext uri="{FF2B5EF4-FFF2-40B4-BE49-F238E27FC236}">
                <a16:creationId xmlns:a16="http://schemas.microsoft.com/office/drawing/2014/main" id="{B04DD1BF-FA7D-4006-AC9E-5BA070105DE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0618688" y="2707382"/>
            <a:ext cx="1573312" cy="1956899"/>
          </a:xfrm>
          <a:custGeom>
            <a:avLst/>
            <a:gdLst>
              <a:gd name="connsiteX0" fmla="*/ 594861 w 1573312"/>
              <a:gd name="connsiteY0" fmla="*/ 0 h 1956899"/>
              <a:gd name="connsiteX1" fmla="*/ 0 w 1573312"/>
              <a:gd name="connsiteY1" fmla="*/ 594861 h 1956899"/>
              <a:gd name="connsiteX2" fmla="*/ 0 w 1573312"/>
              <a:gd name="connsiteY2" fmla="*/ 1362039 h 1956899"/>
              <a:gd name="connsiteX3" fmla="*/ 594861 w 1573312"/>
              <a:gd name="connsiteY3" fmla="*/ 1956899 h 1956899"/>
              <a:gd name="connsiteX4" fmla="*/ 1573312 w 1573312"/>
              <a:gd name="connsiteY4" fmla="*/ 978450 h 19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312" h="1956899">
                <a:moveTo>
                  <a:pt x="594861" y="0"/>
                </a:moveTo>
                <a:lnTo>
                  <a:pt x="0" y="594861"/>
                </a:lnTo>
                <a:lnTo>
                  <a:pt x="0" y="1362039"/>
                </a:lnTo>
                <a:lnTo>
                  <a:pt x="594861" y="1956899"/>
                </a:lnTo>
                <a:lnTo>
                  <a:pt x="1573312" y="978450"/>
                </a:lnTo>
                <a:close/>
              </a:path>
            </a:pathLst>
          </a:custGeom>
        </p:spPr>
      </p:pic>
      <p:pic>
        <p:nvPicPr>
          <p:cNvPr id="65" name="Picture 64">
            <a:extLst>
              <a:ext uri="{FF2B5EF4-FFF2-40B4-BE49-F238E27FC236}">
                <a16:creationId xmlns:a16="http://schemas.microsoft.com/office/drawing/2014/main" id="{20F1CF13-4068-4F7C-8CA0-76FA0FDD8C9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6243670" y="519872"/>
            <a:ext cx="1956901" cy="1956899"/>
          </a:xfrm>
          <a:custGeom>
            <a:avLst/>
            <a:gdLst>
              <a:gd name="connsiteX0" fmla="*/ 640269 w 1280539"/>
              <a:gd name="connsiteY0" fmla="*/ 0 h 1280539"/>
              <a:gd name="connsiteX1" fmla="*/ 1280539 w 1280539"/>
              <a:gd name="connsiteY1" fmla="*/ 640270 h 1280539"/>
              <a:gd name="connsiteX2" fmla="*/ 640269 w 1280539"/>
              <a:gd name="connsiteY2" fmla="*/ 1280539 h 1280539"/>
              <a:gd name="connsiteX3" fmla="*/ 0 w 1280539"/>
              <a:gd name="connsiteY3" fmla="*/ 640270 h 1280539"/>
            </a:gdLst>
            <a:ahLst/>
            <a:cxnLst>
              <a:cxn ang="0">
                <a:pos x="connsiteX0" y="connsiteY0"/>
              </a:cxn>
              <a:cxn ang="0">
                <a:pos x="connsiteX1" y="connsiteY1"/>
              </a:cxn>
              <a:cxn ang="0">
                <a:pos x="connsiteX2" y="connsiteY2"/>
              </a:cxn>
              <a:cxn ang="0">
                <a:pos x="connsiteX3" y="connsiteY3"/>
              </a:cxn>
            </a:cxnLst>
            <a:rect l="l" t="t" r="r" b="b"/>
            <a:pathLst>
              <a:path w="1280539" h="1280539">
                <a:moveTo>
                  <a:pt x="640269" y="0"/>
                </a:moveTo>
                <a:lnTo>
                  <a:pt x="1280539" y="640270"/>
                </a:lnTo>
                <a:lnTo>
                  <a:pt x="640269" y="1280539"/>
                </a:lnTo>
                <a:lnTo>
                  <a:pt x="0" y="640270"/>
                </a:lnTo>
                <a:close/>
              </a:path>
            </a:pathLst>
          </a:custGeom>
        </p:spPr>
      </p:pic>
      <p:pic>
        <p:nvPicPr>
          <p:cNvPr id="314" name="Picture 313">
            <a:extLst>
              <a:ext uri="{FF2B5EF4-FFF2-40B4-BE49-F238E27FC236}">
                <a16:creationId xmlns:a16="http://schemas.microsoft.com/office/drawing/2014/main" id="{2B20B5B9-8DB2-4161-B58F-D93F9780C8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0616971" y="523578"/>
            <a:ext cx="1575029" cy="1956899"/>
          </a:xfrm>
          <a:custGeom>
            <a:avLst/>
            <a:gdLst>
              <a:gd name="connsiteX0" fmla="*/ 596578 w 1575029"/>
              <a:gd name="connsiteY0" fmla="*/ 0 h 1956899"/>
              <a:gd name="connsiteX1" fmla="*/ 0 w 1575029"/>
              <a:gd name="connsiteY1" fmla="*/ 596578 h 1956899"/>
              <a:gd name="connsiteX2" fmla="*/ 0 w 1575029"/>
              <a:gd name="connsiteY2" fmla="*/ 1360322 h 1956899"/>
              <a:gd name="connsiteX3" fmla="*/ 596578 w 1575029"/>
              <a:gd name="connsiteY3" fmla="*/ 1956899 h 1956899"/>
              <a:gd name="connsiteX4" fmla="*/ 1575029 w 1575029"/>
              <a:gd name="connsiteY4" fmla="*/ 978450 h 19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029" h="1956899">
                <a:moveTo>
                  <a:pt x="596578" y="0"/>
                </a:moveTo>
                <a:lnTo>
                  <a:pt x="0" y="596578"/>
                </a:lnTo>
                <a:lnTo>
                  <a:pt x="0" y="1360322"/>
                </a:lnTo>
                <a:lnTo>
                  <a:pt x="596578" y="1956899"/>
                </a:lnTo>
                <a:lnTo>
                  <a:pt x="1575029" y="978450"/>
                </a:lnTo>
                <a:close/>
              </a:path>
            </a:pathLst>
          </a:custGeom>
        </p:spPr>
      </p:pic>
      <p:sp>
        <p:nvSpPr>
          <p:cNvPr id="312" name="Freeform: Shape 311">
            <a:extLst>
              <a:ext uri="{FF2B5EF4-FFF2-40B4-BE49-F238E27FC236}">
                <a16:creationId xmlns:a16="http://schemas.microsoft.com/office/drawing/2014/main" id="{3B9C1502-37B1-4870-A32A-497FF577FBD8}"/>
              </a:ext>
            </a:extLst>
          </p:cNvPr>
          <p:cNvSpPr/>
          <p:nvPr userDrawn="1"/>
        </p:nvSpPr>
        <p:spPr bwMode="auto">
          <a:xfrm>
            <a:off x="10501668" y="408270"/>
            <a:ext cx="1690332" cy="2187510"/>
          </a:xfrm>
          <a:custGeom>
            <a:avLst/>
            <a:gdLst>
              <a:gd name="connsiteX0" fmla="*/ 1093755 w 1690332"/>
              <a:gd name="connsiteY0" fmla="*/ 0 h 2187510"/>
              <a:gd name="connsiteX1" fmla="*/ 1690332 w 1690332"/>
              <a:gd name="connsiteY1" fmla="*/ 596577 h 2187510"/>
              <a:gd name="connsiteX2" fmla="*/ 1690332 w 1690332"/>
              <a:gd name="connsiteY2" fmla="*/ 1590933 h 2187510"/>
              <a:gd name="connsiteX3" fmla="*/ 1093755 w 1690332"/>
              <a:gd name="connsiteY3" fmla="*/ 2187510 h 2187510"/>
              <a:gd name="connsiteX4" fmla="*/ 0 w 1690332"/>
              <a:gd name="connsiteY4" fmla="*/ 1093755 h 2187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0332" h="2187510">
                <a:moveTo>
                  <a:pt x="1093755" y="0"/>
                </a:moveTo>
                <a:lnTo>
                  <a:pt x="1690332" y="596577"/>
                </a:lnTo>
                <a:lnTo>
                  <a:pt x="1690332" y="1590933"/>
                </a:lnTo>
                <a:lnTo>
                  <a:pt x="1093755" y="2187510"/>
                </a:lnTo>
                <a:lnTo>
                  <a:pt x="0" y="1093755"/>
                </a:lnTo>
                <a:close/>
              </a:path>
            </a:pathLst>
          </a:custGeom>
          <a:solidFill>
            <a:srgbClr val="001C44">
              <a:alpha val="31000"/>
            </a:srgbClr>
          </a:solidFill>
          <a:ln w="12700"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68" name="Diamond 67">
            <a:extLst>
              <a:ext uri="{FF2B5EF4-FFF2-40B4-BE49-F238E27FC236}">
                <a16:creationId xmlns:a16="http://schemas.microsoft.com/office/drawing/2014/main" id="{E2382980-0374-4DB9-A3D6-AC22331D7372}"/>
              </a:ext>
            </a:extLst>
          </p:cNvPr>
          <p:cNvSpPr/>
          <p:nvPr userDrawn="1"/>
        </p:nvSpPr>
        <p:spPr bwMode="auto">
          <a:xfrm>
            <a:off x="6128365" y="404566"/>
            <a:ext cx="2187510" cy="2187510"/>
          </a:xfrm>
          <a:prstGeom prst="diamond">
            <a:avLst/>
          </a:prstGeom>
          <a:solidFill>
            <a:srgbClr val="001C44">
              <a:alpha val="31000"/>
            </a:srgbClr>
          </a:solidFill>
          <a:ln w="12700"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69" name="Diamond 68">
            <a:extLst>
              <a:ext uri="{FF2B5EF4-FFF2-40B4-BE49-F238E27FC236}">
                <a16:creationId xmlns:a16="http://schemas.microsoft.com/office/drawing/2014/main" id="{81D053F7-D39C-4A76-8407-95D8B227DDFB}"/>
              </a:ext>
            </a:extLst>
          </p:cNvPr>
          <p:cNvSpPr/>
          <p:nvPr/>
        </p:nvSpPr>
        <p:spPr bwMode="auto">
          <a:xfrm>
            <a:off x="8315874" y="2592075"/>
            <a:ext cx="2187510" cy="2187510"/>
          </a:xfrm>
          <a:prstGeom prst="diamond">
            <a:avLst/>
          </a:prstGeom>
          <a:solidFill>
            <a:srgbClr val="001C44">
              <a:alpha val="31000"/>
            </a:srgbClr>
          </a:solidFill>
          <a:ln w="12700"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316" name="Freeform: Shape 315">
            <a:extLst>
              <a:ext uri="{FF2B5EF4-FFF2-40B4-BE49-F238E27FC236}">
                <a16:creationId xmlns:a16="http://schemas.microsoft.com/office/drawing/2014/main" id="{EE537B36-A27A-4CAB-B5E3-54B99D798E60}"/>
              </a:ext>
            </a:extLst>
          </p:cNvPr>
          <p:cNvSpPr/>
          <p:nvPr userDrawn="1"/>
        </p:nvSpPr>
        <p:spPr bwMode="auto">
          <a:xfrm>
            <a:off x="10503384" y="2592075"/>
            <a:ext cx="1688616" cy="2187510"/>
          </a:xfrm>
          <a:custGeom>
            <a:avLst/>
            <a:gdLst>
              <a:gd name="connsiteX0" fmla="*/ 1093755 w 1688616"/>
              <a:gd name="connsiteY0" fmla="*/ 0 h 2187510"/>
              <a:gd name="connsiteX1" fmla="*/ 1688616 w 1688616"/>
              <a:gd name="connsiteY1" fmla="*/ 594861 h 2187510"/>
              <a:gd name="connsiteX2" fmla="*/ 1688616 w 1688616"/>
              <a:gd name="connsiteY2" fmla="*/ 1592649 h 2187510"/>
              <a:gd name="connsiteX3" fmla="*/ 1093755 w 1688616"/>
              <a:gd name="connsiteY3" fmla="*/ 2187510 h 2187510"/>
              <a:gd name="connsiteX4" fmla="*/ 0 w 1688616"/>
              <a:gd name="connsiteY4" fmla="*/ 1093755 h 2187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8616" h="2187510">
                <a:moveTo>
                  <a:pt x="1093755" y="0"/>
                </a:moveTo>
                <a:lnTo>
                  <a:pt x="1688616" y="594861"/>
                </a:lnTo>
                <a:lnTo>
                  <a:pt x="1688616" y="1592649"/>
                </a:lnTo>
                <a:lnTo>
                  <a:pt x="1093755" y="2187510"/>
                </a:lnTo>
                <a:lnTo>
                  <a:pt x="0" y="1093755"/>
                </a:lnTo>
                <a:close/>
              </a:path>
            </a:pathLst>
          </a:custGeom>
          <a:solidFill>
            <a:srgbClr val="001C44">
              <a:alpha val="31000"/>
            </a:srgbClr>
          </a:solidFill>
          <a:ln w="12700"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sp>
        <p:nvSpPr>
          <p:cNvPr id="71" name="Diamond 70">
            <a:extLst>
              <a:ext uri="{FF2B5EF4-FFF2-40B4-BE49-F238E27FC236}">
                <a16:creationId xmlns:a16="http://schemas.microsoft.com/office/drawing/2014/main" id="{738CCDC2-E3AB-421D-ADD9-F5C8C9ABC533}"/>
              </a:ext>
            </a:extLst>
          </p:cNvPr>
          <p:cNvSpPr/>
          <p:nvPr/>
        </p:nvSpPr>
        <p:spPr bwMode="auto">
          <a:xfrm>
            <a:off x="8315874" y="408270"/>
            <a:ext cx="2187510" cy="2187510"/>
          </a:xfrm>
          <a:prstGeom prst="diamond">
            <a:avLst/>
          </a:prstGeom>
          <a:solidFill>
            <a:srgbClr val="001C44">
              <a:alpha val="31000"/>
            </a:srgbClr>
          </a:solidFill>
          <a:ln w="12700"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cs typeface="Arial" charset="0"/>
            </a:endParaRPr>
          </a:p>
        </p:txBody>
      </p:sp>
      <p:cxnSp>
        <p:nvCxnSpPr>
          <p:cNvPr id="82" name="Straight Connector 81">
            <a:extLst>
              <a:ext uri="{FF2B5EF4-FFF2-40B4-BE49-F238E27FC236}">
                <a16:creationId xmlns:a16="http://schemas.microsoft.com/office/drawing/2014/main" id="{E86EBEF9-AF1D-417C-BDDF-743FFCA5E352}"/>
              </a:ext>
            </a:extLst>
          </p:cNvPr>
          <p:cNvCxnSpPr>
            <a:cxnSpLocks/>
            <a:stCxn id="32" idx="2"/>
          </p:cNvCxnSpPr>
          <p:nvPr userDrawn="1"/>
        </p:nvCxnSpPr>
        <p:spPr>
          <a:xfrm flipH="1">
            <a:off x="0" y="2408624"/>
            <a:ext cx="4572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378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EFAULT_Title_Bulleted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74D392-A269-4E57-89D6-0403897A583F}"/>
              </a:ext>
            </a:extLst>
          </p:cNvPr>
          <p:cNvSpPr>
            <a:spLocks noGrp="1"/>
          </p:cNvSpPr>
          <p:nvPr>
            <p:ph sz="quarter" idx="19"/>
          </p:nvPr>
        </p:nvSpPr>
        <p:spPr>
          <a:xfrm>
            <a:off x="217715" y="821943"/>
            <a:ext cx="11753548" cy="5641049"/>
          </a:xfrm>
        </p:spPr>
        <p:txBody>
          <a:bodyPr/>
          <a:lstStyle/>
          <a:p>
            <a:pPr lvl="0"/>
            <a:r>
              <a:rPr lang="en-US"/>
              <a:t>Edit Master text styles</a:t>
            </a:r>
          </a:p>
        </p:txBody>
      </p:sp>
      <p:sp>
        <p:nvSpPr>
          <p:cNvPr id="6" name="Title 2" descr="txt_content_slide_title">
            <a:extLst>
              <a:ext uri="{FF2B5EF4-FFF2-40B4-BE49-F238E27FC236}">
                <a16:creationId xmlns:a16="http://schemas.microsoft.com/office/drawing/2014/main" id="{AA5BFB2B-13E8-460D-94FD-9DABF9D69740}"/>
              </a:ext>
            </a:extLst>
          </p:cNvPr>
          <p:cNvSpPr>
            <a:spLocks noGrp="1"/>
          </p:cNvSpPr>
          <p:nvPr>
            <p:ph type="title" hasCustomPrompt="1"/>
          </p:nvPr>
        </p:nvSpPr>
        <p:spPr>
          <a:xfrm>
            <a:off x="217717" y="201712"/>
            <a:ext cx="8360231" cy="484095"/>
          </a:xfrm>
        </p:spPr>
        <p:txBody>
          <a:bodyPr/>
          <a:lstStyle>
            <a:lvl1pPr algn="l" defTabSz="214198" rtl="0" eaLnBrk="1" latinLnBrk="0" hangingPunct="1">
              <a:lnSpc>
                <a:spcPct val="90000"/>
              </a:lnSpc>
              <a:spcBef>
                <a:spcPct val="0"/>
              </a:spcBef>
              <a:buNone/>
              <a:defRPr lang="en-US" sz="2118" b="1" kern="1200" cap="none" spc="-25" baseline="0">
                <a:ln w="3175">
                  <a:noFill/>
                </a:ln>
                <a:solidFill>
                  <a:schemeClr val="bg2">
                    <a:lumMod val="10000"/>
                  </a:schemeClr>
                </a:solidFill>
                <a:effectLst/>
                <a:latin typeface="+mj-lt"/>
                <a:ea typeface="+mn-ea"/>
                <a:cs typeface="Segoe UI Light" panose="020B0502040204020203" pitchFamily="34" charset="0"/>
              </a:defRPr>
            </a:lvl1pPr>
          </a:lstStyle>
          <a:p>
            <a:r>
              <a:rPr lang="en-US">
                <a:solidFill>
                  <a:srgbClr val="505050"/>
                </a:solidFill>
                <a:latin typeface="Segoe UI Semibold" panose="020B0702040204020203" pitchFamily="34" charset="0"/>
                <a:cs typeface="Segoe UI Semibold" panose="020B0702040204020203" pitchFamily="34" charset="0"/>
              </a:rPr>
              <a:t>&lt;Topic&gt;</a:t>
            </a:r>
            <a:endParaRPr lang="en-US"/>
          </a:p>
        </p:txBody>
      </p:sp>
      <p:sp>
        <p:nvSpPr>
          <p:cNvPr id="8" name="Text Placeholder 4">
            <a:extLst>
              <a:ext uri="{FF2B5EF4-FFF2-40B4-BE49-F238E27FC236}">
                <a16:creationId xmlns:a16="http://schemas.microsoft.com/office/drawing/2014/main" id="{85F667C6-AE81-44F0-A487-A2463964D9C4}"/>
              </a:ext>
            </a:extLst>
          </p:cNvPr>
          <p:cNvSpPr>
            <a:spLocks noGrp="1"/>
          </p:cNvSpPr>
          <p:nvPr>
            <p:ph type="body" sz="quarter" idx="18" hasCustomPrompt="1"/>
          </p:nvPr>
        </p:nvSpPr>
        <p:spPr>
          <a:xfrm>
            <a:off x="9502017" y="6586596"/>
            <a:ext cx="2472267" cy="253350"/>
          </a:xfrm>
        </p:spPr>
        <p:txBody>
          <a:bodyPr/>
          <a:lstStyle>
            <a:lvl1pPr marL="0" indent="0">
              <a:buNone/>
              <a:defRPr sz="653" b="0">
                <a:latin typeface="+mj-lt"/>
                <a:ea typeface="Microsoft Himalaya" panose="01010100010101010101" pitchFamily="2" charset="0"/>
                <a:cs typeface="Microsoft Himalaya" panose="01010100010101010101" pitchFamily="2" charset="0"/>
              </a:defRPr>
            </a:lvl1pPr>
          </a:lstStyle>
          <a:p>
            <a:pPr lvl="0"/>
            <a:r>
              <a:rPr lang="en-US"/>
              <a:t>Slide Lock Date:</a:t>
            </a:r>
          </a:p>
        </p:txBody>
      </p:sp>
      <p:sp>
        <p:nvSpPr>
          <p:cNvPr id="9" name="Text Placeholder 6">
            <a:extLst>
              <a:ext uri="{FF2B5EF4-FFF2-40B4-BE49-F238E27FC236}">
                <a16:creationId xmlns:a16="http://schemas.microsoft.com/office/drawing/2014/main" id="{04A709E9-275C-48B6-AFDE-9BB462E4AE16}"/>
              </a:ext>
            </a:extLst>
          </p:cNvPr>
          <p:cNvSpPr>
            <a:spLocks noGrp="1"/>
          </p:cNvSpPr>
          <p:nvPr>
            <p:ph type="body" sz="quarter" idx="12" hasCustomPrompt="1"/>
          </p:nvPr>
        </p:nvSpPr>
        <p:spPr>
          <a:xfrm>
            <a:off x="8575187" y="201717"/>
            <a:ext cx="3396343" cy="484094"/>
          </a:xfrm>
        </p:spPr>
        <p:txBody>
          <a:bodyPr vert="horz" wrap="square" lIns="127337" tIns="79586" rIns="127337" bIns="79586" rtlCol="0" anchor="t">
            <a:noAutofit/>
          </a:bodyPr>
          <a:lstStyle>
            <a:lvl1pPr marL="0" indent="0" algn="r" defTabSz="648691">
              <a:buFontTx/>
              <a:buNone/>
              <a:defRPr lang="en-US" sz="982" b="0" cap="none" dirty="0">
                <a:ln w="3175">
                  <a:noFill/>
                </a:ln>
                <a:solidFill>
                  <a:schemeClr val="tx1"/>
                </a:solidFill>
                <a:effectLst/>
                <a:latin typeface="+mn-lt"/>
                <a:cs typeface="Segoe UI" pitchFamily="34" charset="0"/>
              </a:defRPr>
            </a:lvl1pPr>
          </a:lstStyle>
          <a:p>
            <a:pPr algn="r" defTabSz="735144"/>
            <a:r>
              <a:rPr lang="en-GB" sz="842">
                <a:latin typeface="Segoe UI Light"/>
              </a:rPr>
              <a:t>Presenter:  Insert Name </a:t>
            </a:r>
          </a:p>
          <a:p>
            <a:pPr algn="r" defTabSz="735144"/>
            <a:r>
              <a:rPr lang="en-GB" sz="842">
                <a:latin typeface="Segoe UI Light"/>
              </a:rPr>
              <a:t>OneNote page:  / Slide 1 of X</a:t>
            </a:r>
            <a:endParaRPr lang="en-US" sz="842">
              <a:latin typeface="Segoe UI Light"/>
            </a:endParaRPr>
          </a:p>
        </p:txBody>
      </p:sp>
    </p:spTree>
    <p:extLst>
      <p:ext uri="{BB962C8B-B14F-4D97-AF65-F5344CB8AC3E}">
        <p14:creationId xmlns:p14="http://schemas.microsoft.com/office/powerpoint/2010/main" val="305305733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7126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Only with gri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9CDF142-22B3-492B-AD38-9B1A5D81DAB6}"/>
              </a:ext>
            </a:extLst>
          </p:cNvPr>
          <p:cNvSpPr/>
          <p:nvPr userDrawn="1"/>
        </p:nvSpPr>
        <p:spPr bwMode="auto">
          <a:xfrm>
            <a:off x="2" y="0"/>
            <a:ext cx="6221338"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1612084"/>
            <a:ext cx="5296722" cy="482761"/>
          </a:xfrm>
        </p:spPr>
        <p:txBody>
          <a:bodyPr anchor="b"/>
          <a:lstStyle>
            <a:lvl1pPr>
              <a:defRPr sz="3136">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C8F9E26E-C383-4095-A2E6-1ABF9F8E9EC1}"/>
              </a:ext>
            </a:extLst>
          </p:cNvPr>
          <p:cNvSpPr>
            <a:spLocks noGrp="1"/>
          </p:cNvSpPr>
          <p:nvPr>
            <p:ph type="body" sz="quarter" idx="10" hasCustomPrompt="1"/>
          </p:nvPr>
        </p:nvSpPr>
        <p:spPr>
          <a:xfrm>
            <a:off x="1169437" y="2586230"/>
            <a:ext cx="4715548" cy="2185214"/>
          </a:xfrm>
        </p:spPr>
        <p:txBody>
          <a:bodyPr/>
          <a:lstStyle>
            <a:lvl1pPr>
              <a:spcBef>
                <a:spcPts val="600"/>
              </a:spcBef>
              <a:spcAft>
                <a:spcPts val="600"/>
              </a:spcAft>
              <a:defRPr cap="none" baseline="0">
                <a:solidFill>
                  <a:schemeClr val="accent3"/>
                </a:solidFill>
              </a:defRPr>
            </a:lvl1pPr>
            <a:lvl2pPr>
              <a:spcBef>
                <a:spcPts val="1200"/>
              </a:spcBef>
              <a:spcAft>
                <a:spcPts val="1200"/>
              </a:spcAft>
              <a:defRPr>
                <a:solidFill>
                  <a:schemeClr val="accent3"/>
                </a:solidFill>
              </a:defRPr>
            </a:lvl2pPr>
            <a:lvl3pPr>
              <a:spcBef>
                <a:spcPts val="600"/>
              </a:spcBef>
              <a:spcAft>
                <a:spcPts val="600"/>
              </a:spcAft>
              <a:defRPr>
                <a:solidFill>
                  <a:schemeClr val="accent3"/>
                </a:solidFill>
              </a:defRPr>
            </a:lvl3pPr>
            <a:lvl4pPr>
              <a:spcBef>
                <a:spcPts val="600"/>
              </a:spcBef>
              <a:spcAft>
                <a:spcPts val="600"/>
              </a:spcAft>
              <a:defRPr>
                <a:solidFill>
                  <a:schemeClr val="accent3"/>
                </a:solidFill>
              </a:defRPr>
            </a:lvl4pPr>
            <a:lvl5pPr>
              <a:spcBef>
                <a:spcPts val="600"/>
              </a:spcBef>
              <a:spcAft>
                <a:spcPts val="600"/>
              </a:spcAft>
              <a:defRPr>
                <a:solidFill>
                  <a:schemeClr val="accent3"/>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58402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7" name="Text Placeholder 3">
            <a:extLst>
              <a:ext uri="{FF2B5EF4-FFF2-40B4-BE49-F238E27FC236}">
                <a16:creationId xmlns:a16="http://schemas.microsoft.com/office/drawing/2014/main" id="{03EF6C1A-45AE-2F44-AA53-6740B2A5383A}"/>
              </a:ext>
            </a:extLst>
          </p:cNvPr>
          <p:cNvSpPr>
            <a:spLocks noGrp="1"/>
          </p:cNvSpPr>
          <p:nvPr>
            <p:ph type="body" sz="quarter" idx="11"/>
          </p:nvPr>
        </p:nvSpPr>
        <p:spPr>
          <a:xfrm>
            <a:off x="584200" y="1310314"/>
            <a:ext cx="11018838" cy="1489639"/>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b="1">
                <a:solidFill>
                  <a:srgbClr val="0078D4"/>
                </a:solidFill>
              </a:rPr>
              <a:t>Edit Master text styles</a:t>
            </a:r>
          </a:p>
          <a:p>
            <a:pPr lvl="1"/>
            <a:r>
              <a:rPr lang="en-US" sz="1600" b="1">
                <a:solidFill>
                  <a:srgbClr val="0078D4"/>
                </a:solidFill>
              </a:rPr>
              <a:t>Second level</a:t>
            </a:r>
          </a:p>
          <a:p>
            <a:pPr lvl="2"/>
            <a:r>
              <a:rPr lang="en-US" sz="1600" b="1">
                <a:solidFill>
                  <a:srgbClr val="0078D4"/>
                </a:solidFill>
              </a:rPr>
              <a:t>Third level</a:t>
            </a:r>
          </a:p>
          <a:p>
            <a:pPr lvl="3"/>
            <a:r>
              <a:rPr lang="en-US" sz="1600" b="1">
                <a:solidFill>
                  <a:srgbClr val="0078D4"/>
                </a:solidFill>
              </a:rPr>
              <a:t>Fourth level</a:t>
            </a:r>
          </a:p>
          <a:p>
            <a:pPr lvl="4"/>
            <a:r>
              <a:rPr lang="en-US" sz="1600" b="1">
                <a:solidFill>
                  <a:srgbClr val="0078D4"/>
                </a:solidFill>
              </a:rPr>
              <a:t>Fifth level</a:t>
            </a:r>
            <a:endParaRPr lang="en-US" sz="1200"/>
          </a:p>
        </p:txBody>
      </p:sp>
    </p:spTree>
    <p:extLst>
      <p:ext uri="{BB962C8B-B14F-4D97-AF65-F5344CB8AC3E}">
        <p14:creationId xmlns:p14="http://schemas.microsoft.com/office/powerpoint/2010/main" val="32523340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5074782"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826B2FA8-92D5-4924-B2A6-AEEF0074ACA5}"/>
              </a:ext>
            </a:extLst>
          </p:cNvPr>
          <p:cNvSpPr>
            <a:spLocks noGrp="1"/>
          </p:cNvSpPr>
          <p:nvPr>
            <p:ph type="body" sz="quarter" idx="11"/>
          </p:nvPr>
        </p:nvSpPr>
        <p:spPr>
          <a:xfrm>
            <a:off x="588262" y="2474328"/>
            <a:ext cx="5074781" cy="1822037"/>
          </a:xfrm>
        </p:spPr>
        <p:txBody>
          <a:bodyPr/>
          <a:lstStyle>
            <a:lvl1pPr>
              <a:defRPr sz="2200"/>
            </a:lvl1pPr>
            <a:lvl2pPr>
              <a:defRPr sz="1800"/>
            </a:lvl2pPr>
            <a:lvl3pPr algn="r">
              <a:spcBef>
                <a:spcPts val="1200"/>
              </a:spcBef>
              <a:defRPr sz="1400" b="1"/>
            </a:lvl3pPr>
            <a:lvl4pPr algn="r">
              <a:defRPr sz="1200" b="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4770862B-6A7D-4DFB-9AE0-FD9F355A8E88}"/>
              </a:ext>
            </a:extLst>
          </p:cNvPr>
          <p:cNvSpPr>
            <a:spLocks noGrp="1"/>
          </p:cNvSpPr>
          <p:nvPr>
            <p:ph type="body" sz="quarter" idx="12"/>
          </p:nvPr>
        </p:nvSpPr>
        <p:spPr>
          <a:xfrm>
            <a:off x="588262" y="4419450"/>
            <a:ext cx="5074781" cy="1929445"/>
          </a:xfrm>
        </p:spPr>
        <p:txBody>
          <a:bodyPr/>
          <a:lstStyle>
            <a:lvl1pPr>
              <a:defRPr sz="2350"/>
            </a:lvl1pPr>
            <a:lvl2pPr>
              <a:defRPr sz="2000"/>
            </a:lvl2pPr>
            <a:lvl3pPr algn="r">
              <a:spcBef>
                <a:spcPts val="1200"/>
              </a:spcBef>
              <a:defRPr sz="1400" b="1"/>
            </a:lvl3pPr>
            <a:lvl4pPr algn="r">
              <a:defRPr sz="1200" b="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58938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585788"/>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7302752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BAEF2C3-07AE-4B02-AF7B-4F23F03624E2}"/>
              </a:ext>
            </a:extLst>
          </p:cNvPr>
          <p:cNvSpPr/>
          <p:nvPr userDrawn="1"/>
        </p:nvSpPr>
        <p:spPr bwMode="auto">
          <a:xfrm>
            <a:off x="5666154" y="0"/>
            <a:ext cx="652584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33556" y="2277186"/>
            <a:ext cx="4030629" cy="1231106"/>
          </a:xfrm>
        </p:spPr>
        <p:txBody>
          <a:bodyPr anchor="b"/>
          <a:lstStyle>
            <a:lvl1pPr algn="l" defTabSz="932742" rtl="0" eaLnBrk="1" latinLnBrk="0" hangingPunct="1">
              <a:lnSpc>
                <a:spcPct val="100000"/>
              </a:lnSpc>
              <a:spcBef>
                <a:spcPct val="0"/>
              </a:spcBef>
              <a:buNone/>
              <a:defRPr lang="en-US" sz="4000" b="0"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93C34581-7772-47A5-8C32-A74466459FA7}"/>
              </a:ext>
            </a:extLst>
          </p:cNvPr>
          <p:cNvSpPr>
            <a:spLocks noGrp="1"/>
          </p:cNvSpPr>
          <p:nvPr>
            <p:ph type="body" sz="quarter" idx="10"/>
          </p:nvPr>
        </p:nvSpPr>
        <p:spPr>
          <a:xfrm>
            <a:off x="6610193" y="937754"/>
            <a:ext cx="4808084" cy="430887"/>
          </a:xfrm>
        </p:spPr>
        <p:txBody>
          <a:bodyPr/>
          <a:lstStyle>
            <a:lvl1pPr marL="0" indent="0" algn="l">
              <a:buNone/>
              <a:defRPr sz="2800">
                <a:solidFill>
                  <a:schemeClr val="bg1"/>
                </a:solidFill>
              </a:defRPr>
            </a:lvl1pPr>
            <a:lvl2pPr algn="l">
              <a:defRPr sz="1800">
                <a:solidFill>
                  <a:schemeClr val="bg1"/>
                </a:solidFill>
              </a:defRPr>
            </a:lvl2pPr>
            <a:lvl3pPr algn="l">
              <a:defRPr sz="1400">
                <a:solidFill>
                  <a:schemeClr val="bg1"/>
                </a:solidFill>
              </a:defRPr>
            </a:lvl3pPr>
            <a:lvl4pPr algn="l">
              <a:defRPr sz="1200">
                <a:solidFill>
                  <a:schemeClr val="bg1"/>
                </a:solidFill>
              </a:defRPr>
            </a:lvl4pPr>
            <a:lvl5pPr algn="l">
              <a:defRPr sz="1200">
                <a:solidFill>
                  <a:schemeClr val="bg1"/>
                </a:solidFill>
              </a:defRPr>
            </a:lvl5pPr>
          </a:lstStyle>
          <a:p>
            <a:pPr lvl="0"/>
            <a:r>
              <a:rPr lang="en-US"/>
              <a:t>Click to edit Master text styles</a:t>
            </a:r>
          </a:p>
        </p:txBody>
      </p:sp>
      <p:sp>
        <p:nvSpPr>
          <p:cNvPr id="5" name="Text Placeholder 3">
            <a:extLst>
              <a:ext uri="{FF2B5EF4-FFF2-40B4-BE49-F238E27FC236}">
                <a16:creationId xmlns:a16="http://schemas.microsoft.com/office/drawing/2014/main" id="{E0447227-D9B4-4F10-BC61-BF7EB39191A8}"/>
              </a:ext>
            </a:extLst>
          </p:cNvPr>
          <p:cNvSpPr>
            <a:spLocks noGrp="1"/>
          </p:cNvSpPr>
          <p:nvPr>
            <p:ph type="body" sz="quarter" idx="11"/>
          </p:nvPr>
        </p:nvSpPr>
        <p:spPr>
          <a:xfrm>
            <a:off x="6610193" y="2461852"/>
            <a:ext cx="4808084" cy="430887"/>
          </a:xfrm>
        </p:spPr>
        <p:txBody>
          <a:bodyPr/>
          <a:lstStyle>
            <a:lvl1pPr marL="0" indent="0" algn="l">
              <a:buNone/>
              <a:defRPr sz="2800">
                <a:solidFill>
                  <a:schemeClr val="bg1"/>
                </a:solidFill>
              </a:defRPr>
            </a:lvl1pPr>
            <a:lvl2pPr algn="l">
              <a:defRPr sz="1800">
                <a:solidFill>
                  <a:schemeClr val="bg1"/>
                </a:solidFill>
              </a:defRPr>
            </a:lvl2pPr>
            <a:lvl3pPr algn="l">
              <a:defRPr sz="1400">
                <a:solidFill>
                  <a:schemeClr val="bg1"/>
                </a:solidFill>
              </a:defRPr>
            </a:lvl3pPr>
            <a:lvl4pPr algn="l">
              <a:defRPr sz="1200">
                <a:solidFill>
                  <a:schemeClr val="bg1"/>
                </a:solidFill>
              </a:defRPr>
            </a:lvl4pPr>
            <a:lvl5pPr algn="l">
              <a:defRPr sz="1200">
                <a:solidFill>
                  <a:schemeClr val="bg1"/>
                </a:solidFill>
              </a:defRPr>
            </a:lvl5pPr>
          </a:lstStyle>
          <a:p>
            <a:pPr lvl="0"/>
            <a:r>
              <a:rPr lang="en-US"/>
              <a:t>Click to edit Master text styles</a:t>
            </a:r>
          </a:p>
        </p:txBody>
      </p:sp>
      <p:sp>
        <p:nvSpPr>
          <p:cNvPr id="6" name="Text Placeholder 3">
            <a:extLst>
              <a:ext uri="{FF2B5EF4-FFF2-40B4-BE49-F238E27FC236}">
                <a16:creationId xmlns:a16="http://schemas.microsoft.com/office/drawing/2014/main" id="{D83A417C-8AC6-43FB-AF97-56E71F67A561}"/>
              </a:ext>
            </a:extLst>
          </p:cNvPr>
          <p:cNvSpPr>
            <a:spLocks noGrp="1"/>
          </p:cNvSpPr>
          <p:nvPr>
            <p:ph type="body" sz="quarter" idx="12"/>
          </p:nvPr>
        </p:nvSpPr>
        <p:spPr>
          <a:xfrm>
            <a:off x="6610193" y="3985950"/>
            <a:ext cx="4808084" cy="430887"/>
          </a:xfrm>
        </p:spPr>
        <p:txBody>
          <a:bodyPr/>
          <a:lstStyle>
            <a:lvl1pPr marL="0" indent="0" algn="l">
              <a:buNone/>
              <a:defRPr sz="2800">
                <a:solidFill>
                  <a:schemeClr val="bg1"/>
                </a:solidFill>
              </a:defRPr>
            </a:lvl1pPr>
            <a:lvl2pPr algn="l">
              <a:defRPr sz="1800">
                <a:solidFill>
                  <a:schemeClr val="bg1"/>
                </a:solidFill>
              </a:defRPr>
            </a:lvl2pPr>
            <a:lvl3pPr algn="l">
              <a:defRPr sz="1400">
                <a:solidFill>
                  <a:schemeClr val="bg1"/>
                </a:solidFill>
              </a:defRPr>
            </a:lvl3pPr>
            <a:lvl4pPr algn="l">
              <a:defRPr sz="1200">
                <a:solidFill>
                  <a:schemeClr val="bg1"/>
                </a:solidFill>
              </a:defRPr>
            </a:lvl4pPr>
            <a:lvl5pPr algn="l">
              <a:defRPr sz="1200">
                <a:solidFill>
                  <a:schemeClr val="bg1"/>
                </a:solidFill>
              </a:defRPr>
            </a:lvl5pPr>
          </a:lstStyle>
          <a:p>
            <a:pPr lvl="0"/>
            <a:r>
              <a:rPr lang="en-US"/>
              <a:t>Click to edit Master text styles</a:t>
            </a:r>
          </a:p>
        </p:txBody>
      </p:sp>
      <p:sp>
        <p:nvSpPr>
          <p:cNvPr id="7" name="Text Placeholder 3">
            <a:extLst>
              <a:ext uri="{FF2B5EF4-FFF2-40B4-BE49-F238E27FC236}">
                <a16:creationId xmlns:a16="http://schemas.microsoft.com/office/drawing/2014/main" id="{7BE9DAE2-5343-439A-A384-E867626B1B7E}"/>
              </a:ext>
            </a:extLst>
          </p:cNvPr>
          <p:cNvSpPr>
            <a:spLocks noGrp="1"/>
          </p:cNvSpPr>
          <p:nvPr>
            <p:ph type="body" sz="quarter" idx="13"/>
          </p:nvPr>
        </p:nvSpPr>
        <p:spPr>
          <a:xfrm>
            <a:off x="6610193" y="5510049"/>
            <a:ext cx="4808084" cy="430887"/>
          </a:xfrm>
        </p:spPr>
        <p:txBody>
          <a:bodyPr/>
          <a:lstStyle>
            <a:lvl1pPr marL="0" indent="0" algn="l">
              <a:buNone/>
              <a:defRPr sz="2800">
                <a:solidFill>
                  <a:schemeClr val="bg1"/>
                </a:solidFill>
              </a:defRPr>
            </a:lvl1pPr>
            <a:lvl2pPr algn="l">
              <a:defRPr sz="1800">
                <a:solidFill>
                  <a:schemeClr val="bg1"/>
                </a:solidFill>
              </a:defRPr>
            </a:lvl2pPr>
            <a:lvl3pPr algn="l">
              <a:defRPr sz="1400">
                <a:solidFill>
                  <a:schemeClr val="bg1"/>
                </a:solidFill>
              </a:defRPr>
            </a:lvl3pPr>
            <a:lvl4pPr algn="l">
              <a:defRPr sz="1200">
                <a:solidFill>
                  <a:schemeClr val="bg1"/>
                </a:solidFill>
              </a:defRPr>
            </a:lvl4pPr>
            <a:lvl5pPr algn="l">
              <a:defRPr sz="12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04715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7" y="2139705"/>
            <a:ext cx="11339774" cy="1979132"/>
          </a:xfrm>
        </p:spPr>
        <p:txBody>
          <a:bodyPr wrap="square" lIns="0" tIns="0" rIns="0" bIns="0">
            <a:spAutoFit/>
          </a:bodyPr>
          <a:lstStyle>
            <a:lvl1pPr marL="0" indent="0">
              <a:lnSpc>
                <a:spcPct val="150000"/>
              </a:lnSpc>
              <a:spcBef>
                <a:spcPts val="2000"/>
              </a:spcBef>
              <a:spcAft>
                <a:spcPts val="0"/>
              </a:spcAft>
              <a:buNone/>
              <a:defRPr sz="2600" b="0" i="0">
                <a:solidFill>
                  <a:srgbClr val="000000"/>
                </a:solidFill>
                <a:latin typeface="+mn-lt"/>
              </a:defRPr>
            </a:lvl1pPr>
            <a:lvl2pPr marL="206099" indent="0">
              <a:lnSpc>
                <a:spcPct val="150000"/>
              </a:lnSpc>
              <a:spcBef>
                <a:spcPts val="2000"/>
              </a:spcBef>
              <a:spcAft>
                <a:spcPts val="0"/>
              </a:spcAft>
              <a:buNone/>
              <a:defRPr sz="2000">
                <a:solidFill>
                  <a:srgbClr val="000000"/>
                </a:solidFill>
              </a:defRPr>
            </a:lvl2pPr>
            <a:lvl3pPr marL="412198" indent="0">
              <a:lnSpc>
                <a:spcPct val="150000"/>
              </a:lnSpc>
              <a:spcBef>
                <a:spcPts val="2000"/>
              </a:spcBef>
              <a:spcAft>
                <a:spcPts val="0"/>
              </a:spcAft>
              <a:buNone/>
              <a:defRPr sz="2000">
                <a:solidFill>
                  <a:srgbClr val="000000"/>
                </a:solidFill>
              </a:defRPr>
            </a:lvl3pPr>
            <a:lvl4pPr marL="618297" indent="0">
              <a:spcBef>
                <a:spcPts val="0"/>
              </a:spcBef>
              <a:spcAft>
                <a:spcPts val="1172"/>
              </a:spcAft>
              <a:buNone/>
              <a:defRPr sz="1803"/>
            </a:lvl4pPr>
            <a:lvl5pPr marL="824395"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6"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72312026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Blu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034063" y="0"/>
            <a:ext cx="1157937" cy="121034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chemeClr val="accent4">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err="1">
              <a:gradFill>
                <a:gsLst>
                  <a:gs pos="0">
                    <a:srgbClr val="FFFFFF"/>
                  </a:gs>
                  <a:gs pos="100000">
                    <a:srgbClr val="FFFFFF"/>
                  </a:gs>
                </a:gsLst>
                <a:lin ang="5400000" scaled="0"/>
              </a:gradFill>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24584740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D056E7-DF2F-D84E-BCAA-821E02159591}"/>
              </a:ext>
            </a:extLst>
          </p:cNvPr>
          <p:cNvSpPr/>
          <p:nvPr userDrawn="1"/>
        </p:nvSpPr>
        <p:spPr>
          <a:xfrm>
            <a:off x="0" y="0"/>
            <a:ext cx="12198096"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5494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D056E7-DF2F-D84E-BCAA-821E02159591}"/>
              </a:ext>
            </a:extLst>
          </p:cNvPr>
          <p:cNvSpPr/>
          <p:nvPr userDrawn="1"/>
        </p:nvSpPr>
        <p:spPr>
          <a:xfrm>
            <a:off x="0" y="0"/>
            <a:ext cx="12198096"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5832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7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960548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Title Slide Photo_Option">
    <p:spTree>
      <p:nvGrpSpPr>
        <p:cNvPr id="1" name=""/>
        <p:cNvGrpSpPr/>
        <p:nvPr/>
      </p:nvGrpSpPr>
      <p:grpSpPr>
        <a:xfrm>
          <a:off x="0" y="0"/>
          <a:ext cx="0" cy="0"/>
          <a:chOff x="0" y="0"/>
          <a:chExt cx="0" cy="0"/>
        </a:xfrm>
      </p:grpSpPr>
      <p:sp>
        <p:nvSpPr>
          <p:cNvPr id="4" name="Rectangle 3"/>
          <p:cNvSpPr/>
          <p:nvPr userDrawn="1"/>
        </p:nvSpPr>
        <p:spPr bwMode="auto">
          <a:xfrm>
            <a:off x="2" y="0"/>
            <a:ext cx="5878286" cy="6858000"/>
          </a:xfrm>
          <a:prstGeom prst="rect">
            <a:avLst/>
          </a:prstGeom>
          <a:solidFill>
            <a:srgbClr val="002050">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5784" tIns="108626" rIns="135784" bIns="108626" numCol="1" spcCol="0" rtlCol="0" fromWordArt="0" anchor="t" anchorCtr="0" forceAA="0" compatLnSpc="1">
            <a:prstTxWarp prst="textNoShape">
              <a:avLst/>
            </a:prstTxWarp>
            <a:noAutofit/>
          </a:bodyPr>
          <a:lstStyle/>
          <a:p>
            <a:pPr algn="ctr" defTabSz="692461" fontAlgn="base">
              <a:lnSpc>
                <a:spcPct val="90000"/>
              </a:lnSpc>
              <a:spcBef>
                <a:spcPct val="0"/>
              </a:spcBef>
              <a:spcAft>
                <a:spcPct val="0"/>
              </a:spcAft>
            </a:pPr>
            <a:endParaRPr lang="en-US" sz="1782">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617132" y="2084167"/>
            <a:ext cx="5486400" cy="1793104"/>
          </a:xfrm>
          <a:noFill/>
        </p:spPr>
        <p:txBody>
          <a:bodyPr lIns="146304" tIns="91440" rIns="146304" bIns="91440" anchor="t" anchorCtr="0"/>
          <a:lstStyle>
            <a:lvl1pPr>
              <a:defRPr sz="4010" spc="-75" baseline="0">
                <a:solidFill>
                  <a:schemeClr val="bg1"/>
                </a:solidFill>
                <a:latin typeface="Segoe UI" panose="020B0502040204020203" pitchFamily="34" charset="0"/>
                <a:cs typeface="Segoe UI" panose="020B05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617478" y="3877271"/>
            <a:ext cx="5486400" cy="1789991"/>
          </a:xfrm>
        </p:spPr>
        <p:txBody>
          <a:bodyPr tIns="109728" bIns="109728">
            <a:noAutofit/>
          </a:bodyPr>
          <a:lstStyle>
            <a:lvl1pPr marL="0" indent="0">
              <a:spcBef>
                <a:spcPts val="0"/>
              </a:spcBef>
              <a:buNone/>
              <a:defRPr sz="2376">
                <a:solidFill>
                  <a:schemeClr val="bg1"/>
                </a:solidFill>
                <a:latin typeface="Segoe UI" panose="020B0502040204020203" pitchFamily="34" charset="0"/>
                <a:cs typeface="Segoe UI" panose="020B0502040204020203" pitchFamily="34" charset="0"/>
              </a:defRPr>
            </a:lvl1pPr>
          </a:lstStyle>
          <a:p>
            <a:pPr lvl="0"/>
            <a:r>
              <a:rPr lang="en-US"/>
              <a:t>Speaker Name</a:t>
            </a:r>
          </a:p>
        </p:txBody>
      </p:sp>
      <p:sp>
        <p:nvSpPr>
          <p:cNvPr id="13" name="Freeform 6"/>
          <p:cNvSpPr>
            <a:spLocks noEditPoints="1"/>
          </p:cNvSpPr>
          <p:nvPr userDrawn="1"/>
        </p:nvSpPr>
        <p:spPr bwMode="auto">
          <a:xfrm>
            <a:off x="5973487" y="2103611"/>
            <a:ext cx="6096001" cy="3566769"/>
          </a:xfrm>
          <a:custGeom>
            <a:avLst/>
            <a:gdLst>
              <a:gd name="T0" fmla="*/ 1776 w 2020"/>
              <a:gd name="T1" fmla="*/ 1074 h 1182"/>
              <a:gd name="T2" fmla="*/ 1629 w 2020"/>
              <a:gd name="T3" fmla="*/ 1146 h 1182"/>
              <a:gd name="T4" fmla="*/ 1498 w 2020"/>
              <a:gd name="T5" fmla="*/ 1016 h 1182"/>
              <a:gd name="T6" fmla="*/ 1543 w 2020"/>
              <a:gd name="T7" fmla="*/ 901 h 1182"/>
              <a:gd name="T8" fmla="*/ 1585 w 2020"/>
              <a:gd name="T9" fmla="*/ 785 h 1182"/>
              <a:gd name="T10" fmla="*/ 1314 w 2020"/>
              <a:gd name="T11" fmla="*/ 756 h 1182"/>
              <a:gd name="T12" fmla="*/ 1061 w 2020"/>
              <a:gd name="T13" fmla="*/ 640 h 1182"/>
              <a:gd name="T14" fmla="*/ 1032 w 2020"/>
              <a:gd name="T15" fmla="*/ 525 h 1182"/>
              <a:gd name="T16" fmla="*/ 848 w 2020"/>
              <a:gd name="T17" fmla="*/ 409 h 1182"/>
              <a:gd name="T18" fmla="*/ 1553 w 2020"/>
              <a:gd name="T19" fmla="*/ 301 h 1182"/>
              <a:gd name="T20" fmla="*/ 1686 w 2020"/>
              <a:gd name="T21" fmla="*/ 185 h 1182"/>
              <a:gd name="T22" fmla="*/ 1237 w 2020"/>
              <a:gd name="T23" fmla="*/ 70 h 1182"/>
              <a:gd name="T24" fmla="*/ 749 w 2020"/>
              <a:gd name="T25" fmla="*/ 185 h 1182"/>
              <a:gd name="T26" fmla="*/ 721 w 2020"/>
              <a:gd name="T27" fmla="*/ 301 h 1182"/>
              <a:gd name="T28" fmla="*/ 366 w 2020"/>
              <a:gd name="T29" fmla="*/ 344 h 1182"/>
              <a:gd name="T30" fmla="*/ 237 w 2020"/>
              <a:gd name="T31" fmla="*/ 228 h 1182"/>
              <a:gd name="T32" fmla="*/ 318 w 2020"/>
              <a:gd name="T33" fmla="*/ 38 h 1182"/>
              <a:gd name="T34" fmla="*/ 353 w 2020"/>
              <a:gd name="T35" fmla="*/ 264 h 1182"/>
              <a:gd name="T36" fmla="*/ 497 w 2020"/>
              <a:gd name="T37" fmla="*/ 373 h 1182"/>
              <a:gd name="T38" fmla="*/ 180 w 2020"/>
              <a:gd name="T39" fmla="*/ 488 h 1182"/>
              <a:gd name="T40" fmla="*/ 190 w 2020"/>
              <a:gd name="T41" fmla="*/ 604 h 1182"/>
              <a:gd name="T42" fmla="*/ 273 w 2020"/>
              <a:gd name="T43" fmla="*/ 720 h 1182"/>
              <a:gd name="T44" fmla="*/ 377 w 2020"/>
              <a:gd name="T45" fmla="*/ 835 h 1182"/>
              <a:gd name="T46" fmla="*/ 446 w 2020"/>
              <a:gd name="T47" fmla="*/ 951 h 1182"/>
              <a:gd name="T48" fmla="*/ 443 w 2020"/>
              <a:gd name="T49" fmla="*/ 1066 h 1182"/>
              <a:gd name="T50" fmla="*/ 955 w 2020"/>
              <a:gd name="T51" fmla="*/ 1030 h 1182"/>
              <a:gd name="T52" fmla="*/ 912 w 2020"/>
              <a:gd name="T53" fmla="*/ 900 h 1182"/>
              <a:gd name="T54" fmla="*/ 898 w 2020"/>
              <a:gd name="T55" fmla="*/ 785 h 1182"/>
              <a:gd name="T56" fmla="*/ 755 w 2020"/>
              <a:gd name="T57" fmla="*/ 669 h 1182"/>
              <a:gd name="T58" fmla="*/ 798 w 2020"/>
              <a:gd name="T59" fmla="*/ 553 h 1182"/>
              <a:gd name="T60" fmla="*/ 761 w 2020"/>
              <a:gd name="T61" fmla="*/ 438 h 1182"/>
              <a:gd name="T62" fmla="*/ 1592 w 2020"/>
              <a:gd name="T63" fmla="*/ 388 h 1182"/>
              <a:gd name="T64" fmla="*/ 1553 w 2020"/>
              <a:gd name="T65" fmla="*/ 503 h 1182"/>
              <a:gd name="T66" fmla="*/ 1526 w 2020"/>
              <a:gd name="T67" fmla="*/ 619 h 1182"/>
              <a:gd name="T68" fmla="*/ 1454 w 2020"/>
              <a:gd name="T69" fmla="*/ 734 h 1182"/>
              <a:gd name="T70" fmla="*/ 1623 w 2020"/>
              <a:gd name="T71" fmla="*/ 792 h 1182"/>
              <a:gd name="T72" fmla="*/ 1681 w 2020"/>
              <a:gd name="T73" fmla="*/ 879 h 1182"/>
              <a:gd name="T74" fmla="*/ 1712 w 2020"/>
              <a:gd name="T75" fmla="*/ 995 h 1182"/>
              <a:gd name="T76" fmla="*/ 1658 w 2020"/>
              <a:gd name="T77" fmla="*/ 1110 h 1182"/>
              <a:gd name="T78" fmla="*/ 1824 w 2020"/>
              <a:gd name="T79" fmla="*/ 1081 h 1182"/>
              <a:gd name="T80" fmla="*/ 2020 w 2020"/>
              <a:gd name="T81" fmla="*/ 870 h 1182"/>
              <a:gd name="T82" fmla="*/ 969 w 2020"/>
              <a:gd name="T83" fmla="*/ 459 h 1182"/>
              <a:gd name="T84" fmla="*/ 860 w 2020"/>
              <a:gd name="T85" fmla="*/ 575 h 1182"/>
              <a:gd name="T86" fmla="*/ 1046 w 2020"/>
              <a:gd name="T87" fmla="*/ 691 h 1182"/>
              <a:gd name="T88" fmla="*/ 1049 w 2020"/>
              <a:gd name="T89" fmla="*/ 806 h 1182"/>
              <a:gd name="T90" fmla="*/ 1017 w 2020"/>
              <a:gd name="T91" fmla="*/ 922 h 1182"/>
              <a:gd name="T92" fmla="*/ 1017 w 2020"/>
              <a:gd name="T93" fmla="*/ 1066 h 1182"/>
              <a:gd name="T94" fmla="*/ 495 w 2020"/>
              <a:gd name="T95" fmla="*/ 1037 h 1182"/>
              <a:gd name="T96" fmla="*/ 593 w 2020"/>
              <a:gd name="T97" fmla="*/ 922 h 1182"/>
              <a:gd name="T98" fmla="*/ 529 w 2020"/>
              <a:gd name="T99" fmla="*/ 806 h 1182"/>
              <a:gd name="T100" fmla="*/ 276 w 2020"/>
              <a:gd name="T101" fmla="*/ 691 h 1182"/>
              <a:gd name="T102" fmla="*/ 381 w 2020"/>
              <a:gd name="T103" fmla="*/ 575 h 1182"/>
              <a:gd name="T104" fmla="*/ 518 w 2020"/>
              <a:gd name="T105" fmla="*/ 459 h 1182"/>
              <a:gd name="T106" fmla="*/ 601 w 2020"/>
              <a:gd name="T107" fmla="*/ 330 h 1182"/>
              <a:gd name="T108" fmla="*/ 581 w 2020"/>
              <a:gd name="T109" fmla="*/ 214 h 1182"/>
              <a:gd name="T110" fmla="*/ 622 w 2020"/>
              <a:gd name="T111" fmla="*/ 99 h 1182"/>
              <a:gd name="T112" fmla="*/ 1075 w 2020"/>
              <a:gd name="T113" fmla="*/ 156 h 1182"/>
              <a:gd name="T114" fmla="*/ 940 w 2020"/>
              <a:gd name="T115" fmla="*/ 272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0" h="1182">
                <a:moveTo>
                  <a:pt x="2001" y="851"/>
                </a:moveTo>
                <a:cubicBezTo>
                  <a:pt x="1990" y="851"/>
                  <a:pt x="1982" y="860"/>
                  <a:pt x="1982" y="870"/>
                </a:cubicBezTo>
                <a:cubicBezTo>
                  <a:pt x="1982" y="878"/>
                  <a:pt x="1987" y="885"/>
                  <a:pt x="1994" y="887"/>
                </a:cubicBezTo>
                <a:cubicBezTo>
                  <a:pt x="1988" y="947"/>
                  <a:pt x="1938" y="995"/>
                  <a:pt x="1876" y="995"/>
                </a:cubicBezTo>
                <a:cubicBezTo>
                  <a:pt x="1791" y="995"/>
                  <a:pt x="1791" y="995"/>
                  <a:pt x="1791" y="995"/>
                </a:cubicBezTo>
                <a:cubicBezTo>
                  <a:pt x="1779" y="995"/>
                  <a:pt x="1770" y="1004"/>
                  <a:pt x="1770" y="1016"/>
                </a:cubicBezTo>
                <a:cubicBezTo>
                  <a:pt x="1770" y="1028"/>
                  <a:pt x="1779" y="1038"/>
                  <a:pt x="1791" y="1038"/>
                </a:cubicBezTo>
                <a:cubicBezTo>
                  <a:pt x="1843" y="1038"/>
                  <a:pt x="1843" y="1038"/>
                  <a:pt x="1843" y="1038"/>
                </a:cubicBezTo>
                <a:cubicBezTo>
                  <a:pt x="1847" y="1038"/>
                  <a:pt x="1850" y="1041"/>
                  <a:pt x="1850" y="1045"/>
                </a:cubicBezTo>
                <a:cubicBezTo>
                  <a:pt x="1850" y="1049"/>
                  <a:pt x="1847" y="1052"/>
                  <a:pt x="1843" y="1052"/>
                </a:cubicBezTo>
                <a:cubicBezTo>
                  <a:pt x="1797" y="1052"/>
                  <a:pt x="1797" y="1052"/>
                  <a:pt x="1797" y="1052"/>
                </a:cubicBezTo>
                <a:cubicBezTo>
                  <a:pt x="1785" y="1052"/>
                  <a:pt x="1776" y="1062"/>
                  <a:pt x="1776" y="1074"/>
                </a:cubicBezTo>
                <a:cubicBezTo>
                  <a:pt x="1776" y="1086"/>
                  <a:pt x="1785" y="1096"/>
                  <a:pt x="1797" y="1096"/>
                </a:cubicBezTo>
                <a:cubicBezTo>
                  <a:pt x="1824" y="1096"/>
                  <a:pt x="1824" y="1096"/>
                  <a:pt x="1824" y="1096"/>
                </a:cubicBezTo>
                <a:cubicBezTo>
                  <a:pt x="1828" y="1096"/>
                  <a:pt x="1832" y="1099"/>
                  <a:pt x="1832" y="1103"/>
                </a:cubicBezTo>
                <a:cubicBezTo>
                  <a:pt x="1832" y="1107"/>
                  <a:pt x="1828" y="1110"/>
                  <a:pt x="1824" y="1110"/>
                </a:cubicBezTo>
                <a:cubicBezTo>
                  <a:pt x="1766" y="1110"/>
                  <a:pt x="1766" y="1110"/>
                  <a:pt x="1766" y="1110"/>
                </a:cubicBezTo>
                <a:cubicBezTo>
                  <a:pt x="1754" y="1110"/>
                  <a:pt x="1744" y="1120"/>
                  <a:pt x="1744" y="1132"/>
                </a:cubicBezTo>
                <a:cubicBezTo>
                  <a:pt x="1744" y="1144"/>
                  <a:pt x="1754" y="1153"/>
                  <a:pt x="1766" y="1153"/>
                </a:cubicBezTo>
                <a:cubicBezTo>
                  <a:pt x="1789" y="1153"/>
                  <a:pt x="1789" y="1153"/>
                  <a:pt x="1789" y="1153"/>
                </a:cubicBezTo>
                <a:cubicBezTo>
                  <a:pt x="1793" y="1153"/>
                  <a:pt x="1797" y="1157"/>
                  <a:pt x="1797" y="1161"/>
                </a:cubicBezTo>
                <a:cubicBezTo>
                  <a:pt x="1797" y="1165"/>
                  <a:pt x="1793" y="1168"/>
                  <a:pt x="1789" y="1168"/>
                </a:cubicBezTo>
                <a:cubicBezTo>
                  <a:pt x="1650" y="1168"/>
                  <a:pt x="1650" y="1168"/>
                  <a:pt x="1650" y="1168"/>
                </a:cubicBezTo>
                <a:cubicBezTo>
                  <a:pt x="1638" y="1168"/>
                  <a:pt x="1629" y="1158"/>
                  <a:pt x="1629" y="1146"/>
                </a:cubicBezTo>
                <a:cubicBezTo>
                  <a:pt x="1629" y="1134"/>
                  <a:pt x="1638" y="1125"/>
                  <a:pt x="1650" y="1125"/>
                </a:cubicBezTo>
                <a:cubicBezTo>
                  <a:pt x="1658" y="1125"/>
                  <a:pt x="1658" y="1125"/>
                  <a:pt x="1658" y="1125"/>
                </a:cubicBezTo>
                <a:cubicBezTo>
                  <a:pt x="1670" y="1125"/>
                  <a:pt x="1680" y="1115"/>
                  <a:pt x="1680" y="1103"/>
                </a:cubicBezTo>
                <a:cubicBezTo>
                  <a:pt x="1680" y="1091"/>
                  <a:pt x="1670" y="1081"/>
                  <a:pt x="1658" y="1081"/>
                </a:cubicBezTo>
                <a:cubicBezTo>
                  <a:pt x="1635" y="1081"/>
                  <a:pt x="1635" y="1081"/>
                  <a:pt x="1635" y="1081"/>
                </a:cubicBezTo>
                <a:cubicBezTo>
                  <a:pt x="1631" y="1081"/>
                  <a:pt x="1628" y="1078"/>
                  <a:pt x="1628" y="1074"/>
                </a:cubicBezTo>
                <a:cubicBezTo>
                  <a:pt x="1628" y="1070"/>
                  <a:pt x="1631" y="1067"/>
                  <a:pt x="1635" y="1067"/>
                </a:cubicBezTo>
                <a:cubicBezTo>
                  <a:pt x="1693" y="1067"/>
                  <a:pt x="1693" y="1067"/>
                  <a:pt x="1693" y="1067"/>
                </a:cubicBezTo>
                <a:cubicBezTo>
                  <a:pt x="1705" y="1067"/>
                  <a:pt x="1715" y="1057"/>
                  <a:pt x="1715" y="1045"/>
                </a:cubicBezTo>
                <a:cubicBezTo>
                  <a:pt x="1715" y="1033"/>
                  <a:pt x="1705" y="1024"/>
                  <a:pt x="1693" y="1024"/>
                </a:cubicBezTo>
                <a:cubicBezTo>
                  <a:pt x="1505" y="1024"/>
                  <a:pt x="1505" y="1024"/>
                  <a:pt x="1505" y="1024"/>
                </a:cubicBezTo>
                <a:cubicBezTo>
                  <a:pt x="1501" y="1024"/>
                  <a:pt x="1498" y="1020"/>
                  <a:pt x="1498" y="1016"/>
                </a:cubicBezTo>
                <a:cubicBezTo>
                  <a:pt x="1498" y="1012"/>
                  <a:pt x="1501" y="1009"/>
                  <a:pt x="1505" y="1009"/>
                </a:cubicBezTo>
                <a:cubicBezTo>
                  <a:pt x="1712" y="1009"/>
                  <a:pt x="1712" y="1009"/>
                  <a:pt x="1712" y="1009"/>
                </a:cubicBezTo>
                <a:cubicBezTo>
                  <a:pt x="1724" y="1009"/>
                  <a:pt x="1733" y="999"/>
                  <a:pt x="1733" y="987"/>
                </a:cubicBezTo>
                <a:cubicBezTo>
                  <a:pt x="1733" y="975"/>
                  <a:pt x="1724" y="966"/>
                  <a:pt x="1712" y="966"/>
                </a:cubicBezTo>
                <a:cubicBezTo>
                  <a:pt x="1504" y="966"/>
                  <a:pt x="1504" y="966"/>
                  <a:pt x="1504" y="966"/>
                </a:cubicBezTo>
                <a:cubicBezTo>
                  <a:pt x="1500" y="966"/>
                  <a:pt x="1496" y="962"/>
                  <a:pt x="1496" y="958"/>
                </a:cubicBezTo>
                <a:cubicBezTo>
                  <a:pt x="1496" y="954"/>
                  <a:pt x="1500" y="951"/>
                  <a:pt x="1504" y="951"/>
                </a:cubicBezTo>
                <a:cubicBezTo>
                  <a:pt x="1697" y="951"/>
                  <a:pt x="1697" y="951"/>
                  <a:pt x="1697" y="951"/>
                </a:cubicBezTo>
                <a:cubicBezTo>
                  <a:pt x="1709" y="951"/>
                  <a:pt x="1718" y="941"/>
                  <a:pt x="1718" y="929"/>
                </a:cubicBezTo>
                <a:cubicBezTo>
                  <a:pt x="1718" y="918"/>
                  <a:pt x="1709" y="908"/>
                  <a:pt x="1697" y="908"/>
                </a:cubicBezTo>
                <a:cubicBezTo>
                  <a:pt x="1550" y="908"/>
                  <a:pt x="1550" y="908"/>
                  <a:pt x="1550" y="908"/>
                </a:cubicBezTo>
                <a:cubicBezTo>
                  <a:pt x="1546" y="908"/>
                  <a:pt x="1543" y="905"/>
                  <a:pt x="1543" y="901"/>
                </a:cubicBezTo>
                <a:cubicBezTo>
                  <a:pt x="1543" y="897"/>
                  <a:pt x="1546" y="893"/>
                  <a:pt x="1550" y="893"/>
                </a:cubicBezTo>
                <a:cubicBezTo>
                  <a:pt x="1681" y="893"/>
                  <a:pt x="1681" y="893"/>
                  <a:pt x="1681" y="893"/>
                </a:cubicBezTo>
                <a:cubicBezTo>
                  <a:pt x="1701" y="893"/>
                  <a:pt x="1718" y="877"/>
                  <a:pt x="1718" y="857"/>
                </a:cubicBezTo>
                <a:cubicBezTo>
                  <a:pt x="1718" y="837"/>
                  <a:pt x="1701" y="821"/>
                  <a:pt x="1681" y="821"/>
                </a:cubicBezTo>
                <a:cubicBezTo>
                  <a:pt x="1673" y="821"/>
                  <a:pt x="1673" y="821"/>
                  <a:pt x="1673" y="821"/>
                </a:cubicBezTo>
                <a:cubicBezTo>
                  <a:pt x="1669" y="821"/>
                  <a:pt x="1666" y="818"/>
                  <a:pt x="1666" y="814"/>
                </a:cubicBezTo>
                <a:cubicBezTo>
                  <a:pt x="1666" y="810"/>
                  <a:pt x="1669" y="807"/>
                  <a:pt x="1673" y="807"/>
                </a:cubicBezTo>
                <a:cubicBezTo>
                  <a:pt x="1683" y="807"/>
                  <a:pt x="1683" y="807"/>
                  <a:pt x="1683" y="807"/>
                </a:cubicBezTo>
                <a:cubicBezTo>
                  <a:pt x="1694" y="807"/>
                  <a:pt x="1704" y="797"/>
                  <a:pt x="1704" y="785"/>
                </a:cubicBezTo>
                <a:cubicBezTo>
                  <a:pt x="1704" y="773"/>
                  <a:pt x="1694" y="763"/>
                  <a:pt x="1683" y="763"/>
                </a:cubicBezTo>
                <a:cubicBezTo>
                  <a:pt x="1607" y="763"/>
                  <a:pt x="1607" y="763"/>
                  <a:pt x="1607" y="763"/>
                </a:cubicBezTo>
                <a:cubicBezTo>
                  <a:pt x="1595" y="763"/>
                  <a:pt x="1585" y="773"/>
                  <a:pt x="1585" y="785"/>
                </a:cubicBezTo>
                <a:cubicBezTo>
                  <a:pt x="1585" y="797"/>
                  <a:pt x="1595" y="807"/>
                  <a:pt x="1607" y="807"/>
                </a:cubicBezTo>
                <a:cubicBezTo>
                  <a:pt x="1623" y="807"/>
                  <a:pt x="1623" y="807"/>
                  <a:pt x="1623" y="807"/>
                </a:cubicBezTo>
                <a:cubicBezTo>
                  <a:pt x="1627" y="807"/>
                  <a:pt x="1631" y="810"/>
                  <a:pt x="1631" y="814"/>
                </a:cubicBezTo>
                <a:cubicBezTo>
                  <a:pt x="1631" y="818"/>
                  <a:pt x="1627" y="821"/>
                  <a:pt x="1623" y="821"/>
                </a:cubicBezTo>
                <a:cubicBezTo>
                  <a:pt x="1455" y="821"/>
                  <a:pt x="1455" y="821"/>
                  <a:pt x="1455" y="821"/>
                </a:cubicBezTo>
                <a:cubicBezTo>
                  <a:pt x="1451" y="821"/>
                  <a:pt x="1448" y="818"/>
                  <a:pt x="1448" y="814"/>
                </a:cubicBezTo>
                <a:cubicBezTo>
                  <a:pt x="1448" y="810"/>
                  <a:pt x="1451" y="807"/>
                  <a:pt x="1455" y="807"/>
                </a:cubicBezTo>
                <a:cubicBezTo>
                  <a:pt x="1549" y="807"/>
                  <a:pt x="1549" y="807"/>
                  <a:pt x="1549" y="807"/>
                </a:cubicBezTo>
                <a:cubicBezTo>
                  <a:pt x="1561" y="807"/>
                  <a:pt x="1571" y="797"/>
                  <a:pt x="1571" y="785"/>
                </a:cubicBezTo>
                <a:cubicBezTo>
                  <a:pt x="1571" y="773"/>
                  <a:pt x="1561" y="763"/>
                  <a:pt x="1549" y="763"/>
                </a:cubicBezTo>
                <a:cubicBezTo>
                  <a:pt x="1321" y="763"/>
                  <a:pt x="1321" y="763"/>
                  <a:pt x="1321" y="763"/>
                </a:cubicBezTo>
                <a:cubicBezTo>
                  <a:pt x="1317" y="763"/>
                  <a:pt x="1314" y="760"/>
                  <a:pt x="1314" y="756"/>
                </a:cubicBezTo>
                <a:cubicBezTo>
                  <a:pt x="1314" y="752"/>
                  <a:pt x="1317" y="749"/>
                  <a:pt x="1321" y="749"/>
                </a:cubicBezTo>
                <a:cubicBezTo>
                  <a:pt x="1454" y="749"/>
                  <a:pt x="1454" y="749"/>
                  <a:pt x="1454" y="749"/>
                </a:cubicBezTo>
                <a:cubicBezTo>
                  <a:pt x="1466" y="749"/>
                  <a:pt x="1475" y="739"/>
                  <a:pt x="1475" y="727"/>
                </a:cubicBezTo>
                <a:cubicBezTo>
                  <a:pt x="1475" y="715"/>
                  <a:pt x="1466" y="706"/>
                  <a:pt x="1454" y="706"/>
                </a:cubicBezTo>
                <a:cubicBezTo>
                  <a:pt x="1287" y="706"/>
                  <a:pt x="1287" y="706"/>
                  <a:pt x="1287" y="706"/>
                </a:cubicBezTo>
                <a:cubicBezTo>
                  <a:pt x="1283" y="706"/>
                  <a:pt x="1280" y="702"/>
                  <a:pt x="1280" y="698"/>
                </a:cubicBezTo>
                <a:cubicBezTo>
                  <a:pt x="1280" y="694"/>
                  <a:pt x="1283" y="691"/>
                  <a:pt x="1287" y="691"/>
                </a:cubicBezTo>
                <a:cubicBezTo>
                  <a:pt x="1436" y="691"/>
                  <a:pt x="1436" y="691"/>
                  <a:pt x="1436" y="691"/>
                </a:cubicBezTo>
                <a:cubicBezTo>
                  <a:pt x="1448" y="691"/>
                  <a:pt x="1458" y="681"/>
                  <a:pt x="1458" y="669"/>
                </a:cubicBezTo>
                <a:cubicBezTo>
                  <a:pt x="1458" y="657"/>
                  <a:pt x="1448" y="648"/>
                  <a:pt x="1436" y="648"/>
                </a:cubicBezTo>
                <a:cubicBezTo>
                  <a:pt x="1068" y="648"/>
                  <a:pt x="1068" y="648"/>
                  <a:pt x="1068" y="648"/>
                </a:cubicBezTo>
                <a:cubicBezTo>
                  <a:pt x="1064" y="648"/>
                  <a:pt x="1061" y="644"/>
                  <a:pt x="1061" y="640"/>
                </a:cubicBezTo>
                <a:cubicBezTo>
                  <a:pt x="1061" y="636"/>
                  <a:pt x="1064" y="633"/>
                  <a:pt x="1068" y="633"/>
                </a:cubicBezTo>
                <a:cubicBezTo>
                  <a:pt x="1526" y="633"/>
                  <a:pt x="1526" y="633"/>
                  <a:pt x="1526" y="633"/>
                </a:cubicBezTo>
                <a:cubicBezTo>
                  <a:pt x="1538" y="633"/>
                  <a:pt x="1548" y="623"/>
                  <a:pt x="1548" y="612"/>
                </a:cubicBezTo>
                <a:cubicBezTo>
                  <a:pt x="1548" y="600"/>
                  <a:pt x="1538" y="590"/>
                  <a:pt x="1526" y="590"/>
                </a:cubicBezTo>
                <a:cubicBezTo>
                  <a:pt x="1019" y="590"/>
                  <a:pt x="1019" y="590"/>
                  <a:pt x="1019" y="590"/>
                </a:cubicBezTo>
                <a:cubicBezTo>
                  <a:pt x="1015" y="590"/>
                  <a:pt x="1012" y="587"/>
                  <a:pt x="1012" y="583"/>
                </a:cubicBezTo>
                <a:cubicBezTo>
                  <a:pt x="1012" y="579"/>
                  <a:pt x="1015" y="575"/>
                  <a:pt x="1019" y="575"/>
                </a:cubicBezTo>
                <a:cubicBezTo>
                  <a:pt x="1528" y="575"/>
                  <a:pt x="1528" y="575"/>
                  <a:pt x="1528" y="575"/>
                </a:cubicBezTo>
                <a:cubicBezTo>
                  <a:pt x="1540" y="575"/>
                  <a:pt x="1550" y="566"/>
                  <a:pt x="1550" y="554"/>
                </a:cubicBezTo>
                <a:cubicBezTo>
                  <a:pt x="1550" y="542"/>
                  <a:pt x="1540" y="532"/>
                  <a:pt x="1528" y="532"/>
                </a:cubicBezTo>
                <a:cubicBezTo>
                  <a:pt x="1039" y="532"/>
                  <a:pt x="1039" y="532"/>
                  <a:pt x="1039" y="532"/>
                </a:cubicBezTo>
                <a:cubicBezTo>
                  <a:pt x="1035" y="532"/>
                  <a:pt x="1032" y="529"/>
                  <a:pt x="1032" y="525"/>
                </a:cubicBezTo>
                <a:cubicBezTo>
                  <a:pt x="1032" y="521"/>
                  <a:pt x="1035" y="518"/>
                  <a:pt x="1039" y="518"/>
                </a:cubicBezTo>
                <a:cubicBezTo>
                  <a:pt x="1553" y="518"/>
                  <a:pt x="1553" y="518"/>
                  <a:pt x="1553" y="518"/>
                </a:cubicBezTo>
                <a:cubicBezTo>
                  <a:pt x="1564" y="518"/>
                  <a:pt x="1574" y="508"/>
                  <a:pt x="1574" y="496"/>
                </a:cubicBezTo>
                <a:cubicBezTo>
                  <a:pt x="1574" y="484"/>
                  <a:pt x="1564" y="474"/>
                  <a:pt x="1553" y="474"/>
                </a:cubicBezTo>
                <a:cubicBezTo>
                  <a:pt x="1039" y="474"/>
                  <a:pt x="1039" y="474"/>
                  <a:pt x="1039" y="474"/>
                </a:cubicBezTo>
                <a:cubicBezTo>
                  <a:pt x="1035" y="474"/>
                  <a:pt x="1032" y="471"/>
                  <a:pt x="1032" y="467"/>
                </a:cubicBezTo>
                <a:cubicBezTo>
                  <a:pt x="1032" y="463"/>
                  <a:pt x="1035" y="460"/>
                  <a:pt x="1039" y="460"/>
                </a:cubicBezTo>
                <a:cubicBezTo>
                  <a:pt x="1592" y="460"/>
                  <a:pt x="1592" y="460"/>
                  <a:pt x="1592" y="460"/>
                </a:cubicBezTo>
                <a:cubicBezTo>
                  <a:pt x="1603" y="460"/>
                  <a:pt x="1613" y="450"/>
                  <a:pt x="1613" y="438"/>
                </a:cubicBezTo>
                <a:cubicBezTo>
                  <a:pt x="1613" y="426"/>
                  <a:pt x="1603" y="416"/>
                  <a:pt x="1592" y="416"/>
                </a:cubicBezTo>
                <a:cubicBezTo>
                  <a:pt x="855" y="416"/>
                  <a:pt x="855" y="416"/>
                  <a:pt x="855" y="416"/>
                </a:cubicBezTo>
                <a:cubicBezTo>
                  <a:pt x="851" y="416"/>
                  <a:pt x="848" y="413"/>
                  <a:pt x="848" y="409"/>
                </a:cubicBezTo>
                <a:cubicBezTo>
                  <a:pt x="848" y="405"/>
                  <a:pt x="851" y="402"/>
                  <a:pt x="855" y="402"/>
                </a:cubicBezTo>
                <a:cubicBezTo>
                  <a:pt x="1592" y="402"/>
                  <a:pt x="1592" y="402"/>
                  <a:pt x="1592" y="402"/>
                </a:cubicBezTo>
                <a:cubicBezTo>
                  <a:pt x="1603" y="402"/>
                  <a:pt x="1613" y="392"/>
                  <a:pt x="1613" y="380"/>
                </a:cubicBezTo>
                <a:cubicBezTo>
                  <a:pt x="1613" y="368"/>
                  <a:pt x="1603" y="359"/>
                  <a:pt x="1592" y="359"/>
                </a:cubicBezTo>
                <a:cubicBezTo>
                  <a:pt x="902" y="359"/>
                  <a:pt x="902" y="359"/>
                  <a:pt x="902" y="359"/>
                </a:cubicBezTo>
                <a:cubicBezTo>
                  <a:pt x="902" y="358"/>
                  <a:pt x="902" y="358"/>
                  <a:pt x="902" y="358"/>
                </a:cubicBezTo>
                <a:cubicBezTo>
                  <a:pt x="886" y="358"/>
                  <a:pt x="886" y="358"/>
                  <a:pt x="886" y="358"/>
                </a:cubicBezTo>
                <a:cubicBezTo>
                  <a:pt x="883" y="357"/>
                  <a:pt x="881" y="355"/>
                  <a:pt x="881" y="351"/>
                </a:cubicBezTo>
                <a:cubicBezTo>
                  <a:pt x="881" y="347"/>
                  <a:pt x="884" y="344"/>
                  <a:pt x="888" y="344"/>
                </a:cubicBezTo>
                <a:cubicBezTo>
                  <a:pt x="1553" y="344"/>
                  <a:pt x="1553" y="344"/>
                  <a:pt x="1553" y="344"/>
                </a:cubicBezTo>
                <a:cubicBezTo>
                  <a:pt x="1565" y="344"/>
                  <a:pt x="1575" y="334"/>
                  <a:pt x="1575" y="322"/>
                </a:cubicBezTo>
                <a:cubicBezTo>
                  <a:pt x="1575" y="311"/>
                  <a:pt x="1565" y="301"/>
                  <a:pt x="1553" y="301"/>
                </a:cubicBezTo>
                <a:cubicBezTo>
                  <a:pt x="940" y="301"/>
                  <a:pt x="940" y="301"/>
                  <a:pt x="940" y="301"/>
                </a:cubicBezTo>
                <a:cubicBezTo>
                  <a:pt x="936" y="301"/>
                  <a:pt x="933" y="298"/>
                  <a:pt x="933" y="294"/>
                </a:cubicBezTo>
                <a:cubicBezTo>
                  <a:pt x="933" y="290"/>
                  <a:pt x="936" y="286"/>
                  <a:pt x="940" y="286"/>
                </a:cubicBezTo>
                <a:cubicBezTo>
                  <a:pt x="1683" y="286"/>
                  <a:pt x="1683" y="286"/>
                  <a:pt x="1683" y="286"/>
                </a:cubicBezTo>
                <a:cubicBezTo>
                  <a:pt x="1695" y="286"/>
                  <a:pt x="1705" y="277"/>
                  <a:pt x="1705" y="265"/>
                </a:cubicBezTo>
                <a:cubicBezTo>
                  <a:pt x="1705" y="253"/>
                  <a:pt x="1695" y="243"/>
                  <a:pt x="1683" y="243"/>
                </a:cubicBezTo>
                <a:cubicBezTo>
                  <a:pt x="1145" y="243"/>
                  <a:pt x="1145" y="243"/>
                  <a:pt x="1145" y="243"/>
                </a:cubicBezTo>
                <a:cubicBezTo>
                  <a:pt x="1141" y="243"/>
                  <a:pt x="1137" y="240"/>
                  <a:pt x="1137" y="236"/>
                </a:cubicBezTo>
                <a:cubicBezTo>
                  <a:pt x="1137" y="232"/>
                  <a:pt x="1141" y="228"/>
                  <a:pt x="1145" y="228"/>
                </a:cubicBezTo>
                <a:cubicBezTo>
                  <a:pt x="1686" y="228"/>
                  <a:pt x="1686" y="228"/>
                  <a:pt x="1686" y="228"/>
                </a:cubicBezTo>
                <a:cubicBezTo>
                  <a:pt x="1698" y="228"/>
                  <a:pt x="1708" y="219"/>
                  <a:pt x="1708" y="207"/>
                </a:cubicBezTo>
                <a:cubicBezTo>
                  <a:pt x="1708" y="195"/>
                  <a:pt x="1698" y="185"/>
                  <a:pt x="1686" y="185"/>
                </a:cubicBezTo>
                <a:cubicBezTo>
                  <a:pt x="1075" y="185"/>
                  <a:pt x="1075" y="185"/>
                  <a:pt x="1075" y="185"/>
                </a:cubicBezTo>
                <a:cubicBezTo>
                  <a:pt x="1071" y="185"/>
                  <a:pt x="1068" y="182"/>
                  <a:pt x="1068" y="178"/>
                </a:cubicBezTo>
                <a:cubicBezTo>
                  <a:pt x="1068" y="174"/>
                  <a:pt x="1071" y="171"/>
                  <a:pt x="1075" y="171"/>
                </a:cubicBezTo>
                <a:cubicBezTo>
                  <a:pt x="1693" y="171"/>
                  <a:pt x="1693" y="171"/>
                  <a:pt x="1693" y="171"/>
                </a:cubicBezTo>
                <a:cubicBezTo>
                  <a:pt x="1705" y="171"/>
                  <a:pt x="1715" y="161"/>
                  <a:pt x="1715" y="149"/>
                </a:cubicBezTo>
                <a:cubicBezTo>
                  <a:pt x="1715" y="137"/>
                  <a:pt x="1705" y="127"/>
                  <a:pt x="1693" y="127"/>
                </a:cubicBezTo>
                <a:cubicBezTo>
                  <a:pt x="1225" y="127"/>
                  <a:pt x="1225" y="127"/>
                  <a:pt x="1225" y="127"/>
                </a:cubicBezTo>
                <a:cubicBezTo>
                  <a:pt x="1221" y="127"/>
                  <a:pt x="1218" y="124"/>
                  <a:pt x="1218" y="120"/>
                </a:cubicBezTo>
                <a:cubicBezTo>
                  <a:pt x="1218" y="116"/>
                  <a:pt x="1221" y="113"/>
                  <a:pt x="1225" y="113"/>
                </a:cubicBezTo>
                <a:cubicBezTo>
                  <a:pt x="1237" y="113"/>
                  <a:pt x="1237" y="113"/>
                  <a:pt x="1237" y="113"/>
                </a:cubicBezTo>
                <a:cubicBezTo>
                  <a:pt x="1249" y="113"/>
                  <a:pt x="1258" y="103"/>
                  <a:pt x="1258" y="91"/>
                </a:cubicBezTo>
                <a:cubicBezTo>
                  <a:pt x="1258" y="79"/>
                  <a:pt x="1249" y="70"/>
                  <a:pt x="1237" y="70"/>
                </a:cubicBezTo>
                <a:cubicBezTo>
                  <a:pt x="622" y="70"/>
                  <a:pt x="622" y="70"/>
                  <a:pt x="622" y="70"/>
                </a:cubicBezTo>
                <a:cubicBezTo>
                  <a:pt x="610" y="70"/>
                  <a:pt x="600" y="79"/>
                  <a:pt x="600" y="91"/>
                </a:cubicBezTo>
                <a:cubicBezTo>
                  <a:pt x="600" y="103"/>
                  <a:pt x="610" y="113"/>
                  <a:pt x="622" y="113"/>
                </a:cubicBezTo>
                <a:cubicBezTo>
                  <a:pt x="754" y="113"/>
                  <a:pt x="754" y="113"/>
                  <a:pt x="754" y="113"/>
                </a:cubicBezTo>
                <a:cubicBezTo>
                  <a:pt x="758" y="113"/>
                  <a:pt x="762" y="116"/>
                  <a:pt x="762" y="120"/>
                </a:cubicBezTo>
                <a:cubicBezTo>
                  <a:pt x="762" y="124"/>
                  <a:pt x="758" y="127"/>
                  <a:pt x="754" y="127"/>
                </a:cubicBezTo>
                <a:cubicBezTo>
                  <a:pt x="561" y="127"/>
                  <a:pt x="561" y="127"/>
                  <a:pt x="561" y="127"/>
                </a:cubicBezTo>
                <a:cubicBezTo>
                  <a:pt x="549" y="127"/>
                  <a:pt x="540" y="137"/>
                  <a:pt x="540" y="149"/>
                </a:cubicBezTo>
                <a:cubicBezTo>
                  <a:pt x="540" y="161"/>
                  <a:pt x="549" y="171"/>
                  <a:pt x="561" y="171"/>
                </a:cubicBezTo>
                <a:cubicBezTo>
                  <a:pt x="749" y="171"/>
                  <a:pt x="749" y="171"/>
                  <a:pt x="749" y="171"/>
                </a:cubicBezTo>
                <a:cubicBezTo>
                  <a:pt x="753" y="171"/>
                  <a:pt x="756" y="174"/>
                  <a:pt x="756" y="178"/>
                </a:cubicBezTo>
                <a:cubicBezTo>
                  <a:pt x="756" y="182"/>
                  <a:pt x="753" y="185"/>
                  <a:pt x="749" y="185"/>
                </a:cubicBezTo>
                <a:cubicBezTo>
                  <a:pt x="581" y="185"/>
                  <a:pt x="581" y="185"/>
                  <a:pt x="581" y="185"/>
                </a:cubicBezTo>
                <a:cubicBezTo>
                  <a:pt x="569" y="185"/>
                  <a:pt x="559" y="195"/>
                  <a:pt x="559" y="207"/>
                </a:cubicBezTo>
                <a:cubicBezTo>
                  <a:pt x="559" y="219"/>
                  <a:pt x="569" y="228"/>
                  <a:pt x="581" y="228"/>
                </a:cubicBezTo>
                <a:cubicBezTo>
                  <a:pt x="734" y="228"/>
                  <a:pt x="734" y="228"/>
                  <a:pt x="734" y="228"/>
                </a:cubicBezTo>
                <a:cubicBezTo>
                  <a:pt x="738" y="228"/>
                  <a:pt x="741" y="232"/>
                  <a:pt x="741" y="236"/>
                </a:cubicBezTo>
                <a:cubicBezTo>
                  <a:pt x="741" y="240"/>
                  <a:pt x="738" y="243"/>
                  <a:pt x="734" y="243"/>
                </a:cubicBezTo>
                <a:cubicBezTo>
                  <a:pt x="600" y="243"/>
                  <a:pt x="600" y="243"/>
                  <a:pt x="600" y="243"/>
                </a:cubicBezTo>
                <a:cubicBezTo>
                  <a:pt x="588" y="243"/>
                  <a:pt x="579" y="253"/>
                  <a:pt x="579" y="265"/>
                </a:cubicBezTo>
                <a:cubicBezTo>
                  <a:pt x="579" y="277"/>
                  <a:pt x="588" y="286"/>
                  <a:pt x="600" y="286"/>
                </a:cubicBezTo>
                <a:cubicBezTo>
                  <a:pt x="721" y="286"/>
                  <a:pt x="721" y="286"/>
                  <a:pt x="721" y="286"/>
                </a:cubicBezTo>
                <a:cubicBezTo>
                  <a:pt x="725" y="286"/>
                  <a:pt x="728" y="290"/>
                  <a:pt x="728" y="294"/>
                </a:cubicBezTo>
                <a:cubicBezTo>
                  <a:pt x="728" y="298"/>
                  <a:pt x="725" y="301"/>
                  <a:pt x="721" y="301"/>
                </a:cubicBezTo>
                <a:cubicBezTo>
                  <a:pt x="601" y="301"/>
                  <a:pt x="601" y="301"/>
                  <a:pt x="601" y="301"/>
                </a:cubicBezTo>
                <a:cubicBezTo>
                  <a:pt x="590" y="301"/>
                  <a:pt x="580" y="311"/>
                  <a:pt x="580" y="322"/>
                </a:cubicBezTo>
                <a:cubicBezTo>
                  <a:pt x="580" y="334"/>
                  <a:pt x="590" y="344"/>
                  <a:pt x="601" y="344"/>
                </a:cubicBezTo>
                <a:cubicBezTo>
                  <a:pt x="625" y="344"/>
                  <a:pt x="625" y="344"/>
                  <a:pt x="625" y="344"/>
                </a:cubicBezTo>
                <a:cubicBezTo>
                  <a:pt x="629" y="344"/>
                  <a:pt x="632" y="347"/>
                  <a:pt x="632" y="351"/>
                </a:cubicBezTo>
                <a:cubicBezTo>
                  <a:pt x="632" y="355"/>
                  <a:pt x="629" y="359"/>
                  <a:pt x="625" y="359"/>
                </a:cubicBezTo>
                <a:cubicBezTo>
                  <a:pt x="526" y="359"/>
                  <a:pt x="526" y="359"/>
                  <a:pt x="526" y="359"/>
                </a:cubicBezTo>
                <a:cubicBezTo>
                  <a:pt x="525" y="358"/>
                  <a:pt x="523" y="358"/>
                  <a:pt x="522" y="358"/>
                </a:cubicBezTo>
                <a:cubicBezTo>
                  <a:pt x="157" y="358"/>
                  <a:pt x="157" y="358"/>
                  <a:pt x="157" y="358"/>
                </a:cubicBezTo>
                <a:cubicBezTo>
                  <a:pt x="153" y="358"/>
                  <a:pt x="149" y="355"/>
                  <a:pt x="149" y="351"/>
                </a:cubicBezTo>
                <a:cubicBezTo>
                  <a:pt x="149" y="347"/>
                  <a:pt x="153" y="344"/>
                  <a:pt x="157" y="344"/>
                </a:cubicBezTo>
                <a:cubicBezTo>
                  <a:pt x="366" y="344"/>
                  <a:pt x="366" y="344"/>
                  <a:pt x="366" y="344"/>
                </a:cubicBezTo>
                <a:cubicBezTo>
                  <a:pt x="378" y="344"/>
                  <a:pt x="388" y="334"/>
                  <a:pt x="388" y="322"/>
                </a:cubicBezTo>
                <a:cubicBezTo>
                  <a:pt x="388" y="310"/>
                  <a:pt x="378" y="301"/>
                  <a:pt x="366" y="301"/>
                </a:cubicBezTo>
                <a:cubicBezTo>
                  <a:pt x="22" y="301"/>
                  <a:pt x="22" y="301"/>
                  <a:pt x="22" y="301"/>
                </a:cubicBezTo>
                <a:cubicBezTo>
                  <a:pt x="18" y="301"/>
                  <a:pt x="15" y="297"/>
                  <a:pt x="15" y="293"/>
                </a:cubicBezTo>
                <a:cubicBezTo>
                  <a:pt x="15" y="289"/>
                  <a:pt x="18" y="286"/>
                  <a:pt x="22" y="286"/>
                </a:cubicBezTo>
                <a:cubicBezTo>
                  <a:pt x="346" y="286"/>
                  <a:pt x="346" y="286"/>
                  <a:pt x="346" y="286"/>
                </a:cubicBezTo>
                <a:cubicBezTo>
                  <a:pt x="358" y="286"/>
                  <a:pt x="367" y="276"/>
                  <a:pt x="367" y="264"/>
                </a:cubicBezTo>
                <a:cubicBezTo>
                  <a:pt x="367" y="252"/>
                  <a:pt x="358" y="243"/>
                  <a:pt x="346" y="243"/>
                </a:cubicBezTo>
                <a:cubicBezTo>
                  <a:pt x="59" y="243"/>
                  <a:pt x="59" y="243"/>
                  <a:pt x="59" y="243"/>
                </a:cubicBezTo>
                <a:cubicBezTo>
                  <a:pt x="55" y="243"/>
                  <a:pt x="52" y="239"/>
                  <a:pt x="52" y="235"/>
                </a:cubicBezTo>
                <a:cubicBezTo>
                  <a:pt x="52" y="231"/>
                  <a:pt x="55" y="228"/>
                  <a:pt x="59" y="228"/>
                </a:cubicBezTo>
                <a:cubicBezTo>
                  <a:pt x="237" y="228"/>
                  <a:pt x="237" y="228"/>
                  <a:pt x="237" y="228"/>
                </a:cubicBezTo>
                <a:cubicBezTo>
                  <a:pt x="249" y="228"/>
                  <a:pt x="258" y="218"/>
                  <a:pt x="258" y="207"/>
                </a:cubicBezTo>
                <a:cubicBezTo>
                  <a:pt x="258" y="195"/>
                  <a:pt x="249" y="185"/>
                  <a:pt x="237" y="185"/>
                </a:cubicBezTo>
                <a:cubicBezTo>
                  <a:pt x="72" y="185"/>
                  <a:pt x="72" y="185"/>
                  <a:pt x="72" y="185"/>
                </a:cubicBezTo>
                <a:cubicBezTo>
                  <a:pt x="68" y="185"/>
                  <a:pt x="64" y="182"/>
                  <a:pt x="64" y="178"/>
                </a:cubicBezTo>
                <a:cubicBezTo>
                  <a:pt x="64" y="174"/>
                  <a:pt x="68" y="170"/>
                  <a:pt x="72" y="170"/>
                </a:cubicBezTo>
                <a:cubicBezTo>
                  <a:pt x="200" y="170"/>
                  <a:pt x="200" y="170"/>
                  <a:pt x="200" y="170"/>
                </a:cubicBezTo>
                <a:cubicBezTo>
                  <a:pt x="273" y="170"/>
                  <a:pt x="333" y="111"/>
                  <a:pt x="333" y="38"/>
                </a:cubicBezTo>
                <a:cubicBezTo>
                  <a:pt x="344" y="38"/>
                  <a:pt x="344" y="38"/>
                  <a:pt x="344" y="38"/>
                </a:cubicBezTo>
                <a:cubicBezTo>
                  <a:pt x="344" y="0"/>
                  <a:pt x="344" y="0"/>
                  <a:pt x="344" y="0"/>
                </a:cubicBezTo>
                <a:cubicBezTo>
                  <a:pt x="306" y="0"/>
                  <a:pt x="306" y="0"/>
                  <a:pt x="306" y="0"/>
                </a:cubicBezTo>
                <a:cubicBezTo>
                  <a:pt x="306" y="38"/>
                  <a:pt x="306" y="38"/>
                  <a:pt x="306" y="38"/>
                </a:cubicBezTo>
                <a:cubicBezTo>
                  <a:pt x="318" y="38"/>
                  <a:pt x="318" y="38"/>
                  <a:pt x="318" y="38"/>
                </a:cubicBezTo>
                <a:cubicBezTo>
                  <a:pt x="318" y="103"/>
                  <a:pt x="265" y="156"/>
                  <a:pt x="200" y="156"/>
                </a:cubicBezTo>
                <a:cubicBezTo>
                  <a:pt x="72" y="156"/>
                  <a:pt x="72" y="156"/>
                  <a:pt x="72" y="156"/>
                </a:cubicBezTo>
                <a:cubicBezTo>
                  <a:pt x="60" y="156"/>
                  <a:pt x="50" y="166"/>
                  <a:pt x="50" y="178"/>
                </a:cubicBezTo>
                <a:cubicBezTo>
                  <a:pt x="50" y="190"/>
                  <a:pt x="60" y="199"/>
                  <a:pt x="72" y="199"/>
                </a:cubicBezTo>
                <a:cubicBezTo>
                  <a:pt x="237" y="199"/>
                  <a:pt x="237" y="199"/>
                  <a:pt x="237" y="199"/>
                </a:cubicBezTo>
                <a:cubicBezTo>
                  <a:pt x="241" y="199"/>
                  <a:pt x="244" y="202"/>
                  <a:pt x="244" y="207"/>
                </a:cubicBezTo>
                <a:cubicBezTo>
                  <a:pt x="244" y="211"/>
                  <a:pt x="241" y="214"/>
                  <a:pt x="237" y="214"/>
                </a:cubicBezTo>
                <a:cubicBezTo>
                  <a:pt x="59" y="214"/>
                  <a:pt x="59" y="214"/>
                  <a:pt x="59" y="214"/>
                </a:cubicBezTo>
                <a:cubicBezTo>
                  <a:pt x="47" y="214"/>
                  <a:pt x="37" y="224"/>
                  <a:pt x="37" y="235"/>
                </a:cubicBezTo>
                <a:cubicBezTo>
                  <a:pt x="37" y="247"/>
                  <a:pt x="47" y="257"/>
                  <a:pt x="59" y="257"/>
                </a:cubicBezTo>
                <a:cubicBezTo>
                  <a:pt x="346" y="257"/>
                  <a:pt x="346" y="257"/>
                  <a:pt x="346" y="257"/>
                </a:cubicBezTo>
                <a:cubicBezTo>
                  <a:pt x="350" y="257"/>
                  <a:pt x="353" y="260"/>
                  <a:pt x="353" y="264"/>
                </a:cubicBezTo>
                <a:cubicBezTo>
                  <a:pt x="353" y="268"/>
                  <a:pt x="350" y="272"/>
                  <a:pt x="346" y="272"/>
                </a:cubicBezTo>
                <a:cubicBezTo>
                  <a:pt x="22" y="272"/>
                  <a:pt x="22" y="272"/>
                  <a:pt x="22" y="272"/>
                </a:cubicBezTo>
                <a:cubicBezTo>
                  <a:pt x="10" y="272"/>
                  <a:pt x="0" y="281"/>
                  <a:pt x="0" y="293"/>
                </a:cubicBezTo>
                <a:cubicBezTo>
                  <a:pt x="0" y="305"/>
                  <a:pt x="10" y="315"/>
                  <a:pt x="22" y="315"/>
                </a:cubicBezTo>
                <a:cubicBezTo>
                  <a:pt x="366" y="315"/>
                  <a:pt x="366" y="315"/>
                  <a:pt x="366" y="315"/>
                </a:cubicBezTo>
                <a:cubicBezTo>
                  <a:pt x="370" y="315"/>
                  <a:pt x="374" y="318"/>
                  <a:pt x="374" y="322"/>
                </a:cubicBezTo>
                <a:cubicBezTo>
                  <a:pt x="374" y="326"/>
                  <a:pt x="370" y="329"/>
                  <a:pt x="366" y="329"/>
                </a:cubicBezTo>
                <a:cubicBezTo>
                  <a:pt x="157" y="329"/>
                  <a:pt x="157" y="329"/>
                  <a:pt x="157" y="329"/>
                </a:cubicBezTo>
                <a:cubicBezTo>
                  <a:pt x="145" y="329"/>
                  <a:pt x="135" y="339"/>
                  <a:pt x="135" y="351"/>
                </a:cubicBezTo>
                <a:cubicBezTo>
                  <a:pt x="135" y="363"/>
                  <a:pt x="145" y="373"/>
                  <a:pt x="157" y="373"/>
                </a:cubicBezTo>
                <a:cubicBezTo>
                  <a:pt x="497" y="373"/>
                  <a:pt x="497" y="373"/>
                  <a:pt x="497" y="373"/>
                </a:cubicBezTo>
                <a:cubicBezTo>
                  <a:pt x="497" y="373"/>
                  <a:pt x="497" y="373"/>
                  <a:pt x="497" y="373"/>
                </a:cubicBezTo>
                <a:cubicBezTo>
                  <a:pt x="524" y="373"/>
                  <a:pt x="524" y="373"/>
                  <a:pt x="524" y="373"/>
                </a:cubicBezTo>
                <a:cubicBezTo>
                  <a:pt x="527" y="374"/>
                  <a:pt x="530" y="377"/>
                  <a:pt x="530" y="380"/>
                </a:cubicBezTo>
                <a:cubicBezTo>
                  <a:pt x="530" y="384"/>
                  <a:pt x="526" y="387"/>
                  <a:pt x="522" y="387"/>
                </a:cubicBezTo>
                <a:cubicBezTo>
                  <a:pt x="164" y="387"/>
                  <a:pt x="164" y="387"/>
                  <a:pt x="164" y="387"/>
                </a:cubicBezTo>
                <a:cubicBezTo>
                  <a:pt x="152" y="387"/>
                  <a:pt x="142" y="397"/>
                  <a:pt x="142" y="409"/>
                </a:cubicBezTo>
                <a:cubicBezTo>
                  <a:pt x="142" y="421"/>
                  <a:pt x="152" y="430"/>
                  <a:pt x="164" y="430"/>
                </a:cubicBezTo>
                <a:cubicBezTo>
                  <a:pt x="518" y="430"/>
                  <a:pt x="518" y="430"/>
                  <a:pt x="518" y="430"/>
                </a:cubicBezTo>
                <a:cubicBezTo>
                  <a:pt x="522" y="430"/>
                  <a:pt x="525" y="434"/>
                  <a:pt x="525" y="438"/>
                </a:cubicBezTo>
                <a:cubicBezTo>
                  <a:pt x="525" y="442"/>
                  <a:pt x="522" y="445"/>
                  <a:pt x="518" y="445"/>
                </a:cubicBezTo>
                <a:cubicBezTo>
                  <a:pt x="180" y="445"/>
                  <a:pt x="180" y="445"/>
                  <a:pt x="180" y="445"/>
                </a:cubicBezTo>
                <a:cubicBezTo>
                  <a:pt x="168" y="445"/>
                  <a:pt x="158" y="455"/>
                  <a:pt x="158" y="467"/>
                </a:cubicBezTo>
                <a:cubicBezTo>
                  <a:pt x="158" y="479"/>
                  <a:pt x="168" y="488"/>
                  <a:pt x="180" y="488"/>
                </a:cubicBezTo>
                <a:cubicBezTo>
                  <a:pt x="433" y="488"/>
                  <a:pt x="433" y="488"/>
                  <a:pt x="433" y="488"/>
                </a:cubicBezTo>
                <a:cubicBezTo>
                  <a:pt x="437" y="488"/>
                  <a:pt x="440" y="492"/>
                  <a:pt x="440" y="496"/>
                </a:cubicBezTo>
                <a:cubicBezTo>
                  <a:pt x="440" y="500"/>
                  <a:pt x="437" y="503"/>
                  <a:pt x="433" y="503"/>
                </a:cubicBezTo>
                <a:cubicBezTo>
                  <a:pt x="162" y="503"/>
                  <a:pt x="162" y="503"/>
                  <a:pt x="162" y="503"/>
                </a:cubicBezTo>
                <a:cubicBezTo>
                  <a:pt x="150" y="503"/>
                  <a:pt x="140" y="513"/>
                  <a:pt x="140" y="524"/>
                </a:cubicBezTo>
                <a:cubicBezTo>
                  <a:pt x="140" y="536"/>
                  <a:pt x="150" y="546"/>
                  <a:pt x="162" y="546"/>
                </a:cubicBezTo>
                <a:cubicBezTo>
                  <a:pt x="381" y="546"/>
                  <a:pt x="381" y="546"/>
                  <a:pt x="381" y="546"/>
                </a:cubicBezTo>
                <a:cubicBezTo>
                  <a:pt x="385" y="546"/>
                  <a:pt x="388" y="549"/>
                  <a:pt x="388" y="553"/>
                </a:cubicBezTo>
                <a:cubicBezTo>
                  <a:pt x="388" y="557"/>
                  <a:pt x="385" y="561"/>
                  <a:pt x="381" y="561"/>
                </a:cubicBezTo>
                <a:cubicBezTo>
                  <a:pt x="190" y="561"/>
                  <a:pt x="190" y="561"/>
                  <a:pt x="190" y="561"/>
                </a:cubicBezTo>
                <a:cubicBezTo>
                  <a:pt x="178" y="561"/>
                  <a:pt x="168" y="570"/>
                  <a:pt x="168" y="582"/>
                </a:cubicBezTo>
                <a:cubicBezTo>
                  <a:pt x="168" y="594"/>
                  <a:pt x="178" y="604"/>
                  <a:pt x="190" y="604"/>
                </a:cubicBezTo>
                <a:cubicBezTo>
                  <a:pt x="266" y="604"/>
                  <a:pt x="266" y="604"/>
                  <a:pt x="266" y="604"/>
                </a:cubicBezTo>
                <a:cubicBezTo>
                  <a:pt x="270" y="604"/>
                  <a:pt x="273" y="607"/>
                  <a:pt x="273" y="611"/>
                </a:cubicBezTo>
                <a:cubicBezTo>
                  <a:pt x="273" y="615"/>
                  <a:pt x="270" y="619"/>
                  <a:pt x="266" y="619"/>
                </a:cubicBezTo>
                <a:cubicBezTo>
                  <a:pt x="236" y="619"/>
                  <a:pt x="236" y="619"/>
                  <a:pt x="236" y="619"/>
                </a:cubicBezTo>
                <a:cubicBezTo>
                  <a:pt x="224" y="619"/>
                  <a:pt x="215" y="628"/>
                  <a:pt x="215" y="640"/>
                </a:cubicBezTo>
                <a:cubicBezTo>
                  <a:pt x="215" y="652"/>
                  <a:pt x="224" y="662"/>
                  <a:pt x="236" y="662"/>
                </a:cubicBezTo>
                <a:cubicBezTo>
                  <a:pt x="276" y="662"/>
                  <a:pt x="276" y="662"/>
                  <a:pt x="276" y="662"/>
                </a:cubicBezTo>
                <a:cubicBezTo>
                  <a:pt x="280" y="662"/>
                  <a:pt x="283" y="665"/>
                  <a:pt x="283" y="669"/>
                </a:cubicBezTo>
                <a:cubicBezTo>
                  <a:pt x="283" y="673"/>
                  <a:pt x="280" y="676"/>
                  <a:pt x="276" y="676"/>
                </a:cubicBezTo>
                <a:cubicBezTo>
                  <a:pt x="273" y="676"/>
                  <a:pt x="273" y="676"/>
                  <a:pt x="273" y="676"/>
                </a:cubicBezTo>
                <a:cubicBezTo>
                  <a:pt x="261" y="676"/>
                  <a:pt x="252" y="686"/>
                  <a:pt x="252" y="698"/>
                </a:cubicBezTo>
                <a:cubicBezTo>
                  <a:pt x="252" y="710"/>
                  <a:pt x="261" y="720"/>
                  <a:pt x="273" y="720"/>
                </a:cubicBezTo>
                <a:cubicBezTo>
                  <a:pt x="353" y="720"/>
                  <a:pt x="353" y="720"/>
                  <a:pt x="353" y="720"/>
                </a:cubicBezTo>
                <a:cubicBezTo>
                  <a:pt x="357" y="720"/>
                  <a:pt x="360" y="723"/>
                  <a:pt x="360" y="727"/>
                </a:cubicBezTo>
                <a:cubicBezTo>
                  <a:pt x="360" y="731"/>
                  <a:pt x="357" y="734"/>
                  <a:pt x="353" y="734"/>
                </a:cubicBezTo>
                <a:cubicBezTo>
                  <a:pt x="337" y="734"/>
                  <a:pt x="337" y="734"/>
                  <a:pt x="337" y="734"/>
                </a:cubicBezTo>
                <a:cubicBezTo>
                  <a:pt x="325" y="734"/>
                  <a:pt x="316" y="744"/>
                  <a:pt x="316" y="756"/>
                </a:cubicBezTo>
                <a:cubicBezTo>
                  <a:pt x="316" y="768"/>
                  <a:pt x="325" y="777"/>
                  <a:pt x="337" y="777"/>
                </a:cubicBezTo>
                <a:cubicBezTo>
                  <a:pt x="529" y="777"/>
                  <a:pt x="529" y="777"/>
                  <a:pt x="529" y="777"/>
                </a:cubicBezTo>
                <a:cubicBezTo>
                  <a:pt x="533" y="777"/>
                  <a:pt x="537" y="781"/>
                  <a:pt x="537" y="785"/>
                </a:cubicBezTo>
                <a:cubicBezTo>
                  <a:pt x="537" y="789"/>
                  <a:pt x="533" y="792"/>
                  <a:pt x="529" y="792"/>
                </a:cubicBezTo>
                <a:cubicBezTo>
                  <a:pt x="377" y="792"/>
                  <a:pt x="377" y="792"/>
                  <a:pt x="377" y="792"/>
                </a:cubicBezTo>
                <a:cubicBezTo>
                  <a:pt x="365" y="792"/>
                  <a:pt x="356" y="802"/>
                  <a:pt x="356" y="814"/>
                </a:cubicBezTo>
                <a:cubicBezTo>
                  <a:pt x="356" y="825"/>
                  <a:pt x="365" y="835"/>
                  <a:pt x="377" y="835"/>
                </a:cubicBezTo>
                <a:cubicBezTo>
                  <a:pt x="607" y="835"/>
                  <a:pt x="607" y="835"/>
                  <a:pt x="607" y="835"/>
                </a:cubicBezTo>
                <a:cubicBezTo>
                  <a:pt x="611" y="835"/>
                  <a:pt x="615" y="838"/>
                  <a:pt x="615" y="842"/>
                </a:cubicBezTo>
                <a:cubicBezTo>
                  <a:pt x="615" y="846"/>
                  <a:pt x="611" y="850"/>
                  <a:pt x="607" y="850"/>
                </a:cubicBezTo>
                <a:cubicBezTo>
                  <a:pt x="417" y="850"/>
                  <a:pt x="417" y="850"/>
                  <a:pt x="417" y="850"/>
                </a:cubicBezTo>
                <a:cubicBezTo>
                  <a:pt x="405" y="850"/>
                  <a:pt x="396" y="859"/>
                  <a:pt x="396" y="871"/>
                </a:cubicBezTo>
                <a:cubicBezTo>
                  <a:pt x="396" y="883"/>
                  <a:pt x="405" y="893"/>
                  <a:pt x="417" y="893"/>
                </a:cubicBezTo>
                <a:cubicBezTo>
                  <a:pt x="593" y="893"/>
                  <a:pt x="593" y="893"/>
                  <a:pt x="593" y="893"/>
                </a:cubicBezTo>
                <a:cubicBezTo>
                  <a:pt x="597" y="893"/>
                  <a:pt x="600" y="896"/>
                  <a:pt x="600" y="900"/>
                </a:cubicBezTo>
                <a:cubicBezTo>
                  <a:pt x="600" y="904"/>
                  <a:pt x="597" y="908"/>
                  <a:pt x="593" y="908"/>
                </a:cubicBezTo>
                <a:cubicBezTo>
                  <a:pt x="446" y="908"/>
                  <a:pt x="446" y="908"/>
                  <a:pt x="446" y="908"/>
                </a:cubicBezTo>
                <a:cubicBezTo>
                  <a:pt x="434" y="908"/>
                  <a:pt x="425" y="917"/>
                  <a:pt x="425" y="929"/>
                </a:cubicBezTo>
                <a:cubicBezTo>
                  <a:pt x="425" y="941"/>
                  <a:pt x="434" y="951"/>
                  <a:pt x="446" y="951"/>
                </a:cubicBezTo>
                <a:cubicBezTo>
                  <a:pt x="551" y="951"/>
                  <a:pt x="551" y="951"/>
                  <a:pt x="551" y="951"/>
                </a:cubicBezTo>
                <a:cubicBezTo>
                  <a:pt x="555" y="951"/>
                  <a:pt x="558" y="954"/>
                  <a:pt x="558" y="958"/>
                </a:cubicBezTo>
                <a:cubicBezTo>
                  <a:pt x="558" y="962"/>
                  <a:pt x="555" y="965"/>
                  <a:pt x="551" y="965"/>
                </a:cubicBezTo>
                <a:cubicBezTo>
                  <a:pt x="438" y="965"/>
                  <a:pt x="438" y="965"/>
                  <a:pt x="438" y="965"/>
                </a:cubicBezTo>
                <a:cubicBezTo>
                  <a:pt x="426" y="965"/>
                  <a:pt x="417" y="975"/>
                  <a:pt x="417" y="987"/>
                </a:cubicBezTo>
                <a:cubicBezTo>
                  <a:pt x="417" y="999"/>
                  <a:pt x="426" y="1009"/>
                  <a:pt x="438" y="1009"/>
                </a:cubicBezTo>
                <a:cubicBezTo>
                  <a:pt x="495" y="1009"/>
                  <a:pt x="495" y="1009"/>
                  <a:pt x="495" y="1009"/>
                </a:cubicBezTo>
                <a:cubicBezTo>
                  <a:pt x="499" y="1009"/>
                  <a:pt x="502" y="1012"/>
                  <a:pt x="502" y="1016"/>
                </a:cubicBezTo>
                <a:cubicBezTo>
                  <a:pt x="502" y="1020"/>
                  <a:pt x="499" y="1023"/>
                  <a:pt x="495" y="1023"/>
                </a:cubicBezTo>
                <a:cubicBezTo>
                  <a:pt x="443" y="1023"/>
                  <a:pt x="443" y="1023"/>
                  <a:pt x="443" y="1023"/>
                </a:cubicBezTo>
                <a:cubicBezTo>
                  <a:pt x="431" y="1023"/>
                  <a:pt x="422" y="1033"/>
                  <a:pt x="422" y="1045"/>
                </a:cubicBezTo>
                <a:cubicBezTo>
                  <a:pt x="422" y="1057"/>
                  <a:pt x="431" y="1066"/>
                  <a:pt x="443" y="1066"/>
                </a:cubicBezTo>
                <a:cubicBezTo>
                  <a:pt x="472" y="1066"/>
                  <a:pt x="472" y="1066"/>
                  <a:pt x="472" y="1066"/>
                </a:cubicBezTo>
                <a:cubicBezTo>
                  <a:pt x="476" y="1066"/>
                  <a:pt x="479" y="1070"/>
                  <a:pt x="479" y="1074"/>
                </a:cubicBezTo>
                <a:cubicBezTo>
                  <a:pt x="479" y="1078"/>
                  <a:pt x="476" y="1081"/>
                  <a:pt x="472" y="1081"/>
                </a:cubicBezTo>
                <a:cubicBezTo>
                  <a:pt x="443" y="1081"/>
                  <a:pt x="443" y="1081"/>
                  <a:pt x="443" y="1081"/>
                </a:cubicBezTo>
                <a:cubicBezTo>
                  <a:pt x="431" y="1081"/>
                  <a:pt x="422" y="1091"/>
                  <a:pt x="422" y="1103"/>
                </a:cubicBezTo>
                <a:cubicBezTo>
                  <a:pt x="422" y="1115"/>
                  <a:pt x="431" y="1124"/>
                  <a:pt x="443" y="1124"/>
                </a:cubicBezTo>
                <a:cubicBezTo>
                  <a:pt x="462" y="1124"/>
                  <a:pt x="462" y="1124"/>
                  <a:pt x="462" y="1124"/>
                </a:cubicBezTo>
                <a:cubicBezTo>
                  <a:pt x="1017" y="1124"/>
                  <a:pt x="1017" y="1124"/>
                  <a:pt x="1017" y="1124"/>
                </a:cubicBezTo>
                <a:cubicBezTo>
                  <a:pt x="1037" y="1124"/>
                  <a:pt x="1053" y="1108"/>
                  <a:pt x="1053" y="1088"/>
                </a:cubicBezTo>
                <a:cubicBezTo>
                  <a:pt x="1053" y="1068"/>
                  <a:pt x="1037" y="1052"/>
                  <a:pt x="1017" y="1052"/>
                </a:cubicBezTo>
                <a:cubicBezTo>
                  <a:pt x="976" y="1052"/>
                  <a:pt x="976" y="1052"/>
                  <a:pt x="976" y="1052"/>
                </a:cubicBezTo>
                <a:cubicBezTo>
                  <a:pt x="964" y="1052"/>
                  <a:pt x="955" y="1042"/>
                  <a:pt x="955" y="1030"/>
                </a:cubicBezTo>
                <a:cubicBezTo>
                  <a:pt x="955" y="1018"/>
                  <a:pt x="964" y="1009"/>
                  <a:pt x="976" y="1009"/>
                </a:cubicBezTo>
                <a:cubicBezTo>
                  <a:pt x="979" y="1009"/>
                  <a:pt x="979" y="1009"/>
                  <a:pt x="979" y="1009"/>
                </a:cubicBezTo>
                <a:cubicBezTo>
                  <a:pt x="990" y="1009"/>
                  <a:pt x="1000" y="999"/>
                  <a:pt x="1000" y="987"/>
                </a:cubicBezTo>
                <a:cubicBezTo>
                  <a:pt x="1000" y="975"/>
                  <a:pt x="990" y="965"/>
                  <a:pt x="979" y="965"/>
                </a:cubicBezTo>
                <a:cubicBezTo>
                  <a:pt x="941" y="965"/>
                  <a:pt x="941" y="965"/>
                  <a:pt x="941" y="965"/>
                </a:cubicBezTo>
                <a:cubicBezTo>
                  <a:pt x="937" y="965"/>
                  <a:pt x="933" y="962"/>
                  <a:pt x="933" y="958"/>
                </a:cubicBezTo>
                <a:cubicBezTo>
                  <a:pt x="933" y="954"/>
                  <a:pt x="937" y="951"/>
                  <a:pt x="941" y="951"/>
                </a:cubicBezTo>
                <a:cubicBezTo>
                  <a:pt x="1017" y="951"/>
                  <a:pt x="1017" y="951"/>
                  <a:pt x="1017" y="951"/>
                </a:cubicBezTo>
                <a:cubicBezTo>
                  <a:pt x="1029" y="951"/>
                  <a:pt x="1039" y="941"/>
                  <a:pt x="1039" y="929"/>
                </a:cubicBezTo>
                <a:cubicBezTo>
                  <a:pt x="1039" y="917"/>
                  <a:pt x="1029" y="908"/>
                  <a:pt x="1017" y="908"/>
                </a:cubicBezTo>
                <a:cubicBezTo>
                  <a:pt x="919" y="908"/>
                  <a:pt x="919" y="908"/>
                  <a:pt x="919" y="908"/>
                </a:cubicBezTo>
                <a:cubicBezTo>
                  <a:pt x="915" y="908"/>
                  <a:pt x="912" y="904"/>
                  <a:pt x="912" y="900"/>
                </a:cubicBezTo>
                <a:cubicBezTo>
                  <a:pt x="912" y="896"/>
                  <a:pt x="915" y="893"/>
                  <a:pt x="919" y="893"/>
                </a:cubicBezTo>
                <a:cubicBezTo>
                  <a:pt x="1053" y="893"/>
                  <a:pt x="1053" y="893"/>
                  <a:pt x="1053" y="893"/>
                </a:cubicBezTo>
                <a:cubicBezTo>
                  <a:pt x="1065" y="893"/>
                  <a:pt x="1075" y="883"/>
                  <a:pt x="1075" y="871"/>
                </a:cubicBezTo>
                <a:cubicBezTo>
                  <a:pt x="1075" y="859"/>
                  <a:pt x="1065" y="850"/>
                  <a:pt x="1053" y="850"/>
                </a:cubicBezTo>
                <a:cubicBezTo>
                  <a:pt x="914" y="850"/>
                  <a:pt x="914" y="850"/>
                  <a:pt x="914" y="850"/>
                </a:cubicBezTo>
                <a:cubicBezTo>
                  <a:pt x="910" y="850"/>
                  <a:pt x="906" y="846"/>
                  <a:pt x="906" y="842"/>
                </a:cubicBezTo>
                <a:cubicBezTo>
                  <a:pt x="906" y="838"/>
                  <a:pt x="910" y="835"/>
                  <a:pt x="914" y="835"/>
                </a:cubicBezTo>
                <a:cubicBezTo>
                  <a:pt x="1049" y="835"/>
                  <a:pt x="1049" y="835"/>
                  <a:pt x="1049" y="835"/>
                </a:cubicBezTo>
                <a:cubicBezTo>
                  <a:pt x="1061" y="835"/>
                  <a:pt x="1071" y="825"/>
                  <a:pt x="1071" y="814"/>
                </a:cubicBezTo>
                <a:cubicBezTo>
                  <a:pt x="1071" y="802"/>
                  <a:pt x="1061" y="792"/>
                  <a:pt x="1049" y="792"/>
                </a:cubicBezTo>
                <a:cubicBezTo>
                  <a:pt x="905" y="792"/>
                  <a:pt x="905" y="792"/>
                  <a:pt x="905" y="792"/>
                </a:cubicBezTo>
                <a:cubicBezTo>
                  <a:pt x="901" y="792"/>
                  <a:pt x="898" y="789"/>
                  <a:pt x="898" y="785"/>
                </a:cubicBezTo>
                <a:cubicBezTo>
                  <a:pt x="898" y="781"/>
                  <a:pt x="901" y="777"/>
                  <a:pt x="905" y="777"/>
                </a:cubicBezTo>
                <a:cubicBezTo>
                  <a:pt x="1104" y="777"/>
                  <a:pt x="1104" y="777"/>
                  <a:pt x="1104" y="777"/>
                </a:cubicBezTo>
                <a:cubicBezTo>
                  <a:pt x="1116" y="777"/>
                  <a:pt x="1125" y="768"/>
                  <a:pt x="1125" y="756"/>
                </a:cubicBezTo>
                <a:cubicBezTo>
                  <a:pt x="1125" y="744"/>
                  <a:pt x="1116" y="734"/>
                  <a:pt x="1104" y="734"/>
                </a:cubicBezTo>
                <a:cubicBezTo>
                  <a:pt x="791" y="734"/>
                  <a:pt x="791" y="734"/>
                  <a:pt x="791" y="734"/>
                </a:cubicBezTo>
                <a:cubicBezTo>
                  <a:pt x="787" y="734"/>
                  <a:pt x="784" y="731"/>
                  <a:pt x="784" y="727"/>
                </a:cubicBezTo>
                <a:cubicBezTo>
                  <a:pt x="784" y="723"/>
                  <a:pt x="787" y="720"/>
                  <a:pt x="791" y="720"/>
                </a:cubicBezTo>
                <a:cubicBezTo>
                  <a:pt x="1046" y="720"/>
                  <a:pt x="1046" y="720"/>
                  <a:pt x="1046" y="720"/>
                </a:cubicBezTo>
                <a:cubicBezTo>
                  <a:pt x="1058" y="720"/>
                  <a:pt x="1068" y="710"/>
                  <a:pt x="1068" y="698"/>
                </a:cubicBezTo>
                <a:cubicBezTo>
                  <a:pt x="1068" y="686"/>
                  <a:pt x="1058" y="676"/>
                  <a:pt x="1046" y="676"/>
                </a:cubicBezTo>
                <a:cubicBezTo>
                  <a:pt x="763" y="676"/>
                  <a:pt x="763" y="676"/>
                  <a:pt x="763" y="676"/>
                </a:cubicBezTo>
                <a:cubicBezTo>
                  <a:pt x="759" y="676"/>
                  <a:pt x="755" y="673"/>
                  <a:pt x="755" y="669"/>
                </a:cubicBezTo>
                <a:cubicBezTo>
                  <a:pt x="755" y="665"/>
                  <a:pt x="759" y="662"/>
                  <a:pt x="763" y="662"/>
                </a:cubicBezTo>
                <a:cubicBezTo>
                  <a:pt x="1011" y="662"/>
                  <a:pt x="1011" y="662"/>
                  <a:pt x="1011" y="662"/>
                </a:cubicBezTo>
                <a:cubicBezTo>
                  <a:pt x="1022" y="662"/>
                  <a:pt x="1032" y="652"/>
                  <a:pt x="1032" y="640"/>
                </a:cubicBezTo>
                <a:cubicBezTo>
                  <a:pt x="1032" y="628"/>
                  <a:pt x="1022" y="619"/>
                  <a:pt x="1011" y="619"/>
                </a:cubicBezTo>
                <a:cubicBezTo>
                  <a:pt x="805" y="619"/>
                  <a:pt x="805" y="619"/>
                  <a:pt x="805" y="619"/>
                </a:cubicBezTo>
                <a:cubicBezTo>
                  <a:pt x="801" y="619"/>
                  <a:pt x="798" y="615"/>
                  <a:pt x="798" y="611"/>
                </a:cubicBezTo>
                <a:cubicBezTo>
                  <a:pt x="798" y="607"/>
                  <a:pt x="801" y="604"/>
                  <a:pt x="805" y="604"/>
                </a:cubicBezTo>
                <a:cubicBezTo>
                  <a:pt x="860" y="604"/>
                  <a:pt x="860" y="604"/>
                  <a:pt x="860" y="604"/>
                </a:cubicBezTo>
                <a:cubicBezTo>
                  <a:pt x="872" y="604"/>
                  <a:pt x="881" y="594"/>
                  <a:pt x="881" y="582"/>
                </a:cubicBezTo>
                <a:cubicBezTo>
                  <a:pt x="881" y="570"/>
                  <a:pt x="872" y="561"/>
                  <a:pt x="860" y="561"/>
                </a:cubicBezTo>
                <a:cubicBezTo>
                  <a:pt x="805" y="561"/>
                  <a:pt x="805" y="561"/>
                  <a:pt x="805" y="561"/>
                </a:cubicBezTo>
                <a:cubicBezTo>
                  <a:pt x="801" y="561"/>
                  <a:pt x="798" y="557"/>
                  <a:pt x="798" y="553"/>
                </a:cubicBezTo>
                <a:cubicBezTo>
                  <a:pt x="798" y="549"/>
                  <a:pt x="801" y="546"/>
                  <a:pt x="805" y="546"/>
                </a:cubicBezTo>
                <a:cubicBezTo>
                  <a:pt x="972" y="546"/>
                  <a:pt x="972" y="546"/>
                  <a:pt x="972" y="546"/>
                </a:cubicBezTo>
                <a:cubicBezTo>
                  <a:pt x="984" y="546"/>
                  <a:pt x="993" y="536"/>
                  <a:pt x="993" y="524"/>
                </a:cubicBezTo>
                <a:cubicBezTo>
                  <a:pt x="993" y="513"/>
                  <a:pt x="984" y="503"/>
                  <a:pt x="972" y="503"/>
                </a:cubicBezTo>
                <a:cubicBezTo>
                  <a:pt x="846" y="503"/>
                  <a:pt x="846" y="503"/>
                  <a:pt x="846" y="503"/>
                </a:cubicBezTo>
                <a:cubicBezTo>
                  <a:pt x="842" y="503"/>
                  <a:pt x="839" y="500"/>
                  <a:pt x="839" y="496"/>
                </a:cubicBezTo>
                <a:cubicBezTo>
                  <a:pt x="839" y="492"/>
                  <a:pt x="842" y="488"/>
                  <a:pt x="846" y="488"/>
                </a:cubicBezTo>
                <a:cubicBezTo>
                  <a:pt x="969" y="488"/>
                  <a:pt x="969" y="488"/>
                  <a:pt x="969" y="488"/>
                </a:cubicBezTo>
                <a:cubicBezTo>
                  <a:pt x="981" y="488"/>
                  <a:pt x="991" y="479"/>
                  <a:pt x="991" y="467"/>
                </a:cubicBezTo>
                <a:cubicBezTo>
                  <a:pt x="991" y="455"/>
                  <a:pt x="981" y="445"/>
                  <a:pt x="969" y="445"/>
                </a:cubicBezTo>
                <a:cubicBezTo>
                  <a:pt x="768" y="445"/>
                  <a:pt x="768" y="445"/>
                  <a:pt x="768" y="445"/>
                </a:cubicBezTo>
                <a:cubicBezTo>
                  <a:pt x="764" y="445"/>
                  <a:pt x="761" y="442"/>
                  <a:pt x="761" y="438"/>
                </a:cubicBezTo>
                <a:cubicBezTo>
                  <a:pt x="761" y="434"/>
                  <a:pt x="764" y="430"/>
                  <a:pt x="768" y="430"/>
                </a:cubicBezTo>
                <a:cubicBezTo>
                  <a:pt x="804" y="430"/>
                  <a:pt x="804" y="430"/>
                  <a:pt x="804" y="430"/>
                </a:cubicBezTo>
                <a:cubicBezTo>
                  <a:pt x="816" y="430"/>
                  <a:pt x="826" y="421"/>
                  <a:pt x="826" y="409"/>
                </a:cubicBezTo>
                <a:cubicBezTo>
                  <a:pt x="826" y="397"/>
                  <a:pt x="816" y="387"/>
                  <a:pt x="804" y="387"/>
                </a:cubicBezTo>
                <a:cubicBezTo>
                  <a:pt x="766" y="387"/>
                  <a:pt x="766" y="387"/>
                  <a:pt x="766" y="387"/>
                </a:cubicBezTo>
                <a:cubicBezTo>
                  <a:pt x="762" y="387"/>
                  <a:pt x="759" y="384"/>
                  <a:pt x="759" y="380"/>
                </a:cubicBezTo>
                <a:cubicBezTo>
                  <a:pt x="759" y="376"/>
                  <a:pt x="762" y="373"/>
                  <a:pt x="766" y="373"/>
                </a:cubicBezTo>
                <a:cubicBezTo>
                  <a:pt x="885" y="373"/>
                  <a:pt x="885" y="373"/>
                  <a:pt x="885" y="373"/>
                </a:cubicBezTo>
                <a:cubicBezTo>
                  <a:pt x="886" y="373"/>
                  <a:pt x="887" y="373"/>
                  <a:pt x="888" y="373"/>
                </a:cubicBezTo>
                <a:cubicBezTo>
                  <a:pt x="1592" y="373"/>
                  <a:pt x="1592" y="373"/>
                  <a:pt x="1592" y="373"/>
                </a:cubicBezTo>
                <a:cubicBezTo>
                  <a:pt x="1596" y="373"/>
                  <a:pt x="1599" y="376"/>
                  <a:pt x="1599" y="380"/>
                </a:cubicBezTo>
                <a:cubicBezTo>
                  <a:pt x="1599" y="384"/>
                  <a:pt x="1596" y="388"/>
                  <a:pt x="1592" y="388"/>
                </a:cubicBezTo>
                <a:cubicBezTo>
                  <a:pt x="855" y="388"/>
                  <a:pt x="855" y="388"/>
                  <a:pt x="855" y="388"/>
                </a:cubicBezTo>
                <a:cubicBezTo>
                  <a:pt x="843" y="388"/>
                  <a:pt x="834" y="397"/>
                  <a:pt x="834" y="409"/>
                </a:cubicBezTo>
                <a:cubicBezTo>
                  <a:pt x="834" y="421"/>
                  <a:pt x="843" y="431"/>
                  <a:pt x="855" y="431"/>
                </a:cubicBezTo>
                <a:cubicBezTo>
                  <a:pt x="1592" y="431"/>
                  <a:pt x="1592" y="431"/>
                  <a:pt x="1592" y="431"/>
                </a:cubicBezTo>
                <a:cubicBezTo>
                  <a:pt x="1596" y="431"/>
                  <a:pt x="1599" y="434"/>
                  <a:pt x="1599" y="438"/>
                </a:cubicBezTo>
                <a:cubicBezTo>
                  <a:pt x="1599" y="442"/>
                  <a:pt x="1596" y="445"/>
                  <a:pt x="1592" y="445"/>
                </a:cubicBezTo>
                <a:cubicBezTo>
                  <a:pt x="1039" y="445"/>
                  <a:pt x="1039" y="445"/>
                  <a:pt x="1039" y="445"/>
                </a:cubicBezTo>
                <a:cubicBezTo>
                  <a:pt x="1027" y="445"/>
                  <a:pt x="1017" y="455"/>
                  <a:pt x="1017" y="467"/>
                </a:cubicBezTo>
                <a:cubicBezTo>
                  <a:pt x="1017" y="479"/>
                  <a:pt x="1027" y="489"/>
                  <a:pt x="1039" y="489"/>
                </a:cubicBezTo>
                <a:cubicBezTo>
                  <a:pt x="1553" y="489"/>
                  <a:pt x="1553" y="489"/>
                  <a:pt x="1553" y="489"/>
                </a:cubicBezTo>
                <a:cubicBezTo>
                  <a:pt x="1557" y="489"/>
                  <a:pt x="1560" y="492"/>
                  <a:pt x="1560" y="496"/>
                </a:cubicBezTo>
                <a:cubicBezTo>
                  <a:pt x="1560" y="500"/>
                  <a:pt x="1557" y="503"/>
                  <a:pt x="1553" y="503"/>
                </a:cubicBezTo>
                <a:cubicBezTo>
                  <a:pt x="1039" y="503"/>
                  <a:pt x="1039" y="503"/>
                  <a:pt x="1039" y="503"/>
                </a:cubicBezTo>
                <a:cubicBezTo>
                  <a:pt x="1027" y="503"/>
                  <a:pt x="1017" y="513"/>
                  <a:pt x="1017" y="525"/>
                </a:cubicBezTo>
                <a:cubicBezTo>
                  <a:pt x="1017" y="537"/>
                  <a:pt x="1027" y="546"/>
                  <a:pt x="1039" y="546"/>
                </a:cubicBezTo>
                <a:cubicBezTo>
                  <a:pt x="1528" y="546"/>
                  <a:pt x="1528" y="546"/>
                  <a:pt x="1528" y="546"/>
                </a:cubicBezTo>
                <a:cubicBezTo>
                  <a:pt x="1532" y="546"/>
                  <a:pt x="1536" y="550"/>
                  <a:pt x="1536" y="554"/>
                </a:cubicBezTo>
                <a:cubicBezTo>
                  <a:pt x="1536" y="558"/>
                  <a:pt x="1532" y="561"/>
                  <a:pt x="1528" y="561"/>
                </a:cubicBezTo>
                <a:cubicBezTo>
                  <a:pt x="1019" y="561"/>
                  <a:pt x="1019" y="561"/>
                  <a:pt x="1019" y="561"/>
                </a:cubicBezTo>
                <a:cubicBezTo>
                  <a:pt x="1007" y="561"/>
                  <a:pt x="997" y="571"/>
                  <a:pt x="997" y="583"/>
                </a:cubicBezTo>
                <a:cubicBezTo>
                  <a:pt x="997" y="595"/>
                  <a:pt x="1007" y="604"/>
                  <a:pt x="1019" y="604"/>
                </a:cubicBezTo>
                <a:cubicBezTo>
                  <a:pt x="1526" y="604"/>
                  <a:pt x="1526" y="604"/>
                  <a:pt x="1526" y="604"/>
                </a:cubicBezTo>
                <a:cubicBezTo>
                  <a:pt x="1530" y="604"/>
                  <a:pt x="1534" y="607"/>
                  <a:pt x="1534" y="612"/>
                </a:cubicBezTo>
                <a:cubicBezTo>
                  <a:pt x="1534" y="616"/>
                  <a:pt x="1530" y="619"/>
                  <a:pt x="1526" y="619"/>
                </a:cubicBezTo>
                <a:cubicBezTo>
                  <a:pt x="1068" y="619"/>
                  <a:pt x="1068" y="619"/>
                  <a:pt x="1068" y="619"/>
                </a:cubicBezTo>
                <a:cubicBezTo>
                  <a:pt x="1056" y="619"/>
                  <a:pt x="1046" y="629"/>
                  <a:pt x="1046" y="640"/>
                </a:cubicBezTo>
                <a:cubicBezTo>
                  <a:pt x="1046" y="652"/>
                  <a:pt x="1056" y="662"/>
                  <a:pt x="1068" y="662"/>
                </a:cubicBezTo>
                <a:cubicBezTo>
                  <a:pt x="1436" y="662"/>
                  <a:pt x="1436" y="662"/>
                  <a:pt x="1436" y="662"/>
                </a:cubicBezTo>
                <a:cubicBezTo>
                  <a:pt x="1440" y="662"/>
                  <a:pt x="1443" y="665"/>
                  <a:pt x="1443" y="669"/>
                </a:cubicBezTo>
                <a:cubicBezTo>
                  <a:pt x="1443" y="673"/>
                  <a:pt x="1440" y="677"/>
                  <a:pt x="1436" y="677"/>
                </a:cubicBezTo>
                <a:cubicBezTo>
                  <a:pt x="1287" y="677"/>
                  <a:pt x="1287" y="677"/>
                  <a:pt x="1287" y="677"/>
                </a:cubicBezTo>
                <a:cubicBezTo>
                  <a:pt x="1276" y="677"/>
                  <a:pt x="1266" y="686"/>
                  <a:pt x="1266" y="698"/>
                </a:cubicBezTo>
                <a:cubicBezTo>
                  <a:pt x="1266" y="710"/>
                  <a:pt x="1276" y="720"/>
                  <a:pt x="1287" y="720"/>
                </a:cubicBezTo>
                <a:cubicBezTo>
                  <a:pt x="1454" y="720"/>
                  <a:pt x="1454" y="720"/>
                  <a:pt x="1454" y="720"/>
                </a:cubicBezTo>
                <a:cubicBezTo>
                  <a:pt x="1458" y="720"/>
                  <a:pt x="1461" y="723"/>
                  <a:pt x="1461" y="727"/>
                </a:cubicBezTo>
                <a:cubicBezTo>
                  <a:pt x="1461" y="731"/>
                  <a:pt x="1458" y="734"/>
                  <a:pt x="1454" y="734"/>
                </a:cubicBezTo>
                <a:cubicBezTo>
                  <a:pt x="1321" y="734"/>
                  <a:pt x="1321" y="734"/>
                  <a:pt x="1321" y="734"/>
                </a:cubicBezTo>
                <a:cubicBezTo>
                  <a:pt x="1309" y="734"/>
                  <a:pt x="1300" y="744"/>
                  <a:pt x="1300" y="756"/>
                </a:cubicBezTo>
                <a:cubicBezTo>
                  <a:pt x="1300" y="768"/>
                  <a:pt x="1309" y="778"/>
                  <a:pt x="1321" y="778"/>
                </a:cubicBezTo>
                <a:cubicBezTo>
                  <a:pt x="1549" y="778"/>
                  <a:pt x="1549" y="778"/>
                  <a:pt x="1549" y="778"/>
                </a:cubicBezTo>
                <a:cubicBezTo>
                  <a:pt x="1553" y="778"/>
                  <a:pt x="1556" y="781"/>
                  <a:pt x="1556" y="785"/>
                </a:cubicBezTo>
                <a:cubicBezTo>
                  <a:pt x="1556" y="789"/>
                  <a:pt x="1553" y="792"/>
                  <a:pt x="1549" y="792"/>
                </a:cubicBezTo>
                <a:cubicBezTo>
                  <a:pt x="1455" y="792"/>
                  <a:pt x="1455" y="792"/>
                  <a:pt x="1455" y="792"/>
                </a:cubicBezTo>
                <a:cubicBezTo>
                  <a:pt x="1443" y="792"/>
                  <a:pt x="1434" y="802"/>
                  <a:pt x="1434" y="814"/>
                </a:cubicBezTo>
                <a:cubicBezTo>
                  <a:pt x="1434" y="826"/>
                  <a:pt x="1443" y="835"/>
                  <a:pt x="1455" y="835"/>
                </a:cubicBezTo>
                <a:cubicBezTo>
                  <a:pt x="1623" y="835"/>
                  <a:pt x="1623" y="835"/>
                  <a:pt x="1623" y="835"/>
                </a:cubicBezTo>
                <a:cubicBezTo>
                  <a:pt x="1635" y="835"/>
                  <a:pt x="1645" y="826"/>
                  <a:pt x="1645" y="814"/>
                </a:cubicBezTo>
                <a:cubicBezTo>
                  <a:pt x="1645" y="802"/>
                  <a:pt x="1635" y="792"/>
                  <a:pt x="1623" y="792"/>
                </a:cubicBezTo>
                <a:cubicBezTo>
                  <a:pt x="1607" y="792"/>
                  <a:pt x="1607" y="792"/>
                  <a:pt x="1607" y="792"/>
                </a:cubicBezTo>
                <a:cubicBezTo>
                  <a:pt x="1603" y="792"/>
                  <a:pt x="1600" y="789"/>
                  <a:pt x="1600" y="785"/>
                </a:cubicBezTo>
                <a:cubicBezTo>
                  <a:pt x="1600" y="781"/>
                  <a:pt x="1603" y="778"/>
                  <a:pt x="1607" y="778"/>
                </a:cubicBezTo>
                <a:cubicBezTo>
                  <a:pt x="1683" y="778"/>
                  <a:pt x="1683" y="778"/>
                  <a:pt x="1683" y="778"/>
                </a:cubicBezTo>
                <a:cubicBezTo>
                  <a:pt x="1687" y="778"/>
                  <a:pt x="1690" y="781"/>
                  <a:pt x="1690" y="785"/>
                </a:cubicBezTo>
                <a:cubicBezTo>
                  <a:pt x="1690" y="789"/>
                  <a:pt x="1687" y="792"/>
                  <a:pt x="1683" y="792"/>
                </a:cubicBezTo>
                <a:cubicBezTo>
                  <a:pt x="1673" y="792"/>
                  <a:pt x="1673" y="792"/>
                  <a:pt x="1673" y="792"/>
                </a:cubicBezTo>
                <a:cubicBezTo>
                  <a:pt x="1662" y="792"/>
                  <a:pt x="1652" y="802"/>
                  <a:pt x="1652" y="814"/>
                </a:cubicBezTo>
                <a:cubicBezTo>
                  <a:pt x="1652" y="826"/>
                  <a:pt x="1662" y="835"/>
                  <a:pt x="1673" y="835"/>
                </a:cubicBezTo>
                <a:cubicBezTo>
                  <a:pt x="1681" y="835"/>
                  <a:pt x="1681" y="835"/>
                  <a:pt x="1681" y="835"/>
                </a:cubicBezTo>
                <a:cubicBezTo>
                  <a:pt x="1693" y="835"/>
                  <a:pt x="1703" y="845"/>
                  <a:pt x="1703" y="857"/>
                </a:cubicBezTo>
                <a:cubicBezTo>
                  <a:pt x="1703" y="869"/>
                  <a:pt x="1693" y="879"/>
                  <a:pt x="1681" y="879"/>
                </a:cubicBezTo>
                <a:cubicBezTo>
                  <a:pt x="1550" y="879"/>
                  <a:pt x="1550" y="879"/>
                  <a:pt x="1550" y="879"/>
                </a:cubicBezTo>
                <a:cubicBezTo>
                  <a:pt x="1538" y="879"/>
                  <a:pt x="1529" y="889"/>
                  <a:pt x="1529" y="901"/>
                </a:cubicBezTo>
                <a:cubicBezTo>
                  <a:pt x="1529" y="913"/>
                  <a:pt x="1538" y="922"/>
                  <a:pt x="1550" y="922"/>
                </a:cubicBezTo>
                <a:cubicBezTo>
                  <a:pt x="1697" y="922"/>
                  <a:pt x="1697" y="922"/>
                  <a:pt x="1697" y="922"/>
                </a:cubicBezTo>
                <a:cubicBezTo>
                  <a:pt x="1701" y="922"/>
                  <a:pt x="1704" y="925"/>
                  <a:pt x="1704" y="929"/>
                </a:cubicBezTo>
                <a:cubicBezTo>
                  <a:pt x="1704" y="934"/>
                  <a:pt x="1701" y="937"/>
                  <a:pt x="1697" y="937"/>
                </a:cubicBezTo>
                <a:cubicBezTo>
                  <a:pt x="1504" y="937"/>
                  <a:pt x="1504" y="937"/>
                  <a:pt x="1504" y="937"/>
                </a:cubicBezTo>
                <a:cubicBezTo>
                  <a:pt x="1492" y="937"/>
                  <a:pt x="1482" y="946"/>
                  <a:pt x="1482" y="958"/>
                </a:cubicBezTo>
                <a:cubicBezTo>
                  <a:pt x="1482" y="970"/>
                  <a:pt x="1492" y="980"/>
                  <a:pt x="1504" y="980"/>
                </a:cubicBezTo>
                <a:cubicBezTo>
                  <a:pt x="1712" y="980"/>
                  <a:pt x="1712" y="980"/>
                  <a:pt x="1712" y="980"/>
                </a:cubicBezTo>
                <a:cubicBezTo>
                  <a:pt x="1716" y="980"/>
                  <a:pt x="1719" y="983"/>
                  <a:pt x="1719" y="987"/>
                </a:cubicBezTo>
                <a:cubicBezTo>
                  <a:pt x="1719" y="991"/>
                  <a:pt x="1716" y="995"/>
                  <a:pt x="1712" y="995"/>
                </a:cubicBezTo>
                <a:cubicBezTo>
                  <a:pt x="1505" y="995"/>
                  <a:pt x="1505" y="995"/>
                  <a:pt x="1505" y="995"/>
                </a:cubicBezTo>
                <a:cubicBezTo>
                  <a:pt x="1494" y="995"/>
                  <a:pt x="1484" y="1004"/>
                  <a:pt x="1484" y="1016"/>
                </a:cubicBezTo>
                <a:cubicBezTo>
                  <a:pt x="1484" y="1028"/>
                  <a:pt x="1494" y="1038"/>
                  <a:pt x="1505" y="1038"/>
                </a:cubicBezTo>
                <a:cubicBezTo>
                  <a:pt x="1693" y="1038"/>
                  <a:pt x="1693" y="1038"/>
                  <a:pt x="1693" y="1038"/>
                </a:cubicBezTo>
                <a:cubicBezTo>
                  <a:pt x="1697" y="1038"/>
                  <a:pt x="1701" y="1041"/>
                  <a:pt x="1701" y="1045"/>
                </a:cubicBezTo>
                <a:cubicBezTo>
                  <a:pt x="1701" y="1049"/>
                  <a:pt x="1697" y="1052"/>
                  <a:pt x="1693" y="1052"/>
                </a:cubicBezTo>
                <a:cubicBezTo>
                  <a:pt x="1635" y="1052"/>
                  <a:pt x="1635" y="1052"/>
                  <a:pt x="1635" y="1052"/>
                </a:cubicBezTo>
                <a:cubicBezTo>
                  <a:pt x="1623" y="1052"/>
                  <a:pt x="1613" y="1062"/>
                  <a:pt x="1613" y="1074"/>
                </a:cubicBezTo>
                <a:cubicBezTo>
                  <a:pt x="1613" y="1086"/>
                  <a:pt x="1623" y="1096"/>
                  <a:pt x="1635" y="1096"/>
                </a:cubicBezTo>
                <a:cubicBezTo>
                  <a:pt x="1658" y="1096"/>
                  <a:pt x="1658" y="1096"/>
                  <a:pt x="1658" y="1096"/>
                </a:cubicBezTo>
                <a:cubicBezTo>
                  <a:pt x="1662" y="1096"/>
                  <a:pt x="1665" y="1099"/>
                  <a:pt x="1665" y="1103"/>
                </a:cubicBezTo>
                <a:cubicBezTo>
                  <a:pt x="1665" y="1107"/>
                  <a:pt x="1662" y="1110"/>
                  <a:pt x="1658" y="1110"/>
                </a:cubicBezTo>
                <a:cubicBezTo>
                  <a:pt x="1650" y="1110"/>
                  <a:pt x="1650" y="1110"/>
                  <a:pt x="1650" y="1110"/>
                </a:cubicBezTo>
                <a:cubicBezTo>
                  <a:pt x="1630" y="1110"/>
                  <a:pt x="1614" y="1126"/>
                  <a:pt x="1614" y="1146"/>
                </a:cubicBezTo>
                <a:cubicBezTo>
                  <a:pt x="1614" y="1166"/>
                  <a:pt x="1630" y="1182"/>
                  <a:pt x="1650" y="1182"/>
                </a:cubicBezTo>
                <a:cubicBezTo>
                  <a:pt x="1789" y="1182"/>
                  <a:pt x="1789" y="1182"/>
                  <a:pt x="1789" y="1182"/>
                </a:cubicBezTo>
                <a:cubicBezTo>
                  <a:pt x="1801" y="1182"/>
                  <a:pt x="1811" y="1173"/>
                  <a:pt x="1811" y="1161"/>
                </a:cubicBezTo>
                <a:cubicBezTo>
                  <a:pt x="1811" y="1149"/>
                  <a:pt x="1801" y="1139"/>
                  <a:pt x="1789" y="1139"/>
                </a:cubicBezTo>
                <a:cubicBezTo>
                  <a:pt x="1766" y="1139"/>
                  <a:pt x="1766" y="1139"/>
                  <a:pt x="1766" y="1139"/>
                </a:cubicBezTo>
                <a:cubicBezTo>
                  <a:pt x="1762" y="1139"/>
                  <a:pt x="1759" y="1136"/>
                  <a:pt x="1759" y="1132"/>
                </a:cubicBezTo>
                <a:cubicBezTo>
                  <a:pt x="1759" y="1128"/>
                  <a:pt x="1762" y="1125"/>
                  <a:pt x="1766" y="1125"/>
                </a:cubicBezTo>
                <a:cubicBezTo>
                  <a:pt x="1824" y="1125"/>
                  <a:pt x="1824" y="1125"/>
                  <a:pt x="1824" y="1125"/>
                </a:cubicBezTo>
                <a:cubicBezTo>
                  <a:pt x="1836" y="1125"/>
                  <a:pt x="1846" y="1115"/>
                  <a:pt x="1846" y="1103"/>
                </a:cubicBezTo>
                <a:cubicBezTo>
                  <a:pt x="1846" y="1091"/>
                  <a:pt x="1836" y="1081"/>
                  <a:pt x="1824" y="1081"/>
                </a:cubicBezTo>
                <a:cubicBezTo>
                  <a:pt x="1797" y="1081"/>
                  <a:pt x="1797" y="1081"/>
                  <a:pt x="1797" y="1081"/>
                </a:cubicBezTo>
                <a:cubicBezTo>
                  <a:pt x="1793" y="1081"/>
                  <a:pt x="1790" y="1078"/>
                  <a:pt x="1790" y="1074"/>
                </a:cubicBezTo>
                <a:cubicBezTo>
                  <a:pt x="1790" y="1070"/>
                  <a:pt x="1793" y="1067"/>
                  <a:pt x="1797" y="1067"/>
                </a:cubicBezTo>
                <a:cubicBezTo>
                  <a:pt x="1843" y="1067"/>
                  <a:pt x="1843" y="1067"/>
                  <a:pt x="1843" y="1067"/>
                </a:cubicBezTo>
                <a:cubicBezTo>
                  <a:pt x="1855" y="1067"/>
                  <a:pt x="1864" y="1057"/>
                  <a:pt x="1864" y="1045"/>
                </a:cubicBezTo>
                <a:cubicBezTo>
                  <a:pt x="1864" y="1033"/>
                  <a:pt x="1855" y="1024"/>
                  <a:pt x="1843" y="1024"/>
                </a:cubicBezTo>
                <a:cubicBezTo>
                  <a:pt x="1791" y="1023"/>
                  <a:pt x="1791" y="1023"/>
                  <a:pt x="1791" y="1023"/>
                </a:cubicBezTo>
                <a:cubicBezTo>
                  <a:pt x="1787" y="1023"/>
                  <a:pt x="1784" y="1020"/>
                  <a:pt x="1784" y="1016"/>
                </a:cubicBezTo>
                <a:cubicBezTo>
                  <a:pt x="1784" y="1012"/>
                  <a:pt x="1787" y="1009"/>
                  <a:pt x="1791" y="1009"/>
                </a:cubicBezTo>
                <a:cubicBezTo>
                  <a:pt x="1876" y="1009"/>
                  <a:pt x="1876" y="1009"/>
                  <a:pt x="1876" y="1009"/>
                </a:cubicBezTo>
                <a:cubicBezTo>
                  <a:pt x="1945" y="1009"/>
                  <a:pt x="2002" y="955"/>
                  <a:pt x="2008" y="887"/>
                </a:cubicBezTo>
                <a:cubicBezTo>
                  <a:pt x="2015" y="884"/>
                  <a:pt x="2020" y="878"/>
                  <a:pt x="2020" y="870"/>
                </a:cubicBezTo>
                <a:cubicBezTo>
                  <a:pt x="2020" y="860"/>
                  <a:pt x="2011" y="851"/>
                  <a:pt x="2001" y="851"/>
                </a:cubicBezTo>
                <a:close/>
                <a:moveTo>
                  <a:pt x="868" y="358"/>
                </a:moveTo>
                <a:cubicBezTo>
                  <a:pt x="766" y="358"/>
                  <a:pt x="766" y="358"/>
                  <a:pt x="766" y="358"/>
                </a:cubicBezTo>
                <a:cubicBezTo>
                  <a:pt x="754" y="358"/>
                  <a:pt x="744" y="368"/>
                  <a:pt x="744" y="380"/>
                </a:cubicBezTo>
                <a:cubicBezTo>
                  <a:pt x="744" y="392"/>
                  <a:pt x="754" y="402"/>
                  <a:pt x="766" y="402"/>
                </a:cubicBezTo>
                <a:cubicBezTo>
                  <a:pt x="804" y="402"/>
                  <a:pt x="804" y="402"/>
                  <a:pt x="804" y="402"/>
                </a:cubicBezTo>
                <a:cubicBezTo>
                  <a:pt x="809" y="402"/>
                  <a:pt x="812" y="405"/>
                  <a:pt x="812" y="409"/>
                </a:cubicBezTo>
                <a:cubicBezTo>
                  <a:pt x="812" y="413"/>
                  <a:pt x="809" y="416"/>
                  <a:pt x="804" y="416"/>
                </a:cubicBezTo>
                <a:cubicBezTo>
                  <a:pt x="768" y="416"/>
                  <a:pt x="768" y="416"/>
                  <a:pt x="768" y="416"/>
                </a:cubicBezTo>
                <a:cubicBezTo>
                  <a:pt x="756" y="416"/>
                  <a:pt x="747" y="426"/>
                  <a:pt x="747" y="438"/>
                </a:cubicBezTo>
                <a:cubicBezTo>
                  <a:pt x="747" y="450"/>
                  <a:pt x="756" y="459"/>
                  <a:pt x="768" y="459"/>
                </a:cubicBezTo>
                <a:cubicBezTo>
                  <a:pt x="969" y="459"/>
                  <a:pt x="969" y="459"/>
                  <a:pt x="969" y="459"/>
                </a:cubicBezTo>
                <a:cubicBezTo>
                  <a:pt x="973" y="459"/>
                  <a:pt x="977" y="463"/>
                  <a:pt x="977" y="467"/>
                </a:cubicBezTo>
                <a:cubicBezTo>
                  <a:pt x="977" y="471"/>
                  <a:pt x="973" y="474"/>
                  <a:pt x="969" y="474"/>
                </a:cubicBezTo>
                <a:cubicBezTo>
                  <a:pt x="846" y="474"/>
                  <a:pt x="846" y="474"/>
                  <a:pt x="846" y="474"/>
                </a:cubicBezTo>
                <a:cubicBezTo>
                  <a:pt x="834" y="474"/>
                  <a:pt x="824" y="484"/>
                  <a:pt x="824" y="496"/>
                </a:cubicBezTo>
                <a:cubicBezTo>
                  <a:pt x="824" y="507"/>
                  <a:pt x="834" y="517"/>
                  <a:pt x="846" y="517"/>
                </a:cubicBezTo>
                <a:cubicBezTo>
                  <a:pt x="972" y="517"/>
                  <a:pt x="972" y="517"/>
                  <a:pt x="972" y="517"/>
                </a:cubicBezTo>
                <a:cubicBezTo>
                  <a:pt x="976" y="517"/>
                  <a:pt x="979" y="520"/>
                  <a:pt x="979" y="524"/>
                </a:cubicBezTo>
                <a:cubicBezTo>
                  <a:pt x="979" y="529"/>
                  <a:pt x="976" y="532"/>
                  <a:pt x="972" y="532"/>
                </a:cubicBezTo>
                <a:cubicBezTo>
                  <a:pt x="805" y="532"/>
                  <a:pt x="805" y="532"/>
                  <a:pt x="805" y="532"/>
                </a:cubicBezTo>
                <a:cubicBezTo>
                  <a:pt x="793" y="532"/>
                  <a:pt x="783" y="541"/>
                  <a:pt x="783" y="553"/>
                </a:cubicBezTo>
                <a:cubicBezTo>
                  <a:pt x="783" y="565"/>
                  <a:pt x="793" y="575"/>
                  <a:pt x="805" y="575"/>
                </a:cubicBezTo>
                <a:cubicBezTo>
                  <a:pt x="860" y="575"/>
                  <a:pt x="860" y="575"/>
                  <a:pt x="860" y="575"/>
                </a:cubicBezTo>
                <a:cubicBezTo>
                  <a:pt x="864" y="575"/>
                  <a:pt x="867" y="578"/>
                  <a:pt x="867" y="582"/>
                </a:cubicBezTo>
                <a:cubicBezTo>
                  <a:pt x="867" y="586"/>
                  <a:pt x="864" y="590"/>
                  <a:pt x="860" y="590"/>
                </a:cubicBezTo>
                <a:cubicBezTo>
                  <a:pt x="805" y="590"/>
                  <a:pt x="805" y="590"/>
                  <a:pt x="805" y="590"/>
                </a:cubicBezTo>
                <a:cubicBezTo>
                  <a:pt x="793" y="590"/>
                  <a:pt x="783" y="599"/>
                  <a:pt x="783" y="611"/>
                </a:cubicBezTo>
                <a:cubicBezTo>
                  <a:pt x="783" y="623"/>
                  <a:pt x="793" y="633"/>
                  <a:pt x="805" y="633"/>
                </a:cubicBezTo>
                <a:cubicBezTo>
                  <a:pt x="1011" y="633"/>
                  <a:pt x="1011" y="633"/>
                  <a:pt x="1011" y="633"/>
                </a:cubicBezTo>
                <a:cubicBezTo>
                  <a:pt x="1015" y="633"/>
                  <a:pt x="1018" y="636"/>
                  <a:pt x="1018" y="640"/>
                </a:cubicBezTo>
                <a:cubicBezTo>
                  <a:pt x="1018" y="644"/>
                  <a:pt x="1015" y="647"/>
                  <a:pt x="1011" y="647"/>
                </a:cubicBezTo>
                <a:cubicBezTo>
                  <a:pt x="763" y="647"/>
                  <a:pt x="763" y="647"/>
                  <a:pt x="763" y="647"/>
                </a:cubicBezTo>
                <a:cubicBezTo>
                  <a:pt x="751" y="647"/>
                  <a:pt x="741" y="657"/>
                  <a:pt x="741" y="669"/>
                </a:cubicBezTo>
                <a:cubicBezTo>
                  <a:pt x="741" y="681"/>
                  <a:pt x="751" y="691"/>
                  <a:pt x="763" y="691"/>
                </a:cubicBezTo>
                <a:cubicBezTo>
                  <a:pt x="1046" y="691"/>
                  <a:pt x="1046" y="691"/>
                  <a:pt x="1046" y="691"/>
                </a:cubicBezTo>
                <a:cubicBezTo>
                  <a:pt x="1050" y="691"/>
                  <a:pt x="1054" y="694"/>
                  <a:pt x="1054" y="698"/>
                </a:cubicBezTo>
                <a:cubicBezTo>
                  <a:pt x="1054" y="702"/>
                  <a:pt x="1050" y="705"/>
                  <a:pt x="1046" y="705"/>
                </a:cubicBezTo>
                <a:cubicBezTo>
                  <a:pt x="791" y="705"/>
                  <a:pt x="791" y="705"/>
                  <a:pt x="791" y="705"/>
                </a:cubicBezTo>
                <a:cubicBezTo>
                  <a:pt x="779" y="705"/>
                  <a:pt x="770" y="715"/>
                  <a:pt x="770" y="727"/>
                </a:cubicBezTo>
                <a:cubicBezTo>
                  <a:pt x="770" y="739"/>
                  <a:pt x="779" y="748"/>
                  <a:pt x="791" y="748"/>
                </a:cubicBezTo>
                <a:cubicBezTo>
                  <a:pt x="1104" y="748"/>
                  <a:pt x="1104" y="748"/>
                  <a:pt x="1104" y="748"/>
                </a:cubicBezTo>
                <a:cubicBezTo>
                  <a:pt x="1108" y="748"/>
                  <a:pt x="1111" y="752"/>
                  <a:pt x="1111" y="756"/>
                </a:cubicBezTo>
                <a:cubicBezTo>
                  <a:pt x="1111" y="760"/>
                  <a:pt x="1108" y="763"/>
                  <a:pt x="1104" y="763"/>
                </a:cubicBezTo>
                <a:cubicBezTo>
                  <a:pt x="905" y="763"/>
                  <a:pt x="905" y="763"/>
                  <a:pt x="905" y="763"/>
                </a:cubicBezTo>
                <a:cubicBezTo>
                  <a:pt x="893" y="763"/>
                  <a:pt x="883" y="773"/>
                  <a:pt x="883" y="785"/>
                </a:cubicBezTo>
                <a:cubicBezTo>
                  <a:pt x="883" y="797"/>
                  <a:pt x="893" y="806"/>
                  <a:pt x="905" y="806"/>
                </a:cubicBezTo>
                <a:cubicBezTo>
                  <a:pt x="1049" y="806"/>
                  <a:pt x="1049" y="806"/>
                  <a:pt x="1049" y="806"/>
                </a:cubicBezTo>
                <a:cubicBezTo>
                  <a:pt x="1053" y="806"/>
                  <a:pt x="1057" y="810"/>
                  <a:pt x="1057" y="814"/>
                </a:cubicBezTo>
                <a:cubicBezTo>
                  <a:pt x="1057" y="818"/>
                  <a:pt x="1053" y="821"/>
                  <a:pt x="1049" y="821"/>
                </a:cubicBezTo>
                <a:cubicBezTo>
                  <a:pt x="914" y="821"/>
                  <a:pt x="914" y="821"/>
                  <a:pt x="914" y="821"/>
                </a:cubicBezTo>
                <a:cubicBezTo>
                  <a:pt x="902" y="821"/>
                  <a:pt x="892" y="831"/>
                  <a:pt x="892" y="842"/>
                </a:cubicBezTo>
                <a:cubicBezTo>
                  <a:pt x="892" y="854"/>
                  <a:pt x="902" y="864"/>
                  <a:pt x="914" y="864"/>
                </a:cubicBezTo>
                <a:cubicBezTo>
                  <a:pt x="1053" y="864"/>
                  <a:pt x="1053" y="864"/>
                  <a:pt x="1053" y="864"/>
                </a:cubicBezTo>
                <a:cubicBezTo>
                  <a:pt x="1057" y="864"/>
                  <a:pt x="1061" y="867"/>
                  <a:pt x="1061" y="871"/>
                </a:cubicBezTo>
                <a:cubicBezTo>
                  <a:pt x="1061" y="875"/>
                  <a:pt x="1057" y="879"/>
                  <a:pt x="1053" y="879"/>
                </a:cubicBezTo>
                <a:cubicBezTo>
                  <a:pt x="919" y="879"/>
                  <a:pt x="919" y="879"/>
                  <a:pt x="919" y="879"/>
                </a:cubicBezTo>
                <a:cubicBezTo>
                  <a:pt x="907" y="879"/>
                  <a:pt x="898" y="888"/>
                  <a:pt x="898" y="900"/>
                </a:cubicBezTo>
                <a:cubicBezTo>
                  <a:pt x="898" y="912"/>
                  <a:pt x="907" y="922"/>
                  <a:pt x="919" y="922"/>
                </a:cubicBezTo>
                <a:cubicBezTo>
                  <a:pt x="1017" y="922"/>
                  <a:pt x="1017" y="922"/>
                  <a:pt x="1017" y="922"/>
                </a:cubicBezTo>
                <a:cubicBezTo>
                  <a:pt x="1021" y="922"/>
                  <a:pt x="1024" y="925"/>
                  <a:pt x="1024" y="929"/>
                </a:cubicBezTo>
                <a:cubicBezTo>
                  <a:pt x="1024" y="933"/>
                  <a:pt x="1021" y="936"/>
                  <a:pt x="1017" y="936"/>
                </a:cubicBezTo>
                <a:cubicBezTo>
                  <a:pt x="941" y="936"/>
                  <a:pt x="941" y="936"/>
                  <a:pt x="941" y="936"/>
                </a:cubicBezTo>
                <a:cubicBezTo>
                  <a:pt x="929" y="936"/>
                  <a:pt x="919" y="946"/>
                  <a:pt x="919" y="958"/>
                </a:cubicBezTo>
                <a:cubicBezTo>
                  <a:pt x="919" y="970"/>
                  <a:pt x="929" y="980"/>
                  <a:pt x="941" y="980"/>
                </a:cubicBezTo>
                <a:cubicBezTo>
                  <a:pt x="979" y="980"/>
                  <a:pt x="979" y="980"/>
                  <a:pt x="979" y="980"/>
                </a:cubicBezTo>
                <a:cubicBezTo>
                  <a:pt x="983" y="980"/>
                  <a:pt x="986" y="983"/>
                  <a:pt x="986" y="987"/>
                </a:cubicBezTo>
                <a:cubicBezTo>
                  <a:pt x="986" y="991"/>
                  <a:pt x="983" y="994"/>
                  <a:pt x="979" y="994"/>
                </a:cubicBezTo>
                <a:cubicBezTo>
                  <a:pt x="976" y="994"/>
                  <a:pt x="976" y="994"/>
                  <a:pt x="976" y="994"/>
                </a:cubicBezTo>
                <a:cubicBezTo>
                  <a:pt x="956" y="994"/>
                  <a:pt x="940" y="1010"/>
                  <a:pt x="940" y="1030"/>
                </a:cubicBezTo>
                <a:cubicBezTo>
                  <a:pt x="940" y="1050"/>
                  <a:pt x="956" y="1066"/>
                  <a:pt x="976" y="1066"/>
                </a:cubicBezTo>
                <a:cubicBezTo>
                  <a:pt x="1017" y="1066"/>
                  <a:pt x="1017" y="1066"/>
                  <a:pt x="1017" y="1066"/>
                </a:cubicBezTo>
                <a:cubicBezTo>
                  <a:pt x="1029" y="1066"/>
                  <a:pt x="1039" y="1076"/>
                  <a:pt x="1039" y="1088"/>
                </a:cubicBezTo>
                <a:cubicBezTo>
                  <a:pt x="1039" y="1100"/>
                  <a:pt x="1029" y="1110"/>
                  <a:pt x="1017" y="1110"/>
                </a:cubicBezTo>
                <a:cubicBezTo>
                  <a:pt x="443" y="1110"/>
                  <a:pt x="443" y="1110"/>
                  <a:pt x="443" y="1110"/>
                </a:cubicBezTo>
                <a:cubicBezTo>
                  <a:pt x="439" y="1110"/>
                  <a:pt x="436" y="1107"/>
                  <a:pt x="436" y="1103"/>
                </a:cubicBezTo>
                <a:cubicBezTo>
                  <a:pt x="436" y="1099"/>
                  <a:pt x="439" y="1095"/>
                  <a:pt x="443" y="1095"/>
                </a:cubicBezTo>
                <a:cubicBezTo>
                  <a:pt x="472" y="1095"/>
                  <a:pt x="472" y="1095"/>
                  <a:pt x="472" y="1095"/>
                </a:cubicBezTo>
                <a:cubicBezTo>
                  <a:pt x="484" y="1095"/>
                  <a:pt x="493" y="1086"/>
                  <a:pt x="493" y="1074"/>
                </a:cubicBezTo>
                <a:cubicBezTo>
                  <a:pt x="493" y="1062"/>
                  <a:pt x="484" y="1052"/>
                  <a:pt x="472" y="1052"/>
                </a:cubicBezTo>
                <a:cubicBezTo>
                  <a:pt x="443" y="1052"/>
                  <a:pt x="443" y="1052"/>
                  <a:pt x="443" y="1052"/>
                </a:cubicBezTo>
                <a:cubicBezTo>
                  <a:pt x="439" y="1052"/>
                  <a:pt x="436" y="1049"/>
                  <a:pt x="436" y="1045"/>
                </a:cubicBezTo>
                <a:cubicBezTo>
                  <a:pt x="436" y="1041"/>
                  <a:pt x="439" y="1037"/>
                  <a:pt x="443" y="1037"/>
                </a:cubicBezTo>
                <a:cubicBezTo>
                  <a:pt x="495" y="1037"/>
                  <a:pt x="495" y="1037"/>
                  <a:pt x="495" y="1037"/>
                </a:cubicBezTo>
                <a:cubicBezTo>
                  <a:pt x="507" y="1037"/>
                  <a:pt x="517" y="1028"/>
                  <a:pt x="517" y="1016"/>
                </a:cubicBezTo>
                <a:cubicBezTo>
                  <a:pt x="517" y="1004"/>
                  <a:pt x="507" y="994"/>
                  <a:pt x="495" y="994"/>
                </a:cubicBezTo>
                <a:cubicBezTo>
                  <a:pt x="438" y="994"/>
                  <a:pt x="438" y="994"/>
                  <a:pt x="438" y="994"/>
                </a:cubicBezTo>
                <a:cubicBezTo>
                  <a:pt x="434" y="994"/>
                  <a:pt x="431" y="991"/>
                  <a:pt x="431" y="987"/>
                </a:cubicBezTo>
                <a:cubicBezTo>
                  <a:pt x="431" y="983"/>
                  <a:pt x="434" y="980"/>
                  <a:pt x="438" y="980"/>
                </a:cubicBezTo>
                <a:cubicBezTo>
                  <a:pt x="551" y="980"/>
                  <a:pt x="551" y="980"/>
                  <a:pt x="551" y="980"/>
                </a:cubicBezTo>
                <a:cubicBezTo>
                  <a:pt x="563" y="980"/>
                  <a:pt x="572" y="970"/>
                  <a:pt x="572" y="958"/>
                </a:cubicBezTo>
                <a:cubicBezTo>
                  <a:pt x="572" y="946"/>
                  <a:pt x="563" y="936"/>
                  <a:pt x="551" y="936"/>
                </a:cubicBezTo>
                <a:cubicBezTo>
                  <a:pt x="446" y="936"/>
                  <a:pt x="446" y="936"/>
                  <a:pt x="446" y="936"/>
                </a:cubicBezTo>
                <a:cubicBezTo>
                  <a:pt x="442" y="936"/>
                  <a:pt x="439" y="933"/>
                  <a:pt x="439" y="929"/>
                </a:cubicBezTo>
                <a:cubicBezTo>
                  <a:pt x="439" y="925"/>
                  <a:pt x="442" y="922"/>
                  <a:pt x="446" y="922"/>
                </a:cubicBezTo>
                <a:cubicBezTo>
                  <a:pt x="593" y="922"/>
                  <a:pt x="593" y="922"/>
                  <a:pt x="593" y="922"/>
                </a:cubicBezTo>
                <a:cubicBezTo>
                  <a:pt x="605" y="922"/>
                  <a:pt x="614" y="912"/>
                  <a:pt x="614" y="900"/>
                </a:cubicBezTo>
                <a:cubicBezTo>
                  <a:pt x="614" y="888"/>
                  <a:pt x="605" y="879"/>
                  <a:pt x="593" y="879"/>
                </a:cubicBezTo>
                <a:cubicBezTo>
                  <a:pt x="417" y="879"/>
                  <a:pt x="417" y="879"/>
                  <a:pt x="417" y="879"/>
                </a:cubicBezTo>
                <a:cubicBezTo>
                  <a:pt x="413" y="879"/>
                  <a:pt x="410" y="875"/>
                  <a:pt x="410" y="871"/>
                </a:cubicBezTo>
                <a:cubicBezTo>
                  <a:pt x="410" y="867"/>
                  <a:pt x="413" y="864"/>
                  <a:pt x="417" y="864"/>
                </a:cubicBezTo>
                <a:cubicBezTo>
                  <a:pt x="607" y="864"/>
                  <a:pt x="607" y="864"/>
                  <a:pt x="607" y="864"/>
                </a:cubicBezTo>
                <a:cubicBezTo>
                  <a:pt x="619" y="864"/>
                  <a:pt x="629" y="854"/>
                  <a:pt x="629" y="842"/>
                </a:cubicBezTo>
                <a:cubicBezTo>
                  <a:pt x="629" y="831"/>
                  <a:pt x="619" y="821"/>
                  <a:pt x="607" y="821"/>
                </a:cubicBezTo>
                <a:cubicBezTo>
                  <a:pt x="377" y="821"/>
                  <a:pt x="377" y="821"/>
                  <a:pt x="377" y="821"/>
                </a:cubicBezTo>
                <a:cubicBezTo>
                  <a:pt x="373" y="821"/>
                  <a:pt x="370" y="818"/>
                  <a:pt x="370" y="814"/>
                </a:cubicBezTo>
                <a:cubicBezTo>
                  <a:pt x="370" y="810"/>
                  <a:pt x="373" y="806"/>
                  <a:pt x="377" y="806"/>
                </a:cubicBezTo>
                <a:cubicBezTo>
                  <a:pt x="529" y="806"/>
                  <a:pt x="529" y="806"/>
                  <a:pt x="529" y="806"/>
                </a:cubicBezTo>
                <a:cubicBezTo>
                  <a:pt x="541" y="806"/>
                  <a:pt x="551" y="797"/>
                  <a:pt x="551" y="785"/>
                </a:cubicBezTo>
                <a:cubicBezTo>
                  <a:pt x="551" y="773"/>
                  <a:pt x="541" y="763"/>
                  <a:pt x="529" y="763"/>
                </a:cubicBezTo>
                <a:cubicBezTo>
                  <a:pt x="337" y="763"/>
                  <a:pt x="337" y="763"/>
                  <a:pt x="337" y="763"/>
                </a:cubicBezTo>
                <a:cubicBezTo>
                  <a:pt x="333" y="763"/>
                  <a:pt x="330" y="760"/>
                  <a:pt x="330" y="756"/>
                </a:cubicBezTo>
                <a:cubicBezTo>
                  <a:pt x="330" y="752"/>
                  <a:pt x="333" y="748"/>
                  <a:pt x="337" y="748"/>
                </a:cubicBezTo>
                <a:cubicBezTo>
                  <a:pt x="353" y="748"/>
                  <a:pt x="353" y="748"/>
                  <a:pt x="353" y="748"/>
                </a:cubicBezTo>
                <a:cubicBezTo>
                  <a:pt x="365" y="748"/>
                  <a:pt x="375" y="739"/>
                  <a:pt x="375" y="727"/>
                </a:cubicBezTo>
                <a:cubicBezTo>
                  <a:pt x="375" y="715"/>
                  <a:pt x="365" y="705"/>
                  <a:pt x="353" y="705"/>
                </a:cubicBezTo>
                <a:cubicBezTo>
                  <a:pt x="273" y="705"/>
                  <a:pt x="273" y="705"/>
                  <a:pt x="273" y="705"/>
                </a:cubicBezTo>
                <a:cubicBezTo>
                  <a:pt x="269" y="705"/>
                  <a:pt x="266" y="702"/>
                  <a:pt x="266" y="698"/>
                </a:cubicBezTo>
                <a:cubicBezTo>
                  <a:pt x="266" y="694"/>
                  <a:pt x="269" y="691"/>
                  <a:pt x="273" y="691"/>
                </a:cubicBezTo>
                <a:cubicBezTo>
                  <a:pt x="276" y="691"/>
                  <a:pt x="276" y="691"/>
                  <a:pt x="276" y="691"/>
                </a:cubicBezTo>
                <a:cubicBezTo>
                  <a:pt x="288" y="691"/>
                  <a:pt x="297" y="681"/>
                  <a:pt x="297" y="669"/>
                </a:cubicBezTo>
                <a:cubicBezTo>
                  <a:pt x="297" y="657"/>
                  <a:pt x="288" y="647"/>
                  <a:pt x="276" y="647"/>
                </a:cubicBezTo>
                <a:cubicBezTo>
                  <a:pt x="236" y="647"/>
                  <a:pt x="236" y="647"/>
                  <a:pt x="236" y="647"/>
                </a:cubicBezTo>
                <a:cubicBezTo>
                  <a:pt x="232" y="647"/>
                  <a:pt x="229" y="644"/>
                  <a:pt x="229" y="640"/>
                </a:cubicBezTo>
                <a:cubicBezTo>
                  <a:pt x="229" y="636"/>
                  <a:pt x="232" y="633"/>
                  <a:pt x="236" y="633"/>
                </a:cubicBezTo>
                <a:cubicBezTo>
                  <a:pt x="266" y="633"/>
                  <a:pt x="266" y="633"/>
                  <a:pt x="266" y="633"/>
                </a:cubicBezTo>
                <a:cubicBezTo>
                  <a:pt x="278" y="633"/>
                  <a:pt x="288" y="623"/>
                  <a:pt x="288" y="611"/>
                </a:cubicBezTo>
                <a:cubicBezTo>
                  <a:pt x="288" y="599"/>
                  <a:pt x="278" y="590"/>
                  <a:pt x="266" y="590"/>
                </a:cubicBezTo>
                <a:cubicBezTo>
                  <a:pt x="190" y="590"/>
                  <a:pt x="190" y="590"/>
                  <a:pt x="190" y="590"/>
                </a:cubicBezTo>
                <a:cubicBezTo>
                  <a:pt x="186" y="590"/>
                  <a:pt x="182" y="586"/>
                  <a:pt x="182" y="582"/>
                </a:cubicBezTo>
                <a:cubicBezTo>
                  <a:pt x="182" y="578"/>
                  <a:pt x="186" y="575"/>
                  <a:pt x="190" y="575"/>
                </a:cubicBezTo>
                <a:cubicBezTo>
                  <a:pt x="381" y="575"/>
                  <a:pt x="381" y="575"/>
                  <a:pt x="381" y="575"/>
                </a:cubicBezTo>
                <a:cubicBezTo>
                  <a:pt x="393" y="575"/>
                  <a:pt x="402" y="565"/>
                  <a:pt x="402" y="553"/>
                </a:cubicBezTo>
                <a:cubicBezTo>
                  <a:pt x="402" y="541"/>
                  <a:pt x="393" y="532"/>
                  <a:pt x="381" y="532"/>
                </a:cubicBezTo>
                <a:cubicBezTo>
                  <a:pt x="162" y="532"/>
                  <a:pt x="162" y="532"/>
                  <a:pt x="162" y="532"/>
                </a:cubicBezTo>
                <a:cubicBezTo>
                  <a:pt x="158" y="532"/>
                  <a:pt x="154" y="529"/>
                  <a:pt x="154" y="524"/>
                </a:cubicBezTo>
                <a:cubicBezTo>
                  <a:pt x="154" y="520"/>
                  <a:pt x="158" y="517"/>
                  <a:pt x="162" y="517"/>
                </a:cubicBezTo>
                <a:cubicBezTo>
                  <a:pt x="433" y="517"/>
                  <a:pt x="433" y="517"/>
                  <a:pt x="433" y="517"/>
                </a:cubicBezTo>
                <a:cubicBezTo>
                  <a:pt x="445" y="517"/>
                  <a:pt x="454" y="507"/>
                  <a:pt x="454" y="496"/>
                </a:cubicBezTo>
                <a:cubicBezTo>
                  <a:pt x="454" y="484"/>
                  <a:pt x="445" y="474"/>
                  <a:pt x="433" y="474"/>
                </a:cubicBezTo>
                <a:cubicBezTo>
                  <a:pt x="180" y="474"/>
                  <a:pt x="180" y="474"/>
                  <a:pt x="180" y="474"/>
                </a:cubicBezTo>
                <a:cubicBezTo>
                  <a:pt x="176" y="474"/>
                  <a:pt x="173" y="471"/>
                  <a:pt x="173" y="467"/>
                </a:cubicBezTo>
                <a:cubicBezTo>
                  <a:pt x="173" y="463"/>
                  <a:pt x="176" y="459"/>
                  <a:pt x="180" y="459"/>
                </a:cubicBezTo>
                <a:cubicBezTo>
                  <a:pt x="518" y="459"/>
                  <a:pt x="518" y="459"/>
                  <a:pt x="518" y="459"/>
                </a:cubicBezTo>
                <a:cubicBezTo>
                  <a:pt x="530" y="459"/>
                  <a:pt x="540" y="450"/>
                  <a:pt x="540" y="438"/>
                </a:cubicBezTo>
                <a:cubicBezTo>
                  <a:pt x="540" y="426"/>
                  <a:pt x="530" y="416"/>
                  <a:pt x="518" y="416"/>
                </a:cubicBezTo>
                <a:cubicBezTo>
                  <a:pt x="164" y="416"/>
                  <a:pt x="164" y="416"/>
                  <a:pt x="164" y="416"/>
                </a:cubicBezTo>
                <a:cubicBezTo>
                  <a:pt x="160" y="416"/>
                  <a:pt x="156" y="413"/>
                  <a:pt x="156" y="409"/>
                </a:cubicBezTo>
                <a:cubicBezTo>
                  <a:pt x="156" y="405"/>
                  <a:pt x="160" y="402"/>
                  <a:pt x="164" y="402"/>
                </a:cubicBezTo>
                <a:cubicBezTo>
                  <a:pt x="522" y="402"/>
                  <a:pt x="522" y="402"/>
                  <a:pt x="522" y="402"/>
                </a:cubicBezTo>
                <a:cubicBezTo>
                  <a:pt x="534" y="402"/>
                  <a:pt x="544" y="392"/>
                  <a:pt x="544" y="380"/>
                </a:cubicBezTo>
                <a:cubicBezTo>
                  <a:pt x="544" y="378"/>
                  <a:pt x="543" y="375"/>
                  <a:pt x="543" y="373"/>
                </a:cubicBezTo>
                <a:cubicBezTo>
                  <a:pt x="625" y="373"/>
                  <a:pt x="625" y="373"/>
                  <a:pt x="625" y="373"/>
                </a:cubicBezTo>
                <a:cubicBezTo>
                  <a:pt x="636" y="373"/>
                  <a:pt x="646" y="363"/>
                  <a:pt x="646" y="351"/>
                </a:cubicBezTo>
                <a:cubicBezTo>
                  <a:pt x="646" y="339"/>
                  <a:pt x="636" y="330"/>
                  <a:pt x="625" y="330"/>
                </a:cubicBezTo>
                <a:cubicBezTo>
                  <a:pt x="601" y="330"/>
                  <a:pt x="601" y="330"/>
                  <a:pt x="601" y="330"/>
                </a:cubicBezTo>
                <a:cubicBezTo>
                  <a:pt x="597" y="330"/>
                  <a:pt x="594" y="326"/>
                  <a:pt x="594" y="322"/>
                </a:cubicBezTo>
                <a:cubicBezTo>
                  <a:pt x="594" y="318"/>
                  <a:pt x="597" y="315"/>
                  <a:pt x="601" y="315"/>
                </a:cubicBezTo>
                <a:cubicBezTo>
                  <a:pt x="721" y="315"/>
                  <a:pt x="721" y="315"/>
                  <a:pt x="721" y="315"/>
                </a:cubicBezTo>
                <a:cubicBezTo>
                  <a:pt x="733" y="315"/>
                  <a:pt x="743" y="305"/>
                  <a:pt x="743" y="294"/>
                </a:cubicBezTo>
                <a:cubicBezTo>
                  <a:pt x="743" y="282"/>
                  <a:pt x="733" y="272"/>
                  <a:pt x="721" y="272"/>
                </a:cubicBezTo>
                <a:cubicBezTo>
                  <a:pt x="600" y="272"/>
                  <a:pt x="600" y="272"/>
                  <a:pt x="600" y="272"/>
                </a:cubicBezTo>
                <a:cubicBezTo>
                  <a:pt x="596" y="272"/>
                  <a:pt x="593" y="269"/>
                  <a:pt x="593" y="265"/>
                </a:cubicBezTo>
                <a:cubicBezTo>
                  <a:pt x="593" y="261"/>
                  <a:pt x="596" y="257"/>
                  <a:pt x="600" y="257"/>
                </a:cubicBezTo>
                <a:cubicBezTo>
                  <a:pt x="734" y="257"/>
                  <a:pt x="734" y="257"/>
                  <a:pt x="734" y="257"/>
                </a:cubicBezTo>
                <a:cubicBezTo>
                  <a:pt x="746" y="257"/>
                  <a:pt x="756" y="248"/>
                  <a:pt x="756" y="236"/>
                </a:cubicBezTo>
                <a:cubicBezTo>
                  <a:pt x="756" y="224"/>
                  <a:pt x="746" y="214"/>
                  <a:pt x="734" y="214"/>
                </a:cubicBezTo>
                <a:cubicBezTo>
                  <a:pt x="581" y="214"/>
                  <a:pt x="581" y="214"/>
                  <a:pt x="581" y="214"/>
                </a:cubicBezTo>
                <a:cubicBezTo>
                  <a:pt x="577" y="214"/>
                  <a:pt x="573" y="211"/>
                  <a:pt x="573" y="207"/>
                </a:cubicBezTo>
                <a:cubicBezTo>
                  <a:pt x="573" y="203"/>
                  <a:pt x="577" y="200"/>
                  <a:pt x="581" y="200"/>
                </a:cubicBezTo>
                <a:cubicBezTo>
                  <a:pt x="749" y="200"/>
                  <a:pt x="749" y="200"/>
                  <a:pt x="749" y="200"/>
                </a:cubicBezTo>
                <a:cubicBezTo>
                  <a:pt x="760" y="200"/>
                  <a:pt x="770" y="190"/>
                  <a:pt x="770" y="178"/>
                </a:cubicBezTo>
                <a:cubicBezTo>
                  <a:pt x="770" y="166"/>
                  <a:pt x="760" y="156"/>
                  <a:pt x="749" y="156"/>
                </a:cubicBezTo>
                <a:cubicBezTo>
                  <a:pt x="561" y="156"/>
                  <a:pt x="561" y="156"/>
                  <a:pt x="561" y="156"/>
                </a:cubicBezTo>
                <a:cubicBezTo>
                  <a:pt x="557" y="156"/>
                  <a:pt x="554" y="153"/>
                  <a:pt x="554" y="149"/>
                </a:cubicBezTo>
                <a:cubicBezTo>
                  <a:pt x="554" y="145"/>
                  <a:pt x="557" y="142"/>
                  <a:pt x="561" y="142"/>
                </a:cubicBezTo>
                <a:cubicBezTo>
                  <a:pt x="754" y="142"/>
                  <a:pt x="754" y="142"/>
                  <a:pt x="754" y="142"/>
                </a:cubicBezTo>
                <a:cubicBezTo>
                  <a:pt x="766" y="142"/>
                  <a:pt x="776" y="132"/>
                  <a:pt x="776" y="120"/>
                </a:cubicBezTo>
                <a:cubicBezTo>
                  <a:pt x="776" y="108"/>
                  <a:pt x="766" y="99"/>
                  <a:pt x="754" y="99"/>
                </a:cubicBezTo>
                <a:cubicBezTo>
                  <a:pt x="622" y="99"/>
                  <a:pt x="622" y="99"/>
                  <a:pt x="622" y="99"/>
                </a:cubicBezTo>
                <a:cubicBezTo>
                  <a:pt x="618" y="99"/>
                  <a:pt x="614" y="95"/>
                  <a:pt x="614" y="91"/>
                </a:cubicBezTo>
                <a:cubicBezTo>
                  <a:pt x="614" y="87"/>
                  <a:pt x="618" y="84"/>
                  <a:pt x="622" y="84"/>
                </a:cubicBezTo>
                <a:cubicBezTo>
                  <a:pt x="1237" y="84"/>
                  <a:pt x="1237" y="84"/>
                  <a:pt x="1237" y="84"/>
                </a:cubicBezTo>
                <a:cubicBezTo>
                  <a:pt x="1241" y="84"/>
                  <a:pt x="1244" y="87"/>
                  <a:pt x="1244" y="91"/>
                </a:cubicBezTo>
                <a:cubicBezTo>
                  <a:pt x="1244" y="95"/>
                  <a:pt x="1241" y="99"/>
                  <a:pt x="1237" y="99"/>
                </a:cubicBezTo>
                <a:cubicBezTo>
                  <a:pt x="1225" y="99"/>
                  <a:pt x="1225" y="99"/>
                  <a:pt x="1225" y="99"/>
                </a:cubicBezTo>
                <a:cubicBezTo>
                  <a:pt x="1213" y="99"/>
                  <a:pt x="1203" y="108"/>
                  <a:pt x="1203" y="120"/>
                </a:cubicBezTo>
                <a:cubicBezTo>
                  <a:pt x="1203" y="132"/>
                  <a:pt x="1213" y="142"/>
                  <a:pt x="1225" y="142"/>
                </a:cubicBezTo>
                <a:cubicBezTo>
                  <a:pt x="1693" y="142"/>
                  <a:pt x="1693" y="142"/>
                  <a:pt x="1693" y="142"/>
                </a:cubicBezTo>
                <a:cubicBezTo>
                  <a:pt x="1697" y="142"/>
                  <a:pt x="1701" y="145"/>
                  <a:pt x="1701" y="149"/>
                </a:cubicBezTo>
                <a:cubicBezTo>
                  <a:pt x="1701" y="153"/>
                  <a:pt x="1697" y="156"/>
                  <a:pt x="1693" y="156"/>
                </a:cubicBezTo>
                <a:cubicBezTo>
                  <a:pt x="1075" y="156"/>
                  <a:pt x="1075" y="156"/>
                  <a:pt x="1075" y="156"/>
                </a:cubicBezTo>
                <a:cubicBezTo>
                  <a:pt x="1063" y="156"/>
                  <a:pt x="1054" y="166"/>
                  <a:pt x="1054" y="178"/>
                </a:cubicBezTo>
                <a:cubicBezTo>
                  <a:pt x="1054" y="190"/>
                  <a:pt x="1063" y="200"/>
                  <a:pt x="1075" y="200"/>
                </a:cubicBezTo>
                <a:cubicBezTo>
                  <a:pt x="1686" y="200"/>
                  <a:pt x="1686" y="200"/>
                  <a:pt x="1686" y="200"/>
                </a:cubicBezTo>
                <a:cubicBezTo>
                  <a:pt x="1690" y="200"/>
                  <a:pt x="1693" y="203"/>
                  <a:pt x="1693" y="207"/>
                </a:cubicBezTo>
                <a:cubicBezTo>
                  <a:pt x="1693" y="211"/>
                  <a:pt x="1690" y="214"/>
                  <a:pt x="1686" y="214"/>
                </a:cubicBezTo>
                <a:cubicBezTo>
                  <a:pt x="1145" y="214"/>
                  <a:pt x="1145" y="214"/>
                  <a:pt x="1145" y="214"/>
                </a:cubicBezTo>
                <a:cubicBezTo>
                  <a:pt x="1133" y="214"/>
                  <a:pt x="1123" y="224"/>
                  <a:pt x="1123" y="236"/>
                </a:cubicBezTo>
                <a:cubicBezTo>
                  <a:pt x="1123" y="248"/>
                  <a:pt x="1133" y="257"/>
                  <a:pt x="1145" y="257"/>
                </a:cubicBezTo>
                <a:cubicBezTo>
                  <a:pt x="1683" y="257"/>
                  <a:pt x="1683" y="257"/>
                  <a:pt x="1683" y="257"/>
                </a:cubicBezTo>
                <a:cubicBezTo>
                  <a:pt x="1687" y="257"/>
                  <a:pt x="1691" y="261"/>
                  <a:pt x="1691" y="265"/>
                </a:cubicBezTo>
                <a:cubicBezTo>
                  <a:pt x="1691" y="269"/>
                  <a:pt x="1687" y="272"/>
                  <a:pt x="1683" y="272"/>
                </a:cubicBezTo>
                <a:cubicBezTo>
                  <a:pt x="940" y="272"/>
                  <a:pt x="940" y="272"/>
                  <a:pt x="940" y="272"/>
                </a:cubicBezTo>
                <a:cubicBezTo>
                  <a:pt x="929" y="272"/>
                  <a:pt x="919" y="282"/>
                  <a:pt x="919" y="294"/>
                </a:cubicBezTo>
                <a:cubicBezTo>
                  <a:pt x="919" y="305"/>
                  <a:pt x="929" y="315"/>
                  <a:pt x="940" y="315"/>
                </a:cubicBezTo>
                <a:cubicBezTo>
                  <a:pt x="1553" y="315"/>
                  <a:pt x="1553" y="315"/>
                  <a:pt x="1553" y="315"/>
                </a:cubicBezTo>
                <a:cubicBezTo>
                  <a:pt x="1557" y="315"/>
                  <a:pt x="1561" y="318"/>
                  <a:pt x="1561" y="322"/>
                </a:cubicBezTo>
                <a:cubicBezTo>
                  <a:pt x="1561" y="326"/>
                  <a:pt x="1557" y="330"/>
                  <a:pt x="1553" y="330"/>
                </a:cubicBezTo>
                <a:cubicBezTo>
                  <a:pt x="888" y="330"/>
                  <a:pt x="888" y="330"/>
                  <a:pt x="888" y="330"/>
                </a:cubicBezTo>
                <a:cubicBezTo>
                  <a:pt x="876" y="330"/>
                  <a:pt x="867" y="339"/>
                  <a:pt x="867" y="351"/>
                </a:cubicBezTo>
                <a:cubicBezTo>
                  <a:pt x="867" y="354"/>
                  <a:pt x="867" y="356"/>
                  <a:pt x="868" y="358"/>
                </a:cubicBezTo>
                <a:close/>
              </a:path>
            </a:pathLst>
          </a:custGeom>
          <a:solidFill>
            <a:srgbClr val="FFFFFF"/>
          </a:solidFill>
          <a:ln>
            <a:noFill/>
          </a:ln>
        </p:spPr>
        <p:txBody>
          <a:bodyPr vert="horz" wrap="square" lIns="67893" tIns="33945" rIns="67893" bIns="33945" numCol="1" anchor="t" anchorCtr="0" compatLnSpc="1">
            <a:prstTxWarp prst="textNoShape">
              <a:avLst/>
            </a:prstTxWarp>
          </a:bodyPr>
          <a:lstStyle/>
          <a:p>
            <a:endParaRPr lang="en-US" sz="1114"/>
          </a:p>
        </p:txBody>
      </p:sp>
      <p:pic>
        <p:nvPicPr>
          <p:cNvPr id="10" name="MS logo white - EMF" descr="Microsoft logo white text version">
            <a:extLst>
              <a:ext uri="{FF2B5EF4-FFF2-40B4-BE49-F238E27FC236}">
                <a16:creationId xmlns:a16="http://schemas.microsoft.com/office/drawing/2014/main" id="{CD4582AC-B535-4CE4-8C99-CF1AAEEE84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267098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itle Slide Photo_Option">
    <p:bg>
      <p:bgPr>
        <a:solidFill>
          <a:srgbClr val="0070C0"/>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5878286" cy="6858000"/>
          </a:xfrm>
          <a:prstGeom prst="rect">
            <a:avLst/>
          </a:prstGeom>
          <a:solidFill>
            <a:srgbClr val="002050">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5784" tIns="108626" rIns="135784" bIns="108626" numCol="1" spcCol="0" rtlCol="0" fromWordArt="0" anchor="t" anchorCtr="0" forceAA="0" compatLnSpc="1">
            <a:prstTxWarp prst="textNoShape">
              <a:avLst/>
            </a:prstTxWarp>
            <a:noAutofit/>
          </a:bodyPr>
          <a:lstStyle/>
          <a:p>
            <a:pPr algn="ctr" defTabSz="692461" fontAlgn="base">
              <a:lnSpc>
                <a:spcPct val="90000"/>
              </a:lnSpc>
              <a:spcBef>
                <a:spcPct val="0"/>
              </a:spcBef>
              <a:spcAft>
                <a:spcPct val="0"/>
              </a:spcAft>
            </a:pPr>
            <a:endParaRPr lang="en-US" sz="1782">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618569" y="2084189"/>
            <a:ext cx="5486400" cy="1793104"/>
          </a:xfrm>
          <a:noFill/>
        </p:spPr>
        <p:txBody>
          <a:bodyPr lIns="146304" tIns="91440" rIns="146304" bIns="91440" anchor="t" anchorCtr="0"/>
          <a:lstStyle>
            <a:lvl1pPr>
              <a:defRPr sz="4010" spc="-75" baseline="0">
                <a:gradFill>
                  <a:gsLst>
                    <a:gs pos="86111">
                      <a:schemeClr val="tx1"/>
                    </a:gs>
                    <a:gs pos="76250">
                      <a:schemeClr val="tx1"/>
                    </a:gs>
                  </a:gsLst>
                  <a:lin ang="5400000" scaled="0"/>
                </a:gradFill>
                <a:latin typeface="Segoe UI" panose="020B0502040204020203" pitchFamily="34" charset="0"/>
                <a:cs typeface="Segoe UI" panose="020B0502040204020203" pitchFamily="34" charset="0"/>
              </a:defRPr>
            </a:lvl1pPr>
          </a:lstStyle>
          <a:p>
            <a:r>
              <a:rPr lang="en-US"/>
              <a:t>Presentation title</a:t>
            </a:r>
          </a:p>
        </p:txBody>
      </p:sp>
      <p:sp>
        <p:nvSpPr>
          <p:cNvPr id="13" name="Freeform 6"/>
          <p:cNvSpPr>
            <a:spLocks noEditPoints="1"/>
          </p:cNvSpPr>
          <p:nvPr userDrawn="1"/>
        </p:nvSpPr>
        <p:spPr bwMode="auto">
          <a:xfrm>
            <a:off x="5973487" y="2103611"/>
            <a:ext cx="6096001" cy="3566769"/>
          </a:xfrm>
          <a:custGeom>
            <a:avLst/>
            <a:gdLst>
              <a:gd name="T0" fmla="*/ 1776 w 2020"/>
              <a:gd name="T1" fmla="*/ 1074 h 1182"/>
              <a:gd name="T2" fmla="*/ 1629 w 2020"/>
              <a:gd name="T3" fmla="*/ 1146 h 1182"/>
              <a:gd name="T4" fmla="*/ 1498 w 2020"/>
              <a:gd name="T5" fmla="*/ 1016 h 1182"/>
              <a:gd name="T6" fmla="*/ 1543 w 2020"/>
              <a:gd name="T7" fmla="*/ 901 h 1182"/>
              <a:gd name="T8" fmla="*/ 1585 w 2020"/>
              <a:gd name="T9" fmla="*/ 785 h 1182"/>
              <a:gd name="T10" fmla="*/ 1314 w 2020"/>
              <a:gd name="T11" fmla="*/ 756 h 1182"/>
              <a:gd name="T12" fmla="*/ 1061 w 2020"/>
              <a:gd name="T13" fmla="*/ 640 h 1182"/>
              <a:gd name="T14" fmla="*/ 1032 w 2020"/>
              <a:gd name="T15" fmla="*/ 525 h 1182"/>
              <a:gd name="T16" fmla="*/ 848 w 2020"/>
              <a:gd name="T17" fmla="*/ 409 h 1182"/>
              <a:gd name="T18" fmla="*/ 1553 w 2020"/>
              <a:gd name="T19" fmla="*/ 301 h 1182"/>
              <a:gd name="T20" fmla="*/ 1686 w 2020"/>
              <a:gd name="T21" fmla="*/ 185 h 1182"/>
              <a:gd name="T22" fmla="*/ 1237 w 2020"/>
              <a:gd name="T23" fmla="*/ 70 h 1182"/>
              <a:gd name="T24" fmla="*/ 749 w 2020"/>
              <a:gd name="T25" fmla="*/ 185 h 1182"/>
              <a:gd name="T26" fmla="*/ 721 w 2020"/>
              <a:gd name="T27" fmla="*/ 301 h 1182"/>
              <a:gd name="T28" fmla="*/ 366 w 2020"/>
              <a:gd name="T29" fmla="*/ 344 h 1182"/>
              <a:gd name="T30" fmla="*/ 237 w 2020"/>
              <a:gd name="T31" fmla="*/ 228 h 1182"/>
              <a:gd name="T32" fmla="*/ 318 w 2020"/>
              <a:gd name="T33" fmla="*/ 38 h 1182"/>
              <a:gd name="T34" fmla="*/ 353 w 2020"/>
              <a:gd name="T35" fmla="*/ 264 h 1182"/>
              <a:gd name="T36" fmla="*/ 497 w 2020"/>
              <a:gd name="T37" fmla="*/ 373 h 1182"/>
              <a:gd name="T38" fmla="*/ 180 w 2020"/>
              <a:gd name="T39" fmla="*/ 488 h 1182"/>
              <a:gd name="T40" fmla="*/ 190 w 2020"/>
              <a:gd name="T41" fmla="*/ 604 h 1182"/>
              <a:gd name="T42" fmla="*/ 273 w 2020"/>
              <a:gd name="T43" fmla="*/ 720 h 1182"/>
              <a:gd name="T44" fmla="*/ 377 w 2020"/>
              <a:gd name="T45" fmla="*/ 835 h 1182"/>
              <a:gd name="T46" fmla="*/ 446 w 2020"/>
              <a:gd name="T47" fmla="*/ 951 h 1182"/>
              <a:gd name="T48" fmla="*/ 443 w 2020"/>
              <a:gd name="T49" fmla="*/ 1066 h 1182"/>
              <a:gd name="T50" fmla="*/ 955 w 2020"/>
              <a:gd name="T51" fmla="*/ 1030 h 1182"/>
              <a:gd name="T52" fmla="*/ 912 w 2020"/>
              <a:gd name="T53" fmla="*/ 900 h 1182"/>
              <a:gd name="T54" fmla="*/ 898 w 2020"/>
              <a:gd name="T55" fmla="*/ 785 h 1182"/>
              <a:gd name="T56" fmla="*/ 755 w 2020"/>
              <a:gd name="T57" fmla="*/ 669 h 1182"/>
              <a:gd name="T58" fmla="*/ 798 w 2020"/>
              <a:gd name="T59" fmla="*/ 553 h 1182"/>
              <a:gd name="T60" fmla="*/ 761 w 2020"/>
              <a:gd name="T61" fmla="*/ 438 h 1182"/>
              <a:gd name="T62" fmla="*/ 1592 w 2020"/>
              <a:gd name="T63" fmla="*/ 388 h 1182"/>
              <a:gd name="T64" fmla="*/ 1553 w 2020"/>
              <a:gd name="T65" fmla="*/ 503 h 1182"/>
              <a:gd name="T66" fmla="*/ 1526 w 2020"/>
              <a:gd name="T67" fmla="*/ 619 h 1182"/>
              <a:gd name="T68" fmla="*/ 1454 w 2020"/>
              <a:gd name="T69" fmla="*/ 734 h 1182"/>
              <a:gd name="T70" fmla="*/ 1623 w 2020"/>
              <a:gd name="T71" fmla="*/ 792 h 1182"/>
              <a:gd name="T72" fmla="*/ 1681 w 2020"/>
              <a:gd name="T73" fmla="*/ 879 h 1182"/>
              <a:gd name="T74" fmla="*/ 1712 w 2020"/>
              <a:gd name="T75" fmla="*/ 995 h 1182"/>
              <a:gd name="T76" fmla="*/ 1658 w 2020"/>
              <a:gd name="T77" fmla="*/ 1110 h 1182"/>
              <a:gd name="T78" fmla="*/ 1824 w 2020"/>
              <a:gd name="T79" fmla="*/ 1081 h 1182"/>
              <a:gd name="T80" fmla="*/ 2020 w 2020"/>
              <a:gd name="T81" fmla="*/ 870 h 1182"/>
              <a:gd name="T82" fmla="*/ 969 w 2020"/>
              <a:gd name="T83" fmla="*/ 459 h 1182"/>
              <a:gd name="T84" fmla="*/ 860 w 2020"/>
              <a:gd name="T85" fmla="*/ 575 h 1182"/>
              <a:gd name="T86" fmla="*/ 1046 w 2020"/>
              <a:gd name="T87" fmla="*/ 691 h 1182"/>
              <a:gd name="T88" fmla="*/ 1049 w 2020"/>
              <a:gd name="T89" fmla="*/ 806 h 1182"/>
              <a:gd name="T90" fmla="*/ 1017 w 2020"/>
              <a:gd name="T91" fmla="*/ 922 h 1182"/>
              <a:gd name="T92" fmla="*/ 1017 w 2020"/>
              <a:gd name="T93" fmla="*/ 1066 h 1182"/>
              <a:gd name="T94" fmla="*/ 495 w 2020"/>
              <a:gd name="T95" fmla="*/ 1037 h 1182"/>
              <a:gd name="T96" fmla="*/ 593 w 2020"/>
              <a:gd name="T97" fmla="*/ 922 h 1182"/>
              <a:gd name="T98" fmla="*/ 529 w 2020"/>
              <a:gd name="T99" fmla="*/ 806 h 1182"/>
              <a:gd name="T100" fmla="*/ 276 w 2020"/>
              <a:gd name="T101" fmla="*/ 691 h 1182"/>
              <a:gd name="T102" fmla="*/ 381 w 2020"/>
              <a:gd name="T103" fmla="*/ 575 h 1182"/>
              <a:gd name="T104" fmla="*/ 518 w 2020"/>
              <a:gd name="T105" fmla="*/ 459 h 1182"/>
              <a:gd name="T106" fmla="*/ 601 w 2020"/>
              <a:gd name="T107" fmla="*/ 330 h 1182"/>
              <a:gd name="T108" fmla="*/ 581 w 2020"/>
              <a:gd name="T109" fmla="*/ 214 h 1182"/>
              <a:gd name="T110" fmla="*/ 622 w 2020"/>
              <a:gd name="T111" fmla="*/ 99 h 1182"/>
              <a:gd name="T112" fmla="*/ 1075 w 2020"/>
              <a:gd name="T113" fmla="*/ 156 h 1182"/>
              <a:gd name="T114" fmla="*/ 940 w 2020"/>
              <a:gd name="T115" fmla="*/ 272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0" h="1182">
                <a:moveTo>
                  <a:pt x="2001" y="851"/>
                </a:moveTo>
                <a:cubicBezTo>
                  <a:pt x="1990" y="851"/>
                  <a:pt x="1982" y="860"/>
                  <a:pt x="1982" y="870"/>
                </a:cubicBezTo>
                <a:cubicBezTo>
                  <a:pt x="1982" y="878"/>
                  <a:pt x="1987" y="885"/>
                  <a:pt x="1994" y="887"/>
                </a:cubicBezTo>
                <a:cubicBezTo>
                  <a:pt x="1988" y="947"/>
                  <a:pt x="1938" y="995"/>
                  <a:pt x="1876" y="995"/>
                </a:cubicBezTo>
                <a:cubicBezTo>
                  <a:pt x="1791" y="995"/>
                  <a:pt x="1791" y="995"/>
                  <a:pt x="1791" y="995"/>
                </a:cubicBezTo>
                <a:cubicBezTo>
                  <a:pt x="1779" y="995"/>
                  <a:pt x="1770" y="1004"/>
                  <a:pt x="1770" y="1016"/>
                </a:cubicBezTo>
                <a:cubicBezTo>
                  <a:pt x="1770" y="1028"/>
                  <a:pt x="1779" y="1038"/>
                  <a:pt x="1791" y="1038"/>
                </a:cubicBezTo>
                <a:cubicBezTo>
                  <a:pt x="1843" y="1038"/>
                  <a:pt x="1843" y="1038"/>
                  <a:pt x="1843" y="1038"/>
                </a:cubicBezTo>
                <a:cubicBezTo>
                  <a:pt x="1847" y="1038"/>
                  <a:pt x="1850" y="1041"/>
                  <a:pt x="1850" y="1045"/>
                </a:cubicBezTo>
                <a:cubicBezTo>
                  <a:pt x="1850" y="1049"/>
                  <a:pt x="1847" y="1052"/>
                  <a:pt x="1843" y="1052"/>
                </a:cubicBezTo>
                <a:cubicBezTo>
                  <a:pt x="1797" y="1052"/>
                  <a:pt x="1797" y="1052"/>
                  <a:pt x="1797" y="1052"/>
                </a:cubicBezTo>
                <a:cubicBezTo>
                  <a:pt x="1785" y="1052"/>
                  <a:pt x="1776" y="1062"/>
                  <a:pt x="1776" y="1074"/>
                </a:cubicBezTo>
                <a:cubicBezTo>
                  <a:pt x="1776" y="1086"/>
                  <a:pt x="1785" y="1096"/>
                  <a:pt x="1797" y="1096"/>
                </a:cubicBezTo>
                <a:cubicBezTo>
                  <a:pt x="1824" y="1096"/>
                  <a:pt x="1824" y="1096"/>
                  <a:pt x="1824" y="1096"/>
                </a:cubicBezTo>
                <a:cubicBezTo>
                  <a:pt x="1828" y="1096"/>
                  <a:pt x="1832" y="1099"/>
                  <a:pt x="1832" y="1103"/>
                </a:cubicBezTo>
                <a:cubicBezTo>
                  <a:pt x="1832" y="1107"/>
                  <a:pt x="1828" y="1110"/>
                  <a:pt x="1824" y="1110"/>
                </a:cubicBezTo>
                <a:cubicBezTo>
                  <a:pt x="1766" y="1110"/>
                  <a:pt x="1766" y="1110"/>
                  <a:pt x="1766" y="1110"/>
                </a:cubicBezTo>
                <a:cubicBezTo>
                  <a:pt x="1754" y="1110"/>
                  <a:pt x="1744" y="1120"/>
                  <a:pt x="1744" y="1132"/>
                </a:cubicBezTo>
                <a:cubicBezTo>
                  <a:pt x="1744" y="1144"/>
                  <a:pt x="1754" y="1153"/>
                  <a:pt x="1766" y="1153"/>
                </a:cubicBezTo>
                <a:cubicBezTo>
                  <a:pt x="1789" y="1153"/>
                  <a:pt x="1789" y="1153"/>
                  <a:pt x="1789" y="1153"/>
                </a:cubicBezTo>
                <a:cubicBezTo>
                  <a:pt x="1793" y="1153"/>
                  <a:pt x="1797" y="1157"/>
                  <a:pt x="1797" y="1161"/>
                </a:cubicBezTo>
                <a:cubicBezTo>
                  <a:pt x="1797" y="1165"/>
                  <a:pt x="1793" y="1168"/>
                  <a:pt x="1789" y="1168"/>
                </a:cubicBezTo>
                <a:cubicBezTo>
                  <a:pt x="1650" y="1168"/>
                  <a:pt x="1650" y="1168"/>
                  <a:pt x="1650" y="1168"/>
                </a:cubicBezTo>
                <a:cubicBezTo>
                  <a:pt x="1638" y="1168"/>
                  <a:pt x="1629" y="1158"/>
                  <a:pt x="1629" y="1146"/>
                </a:cubicBezTo>
                <a:cubicBezTo>
                  <a:pt x="1629" y="1134"/>
                  <a:pt x="1638" y="1125"/>
                  <a:pt x="1650" y="1125"/>
                </a:cubicBezTo>
                <a:cubicBezTo>
                  <a:pt x="1658" y="1125"/>
                  <a:pt x="1658" y="1125"/>
                  <a:pt x="1658" y="1125"/>
                </a:cubicBezTo>
                <a:cubicBezTo>
                  <a:pt x="1670" y="1125"/>
                  <a:pt x="1680" y="1115"/>
                  <a:pt x="1680" y="1103"/>
                </a:cubicBezTo>
                <a:cubicBezTo>
                  <a:pt x="1680" y="1091"/>
                  <a:pt x="1670" y="1081"/>
                  <a:pt x="1658" y="1081"/>
                </a:cubicBezTo>
                <a:cubicBezTo>
                  <a:pt x="1635" y="1081"/>
                  <a:pt x="1635" y="1081"/>
                  <a:pt x="1635" y="1081"/>
                </a:cubicBezTo>
                <a:cubicBezTo>
                  <a:pt x="1631" y="1081"/>
                  <a:pt x="1628" y="1078"/>
                  <a:pt x="1628" y="1074"/>
                </a:cubicBezTo>
                <a:cubicBezTo>
                  <a:pt x="1628" y="1070"/>
                  <a:pt x="1631" y="1067"/>
                  <a:pt x="1635" y="1067"/>
                </a:cubicBezTo>
                <a:cubicBezTo>
                  <a:pt x="1693" y="1067"/>
                  <a:pt x="1693" y="1067"/>
                  <a:pt x="1693" y="1067"/>
                </a:cubicBezTo>
                <a:cubicBezTo>
                  <a:pt x="1705" y="1067"/>
                  <a:pt x="1715" y="1057"/>
                  <a:pt x="1715" y="1045"/>
                </a:cubicBezTo>
                <a:cubicBezTo>
                  <a:pt x="1715" y="1033"/>
                  <a:pt x="1705" y="1024"/>
                  <a:pt x="1693" y="1024"/>
                </a:cubicBezTo>
                <a:cubicBezTo>
                  <a:pt x="1505" y="1024"/>
                  <a:pt x="1505" y="1024"/>
                  <a:pt x="1505" y="1024"/>
                </a:cubicBezTo>
                <a:cubicBezTo>
                  <a:pt x="1501" y="1024"/>
                  <a:pt x="1498" y="1020"/>
                  <a:pt x="1498" y="1016"/>
                </a:cubicBezTo>
                <a:cubicBezTo>
                  <a:pt x="1498" y="1012"/>
                  <a:pt x="1501" y="1009"/>
                  <a:pt x="1505" y="1009"/>
                </a:cubicBezTo>
                <a:cubicBezTo>
                  <a:pt x="1712" y="1009"/>
                  <a:pt x="1712" y="1009"/>
                  <a:pt x="1712" y="1009"/>
                </a:cubicBezTo>
                <a:cubicBezTo>
                  <a:pt x="1724" y="1009"/>
                  <a:pt x="1733" y="999"/>
                  <a:pt x="1733" y="987"/>
                </a:cubicBezTo>
                <a:cubicBezTo>
                  <a:pt x="1733" y="975"/>
                  <a:pt x="1724" y="966"/>
                  <a:pt x="1712" y="966"/>
                </a:cubicBezTo>
                <a:cubicBezTo>
                  <a:pt x="1504" y="966"/>
                  <a:pt x="1504" y="966"/>
                  <a:pt x="1504" y="966"/>
                </a:cubicBezTo>
                <a:cubicBezTo>
                  <a:pt x="1500" y="966"/>
                  <a:pt x="1496" y="962"/>
                  <a:pt x="1496" y="958"/>
                </a:cubicBezTo>
                <a:cubicBezTo>
                  <a:pt x="1496" y="954"/>
                  <a:pt x="1500" y="951"/>
                  <a:pt x="1504" y="951"/>
                </a:cubicBezTo>
                <a:cubicBezTo>
                  <a:pt x="1697" y="951"/>
                  <a:pt x="1697" y="951"/>
                  <a:pt x="1697" y="951"/>
                </a:cubicBezTo>
                <a:cubicBezTo>
                  <a:pt x="1709" y="951"/>
                  <a:pt x="1718" y="941"/>
                  <a:pt x="1718" y="929"/>
                </a:cubicBezTo>
                <a:cubicBezTo>
                  <a:pt x="1718" y="918"/>
                  <a:pt x="1709" y="908"/>
                  <a:pt x="1697" y="908"/>
                </a:cubicBezTo>
                <a:cubicBezTo>
                  <a:pt x="1550" y="908"/>
                  <a:pt x="1550" y="908"/>
                  <a:pt x="1550" y="908"/>
                </a:cubicBezTo>
                <a:cubicBezTo>
                  <a:pt x="1546" y="908"/>
                  <a:pt x="1543" y="905"/>
                  <a:pt x="1543" y="901"/>
                </a:cubicBezTo>
                <a:cubicBezTo>
                  <a:pt x="1543" y="897"/>
                  <a:pt x="1546" y="893"/>
                  <a:pt x="1550" y="893"/>
                </a:cubicBezTo>
                <a:cubicBezTo>
                  <a:pt x="1681" y="893"/>
                  <a:pt x="1681" y="893"/>
                  <a:pt x="1681" y="893"/>
                </a:cubicBezTo>
                <a:cubicBezTo>
                  <a:pt x="1701" y="893"/>
                  <a:pt x="1718" y="877"/>
                  <a:pt x="1718" y="857"/>
                </a:cubicBezTo>
                <a:cubicBezTo>
                  <a:pt x="1718" y="837"/>
                  <a:pt x="1701" y="821"/>
                  <a:pt x="1681" y="821"/>
                </a:cubicBezTo>
                <a:cubicBezTo>
                  <a:pt x="1673" y="821"/>
                  <a:pt x="1673" y="821"/>
                  <a:pt x="1673" y="821"/>
                </a:cubicBezTo>
                <a:cubicBezTo>
                  <a:pt x="1669" y="821"/>
                  <a:pt x="1666" y="818"/>
                  <a:pt x="1666" y="814"/>
                </a:cubicBezTo>
                <a:cubicBezTo>
                  <a:pt x="1666" y="810"/>
                  <a:pt x="1669" y="807"/>
                  <a:pt x="1673" y="807"/>
                </a:cubicBezTo>
                <a:cubicBezTo>
                  <a:pt x="1683" y="807"/>
                  <a:pt x="1683" y="807"/>
                  <a:pt x="1683" y="807"/>
                </a:cubicBezTo>
                <a:cubicBezTo>
                  <a:pt x="1694" y="807"/>
                  <a:pt x="1704" y="797"/>
                  <a:pt x="1704" y="785"/>
                </a:cubicBezTo>
                <a:cubicBezTo>
                  <a:pt x="1704" y="773"/>
                  <a:pt x="1694" y="763"/>
                  <a:pt x="1683" y="763"/>
                </a:cubicBezTo>
                <a:cubicBezTo>
                  <a:pt x="1607" y="763"/>
                  <a:pt x="1607" y="763"/>
                  <a:pt x="1607" y="763"/>
                </a:cubicBezTo>
                <a:cubicBezTo>
                  <a:pt x="1595" y="763"/>
                  <a:pt x="1585" y="773"/>
                  <a:pt x="1585" y="785"/>
                </a:cubicBezTo>
                <a:cubicBezTo>
                  <a:pt x="1585" y="797"/>
                  <a:pt x="1595" y="807"/>
                  <a:pt x="1607" y="807"/>
                </a:cubicBezTo>
                <a:cubicBezTo>
                  <a:pt x="1623" y="807"/>
                  <a:pt x="1623" y="807"/>
                  <a:pt x="1623" y="807"/>
                </a:cubicBezTo>
                <a:cubicBezTo>
                  <a:pt x="1627" y="807"/>
                  <a:pt x="1631" y="810"/>
                  <a:pt x="1631" y="814"/>
                </a:cubicBezTo>
                <a:cubicBezTo>
                  <a:pt x="1631" y="818"/>
                  <a:pt x="1627" y="821"/>
                  <a:pt x="1623" y="821"/>
                </a:cubicBezTo>
                <a:cubicBezTo>
                  <a:pt x="1455" y="821"/>
                  <a:pt x="1455" y="821"/>
                  <a:pt x="1455" y="821"/>
                </a:cubicBezTo>
                <a:cubicBezTo>
                  <a:pt x="1451" y="821"/>
                  <a:pt x="1448" y="818"/>
                  <a:pt x="1448" y="814"/>
                </a:cubicBezTo>
                <a:cubicBezTo>
                  <a:pt x="1448" y="810"/>
                  <a:pt x="1451" y="807"/>
                  <a:pt x="1455" y="807"/>
                </a:cubicBezTo>
                <a:cubicBezTo>
                  <a:pt x="1549" y="807"/>
                  <a:pt x="1549" y="807"/>
                  <a:pt x="1549" y="807"/>
                </a:cubicBezTo>
                <a:cubicBezTo>
                  <a:pt x="1561" y="807"/>
                  <a:pt x="1571" y="797"/>
                  <a:pt x="1571" y="785"/>
                </a:cubicBezTo>
                <a:cubicBezTo>
                  <a:pt x="1571" y="773"/>
                  <a:pt x="1561" y="763"/>
                  <a:pt x="1549" y="763"/>
                </a:cubicBezTo>
                <a:cubicBezTo>
                  <a:pt x="1321" y="763"/>
                  <a:pt x="1321" y="763"/>
                  <a:pt x="1321" y="763"/>
                </a:cubicBezTo>
                <a:cubicBezTo>
                  <a:pt x="1317" y="763"/>
                  <a:pt x="1314" y="760"/>
                  <a:pt x="1314" y="756"/>
                </a:cubicBezTo>
                <a:cubicBezTo>
                  <a:pt x="1314" y="752"/>
                  <a:pt x="1317" y="749"/>
                  <a:pt x="1321" y="749"/>
                </a:cubicBezTo>
                <a:cubicBezTo>
                  <a:pt x="1454" y="749"/>
                  <a:pt x="1454" y="749"/>
                  <a:pt x="1454" y="749"/>
                </a:cubicBezTo>
                <a:cubicBezTo>
                  <a:pt x="1466" y="749"/>
                  <a:pt x="1475" y="739"/>
                  <a:pt x="1475" y="727"/>
                </a:cubicBezTo>
                <a:cubicBezTo>
                  <a:pt x="1475" y="715"/>
                  <a:pt x="1466" y="706"/>
                  <a:pt x="1454" y="706"/>
                </a:cubicBezTo>
                <a:cubicBezTo>
                  <a:pt x="1287" y="706"/>
                  <a:pt x="1287" y="706"/>
                  <a:pt x="1287" y="706"/>
                </a:cubicBezTo>
                <a:cubicBezTo>
                  <a:pt x="1283" y="706"/>
                  <a:pt x="1280" y="702"/>
                  <a:pt x="1280" y="698"/>
                </a:cubicBezTo>
                <a:cubicBezTo>
                  <a:pt x="1280" y="694"/>
                  <a:pt x="1283" y="691"/>
                  <a:pt x="1287" y="691"/>
                </a:cubicBezTo>
                <a:cubicBezTo>
                  <a:pt x="1436" y="691"/>
                  <a:pt x="1436" y="691"/>
                  <a:pt x="1436" y="691"/>
                </a:cubicBezTo>
                <a:cubicBezTo>
                  <a:pt x="1448" y="691"/>
                  <a:pt x="1458" y="681"/>
                  <a:pt x="1458" y="669"/>
                </a:cubicBezTo>
                <a:cubicBezTo>
                  <a:pt x="1458" y="657"/>
                  <a:pt x="1448" y="648"/>
                  <a:pt x="1436" y="648"/>
                </a:cubicBezTo>
                <a:cubicBezTo>
                  <a:pt x="1068" y="648"/>
                  <a:pt x="1068" y="648"/>
                  <a:pt x="1068" y="648"/>
                </a:cubicBezTo>
                <a:cubicBezTo>
                  <a:pt x="1064" y="648"/>
                  <a:pt x="1061" y="644"/>
                  <a:pt x="1061" y="640"/>
                </a:cubicBezTo>
                <a:cubicBezTo>
                  <a:pt x="1061" y="636"/>
                  <a:pt x="1064" y="633"/>
                  <a:pt x="1068" y="633"/>
                </a:cubicBezTo>
                <a:cubicBezTo>
                  <a:pt x="1526" y="633"/>
                  <a:pt x="1526" y="633"/>
                  <a:pt x="1526" y="633"/>
                </a:cubicBezTo>
                <a:cubicBezTo>
                  <a:pt x="1538" y="633"/>
                  <a:pt x="1548" y="623"/>
                  <a:pt x="1548" y="612"/>
                </a:cubicBezTo>
                <a:cubicBezTo>
                  <a:pt x="1548" y="600"/>
                  <a:pt x="1538" y="590"/>
                  <a:pt x="1526" y="590"/>
                </a:cubicBezTo>
                <a:cubicBezTo>
                  <a:pt x="1019" y="590"/>
                  <a:pt x="1019" y="590"/>
                  <a:pt x="1019" y="590"/>
                </a:cubicBezTo>
                <a:cubicBezTo>
                  <a:pt x="1015" y="590"/>
                  <a:pt x="1012" y="587"/>
                  <a:pt x="1012" y="583"/>
                </a:cubicBezTo>
                <a:cubicBezTo>
                  <a:pt x="1012" y="579"/>
                  <a:pt x="1015" y="575"/>
                  <a:pt x="1019" y="575"/>
                </a:cubicBezTo>
                <a:cubicBezTo>
                  <a:pt x="1528" y="575"/>
                  <a:pt x="1528" y="575"/>
                  <a:pt x="1528" y="575"/>
                </a:cubicBezTo>
                <a:cubicBezTo>
                  <a:pt x="1540" y="575"/>
                  <a:pt x="1550" y="566"/>
                  <a:pt x="1550" y="554"/>
                </a:cubicBezTo>
                <a:cubicBezTo>
                  <a:pt x="1550" y="542"/>
                  <a:pt x="1540" y="532"/>
                  <a:pt x="1528" y="532"/>
                </a:cubicBezTo>
                <a:cubicBezTo>
                  <a:pt x="1039" y="532"/>
                  <a:pt x="1039" y="532"/>
                  <a:pt x="1039" y="532"/>
                </a:cubicBezTo>
                <a:cubicBezTo>
                  <a:pt x="1035" y="532"/>
                  <a:pt x="1032" y="529"/>
                  <a:pt x="1032" y="525"/>
                </a:cubicBezTo>
                <a:cubicBezTo>
                  <a:pt x="1032" y="521"/>
                  <a:pt x="1035" y="518"/>
                  <a:pt x="1039" y="518"/>
                </a:cubicBezTo>
                <a:cubicBezTo>
                  <a:pt x="1553" y="518"/>
                  <a:pt x="1553" y="518"/>
                  <a:pt x="1553" y="518"/>
                </a:cubicBezTo>
                <a:cubicBezTo>
                  <a:pt x="1564" y="518"/>
                  <a:pt x="1574" y="508"/>
                  <a:pt x="1574" y="496"/>
                </a:cubicBezTo>
                <a:cubicBezTo>
                  <a:pt x="1574" y="484"/>
                  <a:pt x="1564" y="474"/>
                  <a:pt x="1553" y="474"/>
                </a:cubicBezTo>
                <a:cubicBezTo>
                  <a:pt x="1039" y="474"/>
                  <a:pt x="1039" y="474"/>
                  <a:pt x="1039" y="474"/>
                </a:cubicBezTo>
                <a:cubicBezTo>
                  <a:pt x="1035" y="474"/>
                  <a:pt x="1032" y="471"/>
                  <a:pt x="1032" y="467"/>
                </a:cubicBezTo>
                <a:cubicBezTo>
                  <a:pt x="1032" y="463"/>
                  <a:pt x="1035" y="460"/>
                  <a:pt x="1039" y="460"/>
                </a:cubicBezTo>
                <a:cubicBezTo>
                  <a:pt x="1592" y="460"/>
                  <a:pt x="1592" y="460"/>
                  <a:pt x="1592" y="460"/>
                </a:cubicBezTo>
                <a:cubicBezTo>
                  <a:pt x="1603" y="460"/>
                  <a:pt x="1613" y="450"/>
                  <a:pt x="1613" y="438"/>
                </a:cubicBezTo>
                <a:cubicBezTo>
                  <a:pt x="1613" y="426"/>
                  <a:pt x="1603" y="416"/>
                  <a:pt x="1592" y="416"/>
                </a:cubicBezTo>
                <a:cubicBezTo>
                  <a:pt x="855" y="416"/>
                  <a:pt x="855" y="416"/>
                  <a:pt x="855" y="416"/>
                </a:cubicBezTo>
                <a:cubicBezTo>
                  <a:pt x="851" y="416"/>
                  <a:pt x="848" y="413"/>
                  <a:pt x="848" y="409"/>
                </a:cubicBezTo>
                <a:cubicBezTo>
                  <a:pt x="848" y="405"/>
                  <a:pt x="851" y="402"/>
                  <a:pt x="855" y="402"/>
                </a:cubicBezTo>
                <a:cubicBezTo>
                  <a:pt x="1592" y="402"/>
                  <a:pt x="1592" y="402"/>
                  <a:pt x="1592" y="402"/>
                </a:cubicBezTo>
                <a:cubicBezTo>
                  <a:pt x="1603" y="402"/>
                  <a:pt x="1613" y="392"/>
                  <a:pt x="1613" y="380"/>
                </a:cubicBezTo>
                <a:cubicBezTo>
                  <a:pt x="1613" y="368"/>
                  <a:pt x="1603" y="359"/>
                  <a:pt x="1592" y="359"/>
                </a:cubicBezTo>
                <a:cubicBezTo>
                  <a:pt x="902" y="359"/>
                  <a:pt x="902" y="359"/>
                  <a:pt x="902" y="359"/>
                </a:cubicBezTo>
                <a:cubicBezTo>
                  <a:pt x="902" y="358"/>
                  <a:pt x="902" y="358"/>
                  <a:pt x="902" y="358"/>
                </a:cubicBezTo>
                <a:cubicBezTo>
                  <a:pt x="886" y="358"/>
                  <a:pt x="886" y="358"/>
                  <a:pt x="886" y="358"/>
                </a:cubicBezTo>
                <a:cubicBezTo>
                  <a:pt x="883" y="357"/>
                  <a:pt x="881" y="355"/>
                  <a:pt x="881" y="351"/>
                </a:cubicBezTo>
                <a:cubicBezTo>
                  <a:pt x="881" y="347"/>
                  <a:pt x="884" y="344"/>
                  <a:pt x="888" y="344"/>
                </a:cubicBezTo>
                <a:cubicBezTo>
                  <a:pt x="1553" y="344"/>
                  <a:pt x="1553" y="344"/>
                  <a:pt x="1553" y="344"/>
                </a:cubicBezTo>
                <a:cubicBezTo>
                  <a:pt x="1565" y="344"/>
                  <a:pt x="1575" y="334"/>
                  <a:pt x="1575" y="322"/>
                </a:cubicBezTo>
                <a:cubicBezTo>
                  <a:pt x="1575" y="311"/>
                  <a:pt x="1565" y="301"/>
                  <a:pt x="1553" y="301"/>
                </a:cubicBezTo>
                <a:cubicBezTo>
                  <a:pt x="940" y="301"/>
                  <a:pt x="940" y="301"/>
                  <a:pt x="940" y="301"/>
                </a:cubicBezTo>
                <a:cubicBezTo>
                  <a:pt x="936" y="301"/>
                  <a:pt x="933" y="298"/>
                  <a:pt x="933" y="294"/>
                </a:cubicBezTo>
                <a:cubicBezTo>
                  <a:pt x="933" y="290"/>
                  <a:pt x="936" y="286"/>
                  <a:pt x="940" y="286"/>
                </a:cubicBezTo>
                <a:cubicBezTo>
                  <a:pt x="1683" y="286"/>
                  <a:pt x="1683" y="286"/>
                  <a:pt x="1683" y="286"/>
                </a:cubicBezTo>
                <a:cubicBezTo>
                  <a:pt x="1695" y="286"/>
                  <a:pt x="1705" y="277"/>
                  <a:pt x="1705" y="265"/>
                </a:cubicBezTo>
                <a:cubicBezTo>
                  <a:pt x="1705" y="253"/>
                  <a:pt x="1695" y="243"/>
                  <a:pt x="1683" y="243"/>
                </a:cubicBezTo>
                <a:cubicBezTo>
                  <a:pt x="1145" y="243"/>
                  <a:pt x="1145" y="243"/>
                  <a:pt x="1145" y="243"/>
                </a:cubicBezTo>
                <a:cubicBezTo>
                  <a:pt x="1141" y="243"/>
                  <a:pt x="1137" y="240"/>
                  <a:pt x="1137" y="236"/>
                </a:cubicBezTo>
                <a:cubicBezTo>
                  <a:pt x="1137" y="232"/>
                  <a:pt x="1141" y="228"/>
                  <a:pt x="1145" y="228"/>
                </a:cubicBezTo>
                <a:cubicBezTo>
                  <a:pt x="1686" y="228"/>
                  <a:pt x="1686" y="228"/>
                  <a:pt x="1686" y="228"/>
                </a:cubicBezTo>
                <a:cubicBezTo>
                  <a:pt x="1698" y="228"/>
                  <a:pt x="1708" y="219"/>
                  <a:pt x="1708" y="207"/>
                </a:cubicBezTo>
                <a:cubicBezTo>
                  <a:pt x="1708" y="195"/>
                  <a:pt x="1698" y="185"/>
                  <a:pt x="1686" y="185"/>
                </a:cubicBezTo>
                <a:cubicBezTo>
                  <a:pt x="1075" y="185"/>
                  <a:pt x="1075" y="185"/>
                  <a:pt x="1075" y="185"/>
                </a:cubicBezTo>
                <a:cubicBezTo>
                  <a:pt x="1071" y="185"/>
                  <a:pt x="1068" y="182"/>
                  <a:pt x="1068" y="178"/>
                </a:cubicBezTo>
                <a:cubicBezTo>
                  <a:pt x="1068" y="174"/>
                  <a:pt x="1071" y="171"/>
                  <a:pt x="1075" y="171"/>
                </a:cubicBezTo>
                <a:cubicBezTo>
                  <a:pt x="1693" y="171"/>
                  <a:pt x="1693" y="171"/>
                  <a:pt x="1693" y="171"/>
                </a:cubicBezTo>
                <a:cubicBezTo>
                  <a:pt x="1705" y="171"/>
                  <a:pt x="1715" y="161"/>
                  <a:pt x="1715" y="149"/>
                </a:cubicBezTo>
                <a:cubicBezTo>
                  <a:pt x="1715" y="137"/>
                  <a:pt x="1705" y="127"/>
                  <a:pt x="1693" y="127"/>
                </a:cubicBezTo>
                <a:cubicBezTo>
                  <a:pt x="1225" y="127"/>
                  <a:pt x="1225" y="127"/>
                  <a:pt x="1225" y="127"/>
                </a:cubicBezTo>
                <a:cubicBezTo>
                  <a:pt x="1221" y="127"/>
                  <a:pt x="1218" y="124"/>
                  <a:pt x="1218" y="120"/>
                </a:cubicBezTo>
                <a:cubicBezTo>
                  <a:pt x="1218" y="116"/>
                  <a:pt x="1221" y="113"/>
                  <a:pt x="1225" y="113"/>
                </a:cubicBezTo>
                <a:cubicBezTo>
                  <a:pt x="1237" y="113"/>
                  <a:pt x="1237" y="113"/>
                  <a:pt x="1237" y="113"/>
                </a:cubicBezTo>
                <a:cubicBezTo>
                  <a:pt x="1249" y="113"/>
                  <a:pt x="1258" y="103"/>
                  <a:pt x="1258" y="91"/>
                </a:cubicBezTo>
                <a:cubicBezTo>
                  <a:pt x="1258" y="79"/>
                  <a:pt x="1249" y="70"/>
                  <a:pt x="1237" y="70"/>
                </a:cubicBezTo>
                <a:cubicBezTo>
                  <a:pt x="622" y="70"/>
                  <a:pt x="622" y="70"/>
                  <a:pt x="622" y="70"/>
                </a:cubicBezTo>
                <a:cubicBezTo>
                  <a:pt x="610" y="70"/>
                  <a:pt x="600" y="79"/>
                  <a:pt x="600" y="91"/>
                </a:cubicBezTo>
                <a:cubicBezTo>
                  <a:pt x="600" y="103"/>
                  <a:pt x="610" y="113"/>
                  <a:pt x="622" y="113"/>
                </a:cubicBezTo>
                <a:cubicBezTo>
                  <a:pt x="754" y="113"/>
                  <a:pt x="754" y="113"/>
                  <a:pt x="754" y="113"/>
                </a:cubicBezTo>
                <a:cubicBezTo>
                  <a:pt x="758" y="113"/>
                  <a:pt x="762" y="116"/>
                  <a:pt x="762" y="120"/>
                </a:cubicBezTo>
                <a:cubicBezTo>
                  <a:pt x="762" y="124"/>
                  <a:pt x="758" y="127"/>
                  <a:pt x="754" y="127"/>
                </a:cubicBezTo>
                <a:cubicBezTo>
                  <a:pt x="561" y="127"/>
                  <a:pt x="561" y="127"/>
                  <a:pt x="561" y="127"/>
                </a:cubicBezTo>
                <a:cubicBezTo>
                  <a:pt x="549" y="127"/>
                  <a:pt x="540" y="137"/>
                  <a:pt x="540" y="149"/>
                </a:cubicBezTo>
                <a:cubicBezTo>
                  <a:pt x="540" y="161"/>
                  <a:pt x="549" y="171"/>
                  <a:pt x="561" y="171"/>
                </a:cubicBezTo>
                <a:cubicBezTo>
                  <a:pt x="749" y="171"/>
                  <a:pt x="749" y="171"/>
                  <a:pt x="749" y="171"/>
                </a:cubicBezTo>
                <a:cubicBezTo>
                  <a:pt x="753" y="171"/>
                  <a:pt x="756" y="174"/>
                  <a:pt x="756" y="178"/>
                </a:cubicBezTo>
                <a:cubicBezTo>
                  <a:pt x="756" y="182"/>
                  <a:pt x="753" y="185"/>
                  <a:pt x="749" y="185"/>
                </a:cubicBezTo>
                <a:cubicBezTo>
                  <a:pt x="581" y="185"/>
                  <a:pt x="581" y="185"/>
                  <a:pt x="581" y="185"/>
                </a:cubicBezTo>
                <a:cubicBezTo>
                  <a:pt x="569" y="185"/>
                  <a:pt x="559" y="195"/>
                  <a:pt x="559" y="207"/>
                </a:cubicBezTo>
                <a:cubicBezTo>
                  <a:pt x="559" y="219"/>
                  <a:pt x="569" y="228"/>
                  <a:pt x="581" y="228"/>
                </a:cubicBezTo>
                <a:cubicBezTo>
                  <a:pt x="734" y="228"/>
                  <a:pt x="734" y="228"/>
                  <a:pt x="734" y="228"/>
                </a:cubicBezTo>
                <a:cubicBezTo>
                  <a:pt x="738" y="228"/>
                  <a:pt x="741" y="232"/>
                  <a:pt x="741" y="236"/>
                </a:cubicBezTo>
                <a:cubicBezTo>
                  <a:pt x="741" y="240"/>
                  <a:pt x="738" y="243"/>
                  <a:pt x="734" y="243"/>
                </a:cubicBezTo>
                <a:cubicBezTo>
                  <a:pt x="600" y="243"/>
                  <a:pt x="600" y="243"/>
                  <a:pt x="600" y="243"/>
                </a:cubicBezTo>
                <a:cubicBezTo>
                  <a:pt x="588" y="243"/>
                  <a:pt x="579" y="253"/>
                  <a:pt x="579" y="265"/>
                </a:cubicBezTo>
                <a:cubicBezTo>
                  <a:pt x="579" y="277"/>
                  <a:pt x="588" y="286"/>
                  <a:pt x="600" y="286"/>
                </a:cubicBezTo>
                <a:cubicBezTo>
                  <a:pt x="721" y="286"/>
                  <a:pt x="721" y="286"/>
                  <a:pt x="721" y="286"/>
                </a:cubicBezTo>
                <a:cubicBezTo>
                  <a:pt x="725" y="286"/>
                  <a:pt x="728" y="290"/>
                  <a:pt x="728" y="294"/>
                </a:cubicBezTo>
                <a:cubicBezTo>
                  <a:pt x="728" y="298"/>
                  <a:pt x="725" y="301"/>
                  <a:pt x="721" y="301"/>
                </a:cubicBezTo>
                <a:cubicBezTo>
                  <a:pt x="601" y="301"/>
                  <a:pt x="601" y="301"/>
                  <a:pt x="601" y="301"/>
                </a:cubicBezTo>
                <a:cubicBezTo>
                  <a:pt x="590" y="301"/>
                  <a:pt x="580" y="311"/>
                  <a:pt x="580" y="322"/>
                </a:cubicBezTo>
                <a:cubicBezTo>
                  <a:pt x="580" y="334"/>
                  <a:pt x="590" y="344"/>
                  <a:pt x="601" y="344"/>
                </a:cubicBezTo>
                <a:cubicBezTo>
                  <a:pt x="625" y="344"/>
                  <a:pt x="625" y="344"/>
                  <a:pt x="625" y="344"/>
                </a:cubicBezTo>
                <a:cubicBezTo>
                  <a:pt x="629" y="344"/>
                  <a:pt x="632" y="347"/>
                  <a:pt x="632" y="351"/>
                </a:cubicBezTo>
                <a:cubicBezTo>
                  <a:pt x="632" y="355"/>
                  <a:pt x="629" y="359"/>
                  <a:pt x="625" y="359"/>
                </a:cubicBezTo>
                <a:cubicBezTo>
                  <a:pt x="526" y="359"/>
                  <a:pt x="526" y="359"/>
                  <a:pt x="526" y="359"/>
                </a:cubicBezTo>
                <a:cubicBezTo>
                  <a:pt x="525" y="358"/>
                  <a:pt x="523" y="358"/>
                  <a:pt x="522" y="358"/>
                </a:cubicBezTo>
                <a:cubicBezTo>
                  <a:pt x="157" y="358"/>
                  <a:pt x="157" y="358"/>
                  <a:pt x="157" y="358"/>
                </a:cubicBezTo>
                <a:cubicBezTo>
                  <a:pt x="153" y="358"/>
                  <a:pt x="149" y="355"/>
                  <a:pt x="149" y="351"/>
                </a:cubicBezTo>
                <a:cubicBezTo>
                  <a:pt x="149" y="347"/>
                  <a:pt x="153" y="344"/>
                  <a:pt x="157" y="344"/>
                </a:cubicBezTo>
                <a:cubicBezTo>
                  <a:pt x="366" y="344"/>
                  <a:pt x="366" y="344"/>
                  <a:pt x="366" y="344"/>
                </a:cubicBezTo>
                <a:cubicBezTo>
                  <a:pt x="378" y="344"/>
                  <a:pt x="388" y="334"/>
                  <a:pt x="388" y="322"/>
                </a:cubicBezTo>
                <a:cubicBezTo>
                  <a:pt x="388" y="310"/>
                  <a:pt x="378" y="301"/>
                  <a:pt x="366" y="301"/>
                </a:cubicBezTo>
                <a:cubicBezTo>
                  <a:pt x="22" y="301"/>
                  <a:pt x="22" y="301"/>
                  <a:pt x="22" y="301"/>
                </a:cubicBezTo>
                <a:cubicBezTo>
                  <a:pt x="18" y="301"/>
                  <a:pt x="15" y="297"/>
                  <a:pt x="15" y="293"/>
                </a:cubicBezTo>
                <a:cubicBezTo>
                  <a:pt x="15" y="289"/>
                  <a:pt x="18" y="286"/>
                  <a:pt x="22" y="286"/>
                </a:cubicBezTo>
                <a:cubicBezTo>
                  <a:pt x="346" y="286"/>
                  <a:pt x="346" y="286"/>
                  <a:pt x="346" y="286"/>
                </a:cubicBezTo>
                <a:cubicBezTo>
                  <a:pt x="358" y="286"/>
                  <a:pt x="367" y="276"/>
                  <a:pt x="367" y="264"/>
                </a:cubicBezTo>
                <a:cubicBezTo>
                  <a:pt x="367" y="252"/>
                  <a:pt x="358" y="243"/>
                  <a:pt x="346" y="243"/>
                </a:cubicBezTo>
                <a:cubicBezTo>
                  <a:pt x="59" y="243"/>
                  <a:pt x="59" y="243"/>
                  <a:pt x="59" y="243"/>
                </a:cubicBezTo>
                <a:cubicBezTo>
                  <a:pt x="55" y="243"/>
                  <a:pt x="52" y="239"/>
                  <a:pt x="52" y="235"/>
                </a:cubicBezTo>
                <a:cubicBezTo>
                  <a:pt x="52" y="231"/>
                  <a:pt x="55" y="228"/>
                  <a:pt x="59" y="228"/>
                </a:cubicBezTo>
                <a:cubicBezTo>
                  <a:pt x="237" y="228"/>
                  <a:pt x="237" y="228"/>
                  <a:pt x="237" y="228"/>
                </a:cubicBezTo>
                <a:cubicBezTo>
                  <a:pt x="249" y="228"/>
                  <a:pt x="258" y="218"/>
                  <a:pt x="258" y="207"/>
                </a:cubicBezTo>
                <a:cubicBezTo>
                  <a:pt x="258" y="195"/>
                  <a:pt x="249" y="185"/>
                  <a:pt x="237" y="185"/>
                </a:cubicBezTo>
                <a:cubicBezTo>
                  <a:pt x="72" y="185"/>
                  <a:pt x="72" y="185"/>
                  <a:pt x="72" y="185"/>
                </a:cubicBezTo>
                <a:cubicBezTo>
                  <a:pt x="68" y="185"/>
                  <a:pt x="64" y="182"/>
                  <a:pt x="64" y="178"/>
                </a:cubicBezTo>
                <a:cubicBezTo>
                  <a:pt x="64" y="174"/>
                  <a:pt x="68" y="170"/>
                  <a:pt x="72" y="170"/>
                </a:cubicBezTo>
                <a:cubicBezTo>
                  <a:pt x="200" y="170"/>
                  <a:pt x="200" y="170"/>
                  <a:pt x="200" y="170"/>
                </a:cubicBezTo>
                <a:cubicBezTo>
                  <a:pt x="273" y="170"/>
                  <a:pt x="333" y="111"/>
                  <a:pt x="333" y="38"/>
                </a:cubicBezTo>
                <a:cubicBezTo>
                  <a:pt x="344" y="38"/>
                  <a:pt x="344" y="38"/>
                  <a:pt x="344" y="38"/>
                </a:cubicBezTo>
                <a:cubicBezTo>
                  <a:pt x="344" y="0"/>
                  <a:pt x="344" y="0"/>
                  <a:pt x="344" y="0"/>
                </a:cubicBezTo>
                <a:cubicBezTo>
                  <a:pt x="306" y="0"/>
                  <a:pt x="306" y="0"/>
                  <a:pt x="306" y="0"/>
                </a:cubicBezTo>
                <a:cubicBezTo>
                  <a:pt x="306" y="38"/>
                  <a:pt x="306" y="38"/>
                  <a:pt x="306" y="38"/>
                </a:cubicBezTo>
                <a:cubicBezTo>
                  <a:pt x="318" y="38"/>
                  <a:pt x="318" y="38"/>
                  <a:pt x="318" y="38"/>
                </a:cubicBezTo>
                <a:cubicBezTo>
                  <a:pt x="318" y="103"/>
                  <a:pt x="265" y="156"/>
                  <a:pt x="200" y="156"/>
                </a:cubicBezTo>
                <a:cubicBezTo>
                  <a:pt x="72" y="156"/>
                  <a:pt x="72" y="156"/>
                  <a:pt x="72" y="156"/>
                </a:cubicBezTo>
                <a:cubicBezTo>
                  <a:pt x="60" y="156"/>
                  <a:pt x="50" y="166"/>
                  <a:pt x="50" y="178"/>
                </a:cubicBezTo>
                <a:cubicBezTo>
                  <a:pt x="50" y="190"/>
                  <a:pt x="60" y="199"/>
                  <a:pt x="72" y="199"/>
                </a:cubicBezTo>
                <a:cubicBezTo>
                  <a:pt x="237" y="199"/>
                  <a:pt x="237" y="199"/>
                  <a:pt x="237" y="199"/>
                </a:cubicBezTo>
                <a:cubicBezTo>
                  <a:pt x="241" y="199"/>
                  <a:pt x="244" y="202"/>
                  <a:pt x="244" y="207"/>
                </a:cubicBezTo>
                <a:cubicBezTo>
                  <a:pt x="244" y="211"/>
                  <a:pt x="241" y="214"/>
                  <a:pt x="237" y="214"/>
                </a:cubicBezTo>
                <a:cubicBezTo>
                  <a:pt x="59" y="214"/>
                  <a:pt x="59" y="214"/>
                  <a:pt x="59" y="214"/>
                </a:cubicBezTo>
                <a:cubicBezTo>
                  <a:pt x="47" y="214"/>
                  <a:pt x="37" y="224"/>
                  <a:pt x="37" y="235"/>
                </a:cubicBezTo>
                <a:cubicBezTo>
                  <a:pt x="37" y="247"/>
                  <a:pt x="47" y="257"/>
                  <a:pt x="59" y="257"/>
                </a:cubicBezTo>
                <a:cubicBezTo>
                  <a:pt x="346" y="257"/>
                  <a:pt x="346" y="257"/>
                  <a:pt x="346" y="257"/>
                </a:cubicBezTo>
                <a:cubicBezTo>
                  <a:pt x="350" y="257"/>
                  <a:pt x="353" y="260"/>
                  <a:pt x="353" y="264"/>
                </a:cubicBezTo>
                <a:cubicBezTo>
                  <a:pt x="353" y="268"/>
                  <a:pt x="350" y="272"/>
                  <a:pt x="346" y="272"/>
                </a:cubicBezTo>
                <a:cubicBezTo>
                  <a:pt x="22" y="272"/>
                  <a:pt x="22" y="272"/>
                  <a:pt x="22" y="272"/>
                </a:cubicBezTo>
                <a:cubicBezTo>
                  <a:pt x="10" y="272"/>
                  <a:pt x="0" y="281"/>
                  <a:pt x="0" y="293"/>
                </a:cubicBezTo>
                <a:cubicBezTo>
                  <a:pt x="0" y="305"/>
                  <a:pt x="10" y="315"/>
                  <a:pt x="22" y="315"/>
                </a:cubicBezTo>
                <a:cubicBezTo>
                  <a:pt x="366" y="315"/>
                  <a:pt x="366" y="315"/>
                  <a:pt x="366" y="315"/>
                </a:cubicBezTo>
                <a:cubicBezTo>
                  <a:pt x="370" y="315"/>
                  <a:pt x="374" y="318"/>
                  <a:pt x="374" y="322"/>
                </a:cubicBezTo>
                <a:cubicBezTo>
                  <a:pt x="374" y="326"/>
                  <a:pt x="370" y="329"/>
                  <a:pt x="366" y="329"/>
                </a:cubicBezTo>
                <a:cubicBezTo>
                  <a:pt x="157" y="329"/>
                  <a:pt x="157" y="329"/>
                  <a:pt x="157" y="329"/>
                </a:cubicBezTo>
                <a:cubicBezTo>
                  <a:pt x="145" y="329"/>
                  <a:pt x="135" y="339"/>
                  <a:pt x="135" y="351"/>
                </a:cubicBezTo>
                <a:cubicBezTo>
                  <a:pt x="135" y="363"/>
                  <a:pt x="145" y="373"/>
                  <a:pt x="157" y="373"/>
                </a:cubicBezTo>
                <a:cubicBezTo>
                  <a:pt x="497" y="373"/>
                  <a:pt x="497" y="373"/>
                  <a:pt x="497" y="373"/>
                </a:cubicBezTo>
                <a:cubicBezTo>
                  <a:pt x="497" y="373"/>
                  <a:pt x="497" y="373"/>
                  <a:pt x="497" y="373"/>
                </a:cubicBezTo>
                <a:cubicBezTo>
                  <a:pt x="524" y="373"/>
                  <a:pt x="524" y="373"/>
                  <a:pt x="524" y="373"/>
                </a:cubicBezTo>
                <a:cubicBezTo>
                  <a:pt x="527" y="374"/>
                  <a:pt x="530" y="377"/>
                  <a:pt x="530" y="380"/>
                </a:cubicBezTo>
                <a:cubicBezTo>
                  <a:pt x="530" y="384"/>
                  <a:pt x="526" y="387"/>
                  <a:pt x="522" y="387"/>
                </a:cubicBezTo>
                <a:cubicBezTo>
                  <a:pt x="164" y="387"/>
                  <a:pt x="164" y="387"/>
                  <a:pt x="164" y="387"/>
                </a:cubicBezTo>
                <a:cubicBezTo>
                  <a:pt x="152" y="387"/>
                  <a:pt x="142" y="397"/>
                  <a:pt x="142" y="409"/>
                </a:cubicBezTo>
                <a:cubicBezTo>
                  <a:pt x="142" y="421"/>
                  <a:pt x="152" y="430"/>
                  <a:pt x="164" y="430"/>
                </a:cubicBezTo>
                <a:cubicBezTo>
                  <a:pt x="518" y="430"/>
                  <a:pt x="518" y="430"/>
                  <a:pt x="518" y="430"/>
                </a:cubicBezTo>
                <a:cubicBezTo>
                  <a:pt x="522" y="430"/>
                  <a:pt x="525" y="434"/>
                  <a:pt x="525" y="438"/>
                </a:cubicBezTo>
                <a:cubicBezTo>
                  <a:pt x="525" y="442"/>
                  <a:pt x="522" y="445"/>
                  <a:pt x="518" y="445"/>
                </a:cubicBezTo>
                <a:cubicBezTo>
                  <a:pt x="180" y="445"/>
                  <a:pt x="180" y="445"/>
                  <a:pt x="180" y="445"/>
                </a:cubicBezTo>
                <a:cubicBezTo>
                  <a:pt x="168" y="445"/>
                  <a:pt x="158" y="455"/>
                  <a:pt x="158" y="467"/>
                </a:cubicBezTo>
                <a:cubicBezTo>
                  <a:pt x="158" y="479"/>
                  <a:pt x="168" y="488"/>
                  <a:pt x="180" y="488"/>
                </a:cubicBezTo>
                <a:cubicBezTo>
                  <a:pt x="433" y="488"/>
                  <a:pt x="433" y="488"/>
                  <a:pt x="433" y="488"/>
                </a:cubicBezTo>
                <a:cubicBezTo>
                  <a:pt x="437" y="488"/>
                  <a:pt x="440" y="492"/>
                  <a:pt x="440" y="496"/>
                </a:cubicBezTo>
                <a:cubicBezTo>
                  <a:pt x="440" y="500"/>
                  <a:pt x="437" y="503"/>
                  <a:pt x="433" y="503"/>
                </a:cubicBezTo>
                <a:cubicBezTo>
                  <a:pt x="162" y="503"/>
                  <a:pt x="162" y="503"/>
                  <a:pt x="162" y="503"/>
                </a:cubicBezTo>
                <a:cubicBezTo>
                  <a:pt x="150" y="503"/>
                  <a:pt x="140" y="513"/>
                  <a:pt x="140" y="524"/>
                </a:cubicBezTo>
                <a:cubicBezTo>
                  <a:pt x="140" y="536"/>
                  <a:pt x="150" y="546"/>
                  <a:pt x="162" y="546"/>
                </a:cubicBezTo>
                <a:cubicBezTo>
                  <a:pt x="381" y="546"/>
                  <a:pt x="381" y="546"/>
                  <a:pt x="381" y="546"/>
                </a:cubicBezTo>
                <a:cubicBezTo>
                  <a:pt x="385" y="546"/>
                  <a:pt x="388" y="549"/>
                  <a:pt x="388" y="553"/>
                </a:cubicBezTo>
                <a:cubicBezTo>
                  <a:pt x="388" y="557"/>
                  <a:pt x="385" y="561"/>
                  <a:pt x="381" y="561"/>
                </a:cubicBezTo>
                <a:cubicBezTo>
                  <a:pt x="190" y="561"/>
                  <a:pt x="190" y="561"/>
                  <a:pt x="190" y="561"/>
                </a:cubicBezTo>
                <a:cubicBezTo>
                  <a:pt x="178" y="561"/>
                  <a:pt x="168" y="570"/>
                  <a:pt x="168" y="582"/>
                </a:cubicBezTo>
                <a:cubicBezTo>
                  <a:pt x="168" y="594"/>
                  <a:pt x="178" y="604"/>
                  <a:pt x="190" y="604"/>
                </a:cubicBezTo>
                <a:cubicBezTo>
                  <a:pt x="266" y="604"/>
                  <a:pt x="266" y="604"/>
                  <a:pt x="266" y="604"/>
                </a:cubicBezTo>
                <a:cubicBezTo>
                  <a:pt x="270" y="604"/>
                  <a:pt x="273" y="607"/>
                  <a:pt x="273" y="611"/>
                </a:cubicBezTo>
                <a:cubicBezTo>
                  <a:pt x="273" y="615"/>
                  <a:pt x="270" y="619"/>
                  <a:pt x="266" y="619"/>
                </a:cubicBezTo>
                <a:cubicBezTo>
                  <a:pt x="236" y="619"/>
                  <a:pt x="236" y="619"/>
                  <a:pt x="236" y="619"/>
                </a:cubicBezTo>
                <a:cubicBezTo>
                  <a:pt x="224" y="619"/>
                  <a:pt x="215" y="628"/>
                  <a:pt x="215" y="640"/>
                </a:cubicBezTo>
                <a:cubicBezTo>
                  <a:pt x="215" y="652"/>
                  <a:pt x="224" y="662"/>
                  <a:pt x="236" y="662"/>
                </a:cubicBezTo>
                <a:cubicBezTo>
                  <a:pt x="276" y="662"/>
                  <a:pt x="276" y="662"/>
                  <a:pt x="276" y="662"/>
                </a:cubicBezTo>
                <a:cubicBezTo>
                  <a:pt x="280" y="662"/>
                  <a:pt x="283" y="665"/>
                  <a:pt x="283" y="669"/>
                </a:cubicBezTo>
                <a:cubicBezTo>
                  <a:pt x="283" y="673"/>
                  <a:pt x="280" y="676"/>
                  <a:pt x="276" y="676"/>
                </a:cubicBezTo>
                <a:cubicBezTo>
                  <a:pt x="273" y="676"/>
                  <a:pt x="273" y="676"/>
                  <a:pt x="273" y="676"/>
                </a:cubicBezTo>
                <a:cubicBezTo>
                  <a:pt x="261" y="676"/>
                  <a:pt x="252" y="686"/>
                  <a:pt x="252" y="698"/>
                </a:cubicBezTo>
                <a:cubicBezTo>
                  <a:pt x="252" y="710"/>
                  <a:pt x="261" y="720"/>
                  <a:pt x="273" y="720"/>
                </a:cubicBezTo>
                <a:cubicBezTo>
                  <a:pt x="353" y="720"/>
                  <a:pt x="353" y="720"/>
                  <a:pt x="353" y="720"/>
                </a:cubicBezTo>
                <a:cubicBezTo>
                  <a:pt x="357" y="720"/>
                  <a:pt x="360" y="723"/>
                  <a:pt x="360" y="727"/>
                </a:cubicBezTo>
                <a:cubicBezTo>
                  <a:pt x="360" y="731"/>
                  <a:pt x="357" y="734"/>
                  <a:pt x="353" y="734"/>
                </a:cubicBezTo>
                <a:cubicBezTo>
                  <a:pt x="337" y="734"/>
                  <a:pt x="337" y="734"/>
                  <a:pt x="337" y="734"/>
                </a:cubicBezTo>
                <a:cubicBezTo>
                  <a:pt x="325" y="734"/>
                  <a:pt x="316" y="744"/>
                  <a:pt x="316" y="756"/>
                </a:cubicBezTo>
                <a:cubicBezTo>
                  <a:pt x="316" y="768"/>
                  <a:pt x="325" y="777"/>
                  <a:pt x="337" y="777"/>
                </a:cubicBezTo>
                <a:cubicBezTo>
                  <a:pt x="529" y="777"/>
                  <a:pt x="529" y="777"/>
                  <a:pt x="529" y="777"/>
                </a:cubicBezTo>
                <a:cubicBezTo>
                  <a:pt x="533" y="777"/>
                  <a:pt x="537" y="781"/>
                  <a:pt x="537" y="785"/>
                </a:cubicBezTo>
                <a:cubicBezTo>
                  <a:pt x="537" y="789"/>
                  <a:pt x="533" y="792"/>
                  <a:pt x="529" y="792"/>
                </a:cubicBezTo>
                <a:cubicBezTo>
                  <a:pt x="377" y="792"/>
                  <a:pt x="377" y="792"/>
                  <a:pt x="377" y="792"/>
                </a:cubicBezTo>
                <a:cubicBezTo>
                  <a:pt x="365" y="792"/>
                  <a:pt x="356" y="802"/>
                  <a:pt x="356" y="814"/>
                </a:cubicBezTo>
                <a:cubicBezTo>
                  <a:pt x="356" y="825"/>
                  <a:pt x="365" y="835"/>
                  <a:pt x="377" y="835"/>
                </a:cubicBezTo>
                <a:cubicBezTo>
                  <a:pt x="607" y="835"/>
                  <a:pt x="607" y="835"/>
                  <a:pt x="607" y="835"/>
                </a:cubicBezTo>
                <a:cubicBezTo>
                  <a:pt x="611" y="835"/>
                  <a:pt x="615" y="838"/>
                  <a:pt x="615" y="842"/>
                </a:cubicBezTo>
                <a:cubicBezTo>
                  <a:pt x="615" y="846"/>
                  <a:pt x="611" y="850"/>
                  <a:pt x="607" y="850"/>
                </a:cubicBezTo>
                <a:cubicBezTo>
                  <a:pt x="417" y="850"/>
                  <a:pt x="417" y="850"/>
                  <a:pt x="417" y="850"/>
                </a:cubicBezTo>
                <a:cubicBezTo>
                  <a:pt x="405" y="850"/>
                  <a:pt x="396" y="859"/>
                  <a:pt x="396" y="871"/>
                </a:cubicBezTo>
                <a:cubicBezTo>
                  <a:pt x="396" y="883"/>
                  <a:pt x="405" y="893"/>
                  <a:pt x="417" y="893"/>
                </a:cubicBezTo>
                <a:cubicBezTo>
                  <a:pt x="593" y="893"/>
                  <a:pt x="593" y="893"/>
                  <a:pt x="593" y="893"/>
                </a:cubicBezTo>
                <a:cubicBezTo>
                  <a:pt x="597" y="893"/>
                  <a:pt x="600" y="896"/>
                  <a:pt x="600" y="900"/>
                </a:cubicBezTo>
                <a:cubicBezTo>
                  <a:pt x="600" y="904"/>
                  <a:pt x="597" y="908"/>
                  <a:pt x="593" y="908"/>
                </a:cubicBezTo>
                <a:cubicBezTo>
                  <a:pt x="446" y="908"/>
                  <a:pt x="446" y="908"/>
                  <a:pt x="446" y="908"/>
                </a:cubicBezTo>
                <a:cubicBezTo>
                  <a:pt x="434" y="908"/>
                  <a:pt x="425" y="917"/>
                  <a:pt x="425" y="929"/>
                </a:cubicBezTo>
                <a:cubicBezTo>
                  <a:pt x="425" y="941"/>
                  <a:pt x="434" y="951"/>
                  <a:pt x="446" y="951"/>
                </a:cubicBezTo>
                <a:cubicBezTo>
                  <a:pt x="551" y="951"/>
                  <a:pt x="551" y="951"/>
                  <a:pt x="551" y="951"/>
                </a:cubicBezTo>
                <a:cubicBezTo>
                  <a:pt x="555" y="951"/>
                  <a:pt x="558" y="954"/>
                  <a:pt x="558" y="958"/>
                </a:cubicBezTo>
                <a:cubicBezTo>
                  <a:pt x="558" y="962"/>
                  <a:pt x="555" y="965"/>
                  <a:pt x="551" y="965"/>
                </a:cubicBezTo>
                <a:cubicBezTo>
                  <a:pt x="438" y="965"/>
                  <a:pt x="438" y="965"/>
                  <a:pt x="438" y="965"/>
                </a:cubicBezTo>
                <a:cubicBezTo>
                  <a:pt x="426" y="965"/>
                  <a:pt x="417" y="975"/>
                  <a:pt x="417" y="987"/>
                </a:cubicBezTo>
                <a:cubicBezTo>
                  <a:pt x="417" y="999"/>
                  <a:pt x="426" y="1009"/>
                  <a:pt x="438" y="1009"/>
                </a:cubicBezTo>
                <a:cubicBezTo>
                  <a:pt x="495" y="1009"/>
                  <a:pt x="495" y="1009"/>
                  <a:pt x="495" y="1009"/>
                </a:cubicBezTo>
                <a:cubicBezTo>
                  <a:pt x="499" y="1009"/>
                  <a:pt x="502" y="1012"/>
                  <a:pt x="502" y="1016"/>
                </a:cubicBezTo>
                <a:cubicBezTo>
                  <a:pt x="502" y="1020"/>
                  <a:pt x="499" y="1023"/>
                  <a:pt x="495" y="1023"/>
                </a:cubicBezTo>
                <a:cubicBezTo>
                  <a:pt x="443" y="1023"/>
                  <a:pt x="443" y="1023"/>
                  <a:pt x="443" y="1023"/>
                </a:cubicBezTo>
                <a:cubicBezTo>
                  <a:pt x="431" y="1023"/>
                  <a:pt x="422" y="1033"/>
                  <a:pt x="422" y="1045"/>
                </a:cubicBezTo>
                <a:cubicBezTo>
                  <a:pt x="422" y="1057"/>
                  <a:pt x="431" y="1066"/>
                  <a:pt x="443" y="1066"/>
                </a:cubicBezTo>
                <a:cubicBezTo>
                  <a:pt x="472" y="1066"/>
                  <a:pt x="472" y="1066"/>
                  <a:pt x="472" y="1066"/>
                </a:cubicBezTo>
                <a:cubicBezTo>
                  <a:pt x="476" y="1066"/>
                  <a:pt x="479" y="1070"/>
                  <a:pt x="479" y="1074"/>
                </a:cubicBezTo>
                <a:cubicBezTo>
                  <a:pt x="479" y="1078"/>
                  <a:pt x="476" y="1081"/>
                  <a:pt x="472" y="1081"/>
                </a:cubicBezTo>
                <a:cubicBezTo>
                  <a:pt x="443" y="1081"/>
                  <a:pt x="443" y="1081"/>
                  <a:pt x="443" y="1081"/>
                </a:cubicBezTo>
                <a:cubicBezTo>
                  <a:pt x="431" y="1081"/>
                  <a:pt x="422" y="1091"/>
                  <a:pt x="422" y="1103"/>
                </a:cubicBezTo>
                <a:cubicBezTo>
                  <a:pt x="422" y="1115"/>
                  <a:pt x="431" y="1124"/>
                  <a:pt x="443" y="1124"/>
                </a:cubicBezTo>
                <a:cubicBezTo>
                  <a:pt x="462" y="1124"/>
                  <a:pt x="462" y="1124"/>
                  <a:pt x="462" y="1124"/>
                </a:cubicBezTo>
                <a:cubicBezTo>
                  <a:pt x="1017" y="1124"/>
                  <a:pt x="1017" y="1124"/>
                  <a:pt x="1017" y="1124"/>
                </a:cubicBezTo>
                <a:cubicBezTo>
                  <a:pt x="1037" y="1124"/>
                  <a:pt x="1053" y="1108"/>
                  <a:pt x="1053" y="1088"/>
                </a:cubicBezTo>
                <a:cubicBezTo>
                  <a:pt x="1053" y="1068"/>
                  <a:pt x="1037" y="1052"/>
                  <a:pt x="1017" y="1052"/>
                </a:cubicBezTo>
                <a:cubicBezTo>
                  <a:pt x="976" y="1052"/>
                  <a:pt x="976" y="1052"/>
                  <a:pt x="976" y="1052"/>
                </a:cubicBezTo>
                <a:cubicBezTo>
                  <a:pt x="964" y="1052"/>
                  <a:pt x="955" y="1042"/>
                  <a:pt x="955" y="1030"/>
                </a:cubicBezTo>
                <a:cubicBezTo>
                  <a:pt x="955" y="1018"/>
                  <a:pt x="964" y="1009"/>
                  <a:pt x="976" y="1009"/>
                </a:cubicBezTo>
                <a:cubicBezTo>
                  <a:pt x="979" y="1009"/>
                  <a:pt x="979" y="1009"/>
                  <a:pt x="979" y="1009"/>
                </a:cubicBezTo>
                <a:cubicBezTo>
                  <a:pt x="990" y="1009"/>
                  <a:pt x="1000" y="999"/>
                  <a:pt x="1000" y="987"/>
                </a:cubicBezTo>
                <a:cubicBezTo>
                  <a:pt x="1000" y="975"/>
                  <a:pt x="990" y="965"/>
                  <a:pt x="979" y="965"/>
                </a:cubicBezTo>
                <a:cubicBezTo>
                  <a:pt x="941" y="965"/>
                  <a:pt x="941" y="965"/>
                  <a:pt x="941" y="965"/>
                </a:cubicBezTo>
                <a:cubicBezTo>
                  <a:pt x="937" y="965"/>
                  <a:pt x="933" y="962"/>
                  <a:pt x="933" y="958"/>
                </a:cubicBezTo>
                <a:cubicBezTo>
                  <a:pt x="933" y="954"/>
                  <a:pt x="937" y="951"/>
                  <a:pt x="941" y="951"/>
                </a:cubicBezTo>
                <a:cubicBezTo>
                  <a:pt x="1017" y="951"/>
                  <a:pt x="1017" y="951"/>
                  <a:pt x="1017" y="951"/>
                </a:cubicBezTo>
                <a:cubicBezTo>
                  <a:pt x="1029" y="951"/>
                  <a:pt x="1039" y="941"/>
                  <a:pt x="1039" y="929"/>
                </a:cubicBezTo>
                <a:cubicBezTo>
                  <a:pt x="1039" y="917"/>
                  <a:pt x="1029" y="908"/>
                  <a:pt x="1017" y="908"/>
                </a:cubicBezTo>
                <a:cubicBezTo>
                  <a:pt x="919" y="908"/>
                  <a:pt x="919" y="908"/>
                  <a:pt x="919" y="908"/>
                </a:cubicBezTo>
                <a:cubicBezTo>
                  <a:pt x="915" y="908"/>
                  <a:pt x="912" y="904"/>
                  <a:pt x="912" y="900"/>
                </a:cubicBezTo>
                <a:cubicBezTo>
                  <a:pt x="912" y="896"/>
                  <a:pt x="915" y="893"/>
                  <a:pt x="919" y="893"/>
                </a:cubicBezTo>
                <a:cubicBezTo>
                  <a:pt x="1053" y="893"/>
                  <a:pt x="1053" y="893"/>
                  <a:pt x="1053" y="893"/>
                </a:cubicBezTo>
                <a:cubicBezTo>
                  <a:pt x="1065" y="893"/>
                  <a:pt x="1075" y="883"/>
                  <a:pt x="1075" y="871"/>
                </a:cubicBezTo>
                <a:cubicBezTo>
                  <a:pt x="1075" y="859"/>
                  <a:pt x="1065" y="850"/>
                  <a:pt x="1053" y="850"/>
                </a:cubicBezTo>
                <a:cubicBezTo>
                  <a:pt x="914" y="850"/>
                  <a:pt x="914" y="850"/>
                  <a:pt x="914" y="850"/>
                </a:cubicBezTo>
                <a:cubicBezTo>
                  <a:pt x="910" y="850"/>
                  <a:pt x="906" y="846"/>
                  <a:pt x="906" y="842"/>
                </a:cubicBezTo>
                <a:cubicBezTo>
                  <a:pt x="906" y="838"/>
                  <a:pt x="910" y="835"/>
                  <a:pt x="914" y="835"/>
                </a:cubicBezTo>
                <a:cubicBezTo>
                  <a:pt x="1049" y="835"/>
                  <a:pt x="1049" y="835"/>
                  <a:pt x="1049" y="835"/>
                </a:cubicBezTo>
                <a:cubicBezTo>
                  <a:pt x="1061" y="835"/>
                  <a:pt x="1071" y="825"/>
                  <a:pt x="1071" y="814"/>
                </a:cubicBezTo>
                <a:cubicBezTo>
                  <a:pt x="1071" y="802"/>
                  <a:pt x="1061" y="792"/>
                  <a:pt x="1049" y="792"/>
                </a:cubicBezTo>
                <a:cubicBezTo>
                  <a:pt x="905" y="792"/>
                  <a:pt x="905" y="792"/>
                  <a:pt x="905" y="792"/>
                </a:cubicBezTo>
                <a:cubicBezTo>
                  <a:pt x="901" y="792"/>
                  <a:pt x="898" y="789"/>
                  <a:pt x="898" y="785"/>
                </a:cubicBezTo>
                <a:cubicBezTo>
                  <a:pt x="898" y="781"/>
                  <a:pt x="901" y="777"/>
                  <a:pt x="905" y="777"/>
                </a:cubicBezTo>
                <a:cubicBezTo>
                  <a:pt x="1104" y="777"/>
                  <a:pt x="1104" y="777"/>
                  <a:pt x="1104" y="777"/>
                </a:cubicBezTo>
                <a:cubicBezTo>
                  <a:pt x="1116" y="777"/>
                  <a:pt x="1125" y="768"/>
                  <a:pt x="1125" y="756"/>
                </a:cubicBezTo>
                <a:cubicBezTo>
                  <a:pt x="1125" y="744"/>
                  <a:pt x="1116" y="734"/>
                  <a:pt x="1104" y="734"/>
                </a:cubicBezTo>
                <a:cubicBezTo>
                  <a:pt x="791" y="734"/>
                  <a:pt x="791" y="734"/>
                  <a:pt x="791" y="734"/>
                </a:cubicBezTo>
                <a:cubicBezTo>
                  <a:pt x="787" y="734"/>
                  <a:pt x="784" y="731"/>
                  <a:pt x="784" y="727"/>
                </a:cubicBezTo>
                <a:cubicBezTo>
                  <a:pt x="784" y="723"/>
                  <a:pt x="787" y="720"/>
                  <a:pt x="791" y="720"/>
                </a:cubicBezTo>
                <a:cubicBezTo>
                  <a:pt x="1046" y="720"/>
                  <a:pt x="1046" y="720"/>
                  <a:pt x="1046" y="720"/>
                </a:cubicBezTo>
                <a:cubicBezTo>
                  <a:pt x="1058" y="720"/>
                  <a:pt x="1068" y="710"/>
                  <a:pt x="1068" y="698"/>
                </a:cubicBezTo>
                <a:cubicBezTo>
                  <a:pt x="1068" y="686"/>
                  <a:pt x="1058" y="676"/>
                  <a:pt x="1046" y="676"/>
                </a:cubicBezTo>
                <a:cubicBezTo>
                  <a:pt x="763" y="676"/>
                  <a:pt x="763" y="676"/>
                  <a:pt x="763" y="676"/>
                </a:cubicBezTo>
                <a:cubicBezTo>
                  <a:pt x="759" y="676"/>
                  <a:pt x="755" y="673"/>
                  <a:pt x="755" y="669"/>
                </a:cubicBezTo>
                <a:cubicBezTo>
                  <a:pt x="755" y="665"/>
                  <a:pt x="759" y="662"/>
                  <a:pt x="763" y="662"/>
                </a:cubicBezTo>
                <a:cubicBezTo>
                  <a:pt x="1011" y="662"/>
                  <a:pt x="1011" y="662"/>
                  <a:pt x="1011" y="662"/>
                </a:cubicBezTo>
                <a:cubicBezTo>
                  <a:pt x="1022" y="662"/>
                  <a:pt x="1032" y="652"/>
                  <a:pt x="1032" y="640"/>
                </a:cubicBezTo>
                <a:cubicBezTo>
                  <a:pt x="1032" y="628"/>
                  <a:pt x="1022" y="619"/>
                  <a:pt x="1011" y="619"/>
                </a:cubicBezTo>
                <a:cubicBezTo>
                  <a:pt x="805" y="619"/>
                  <a:pt x="805" y="619"/>
                  <a:pt x="805" y="619"/>
                </a:cubicBezTo>
                <a:cubicBezTo>
                  <a:pt x="801" y="619"/>
                  <a:pt x="798" y="615"/>
                  <a:pt x="798" y="611"/>
                </a:cubicBezTo>
                <a:cubicBezTo>
                  <a:pt x="798" y="607"/>
                  <a:pt x="801" y="604"/>
                  <a:pt x="805" y="604"/>
                </a:cubicBezTo>
                <a:cubicBezTo>
                  <a:pt x="860" y="604"/>
                  <a:pt x="860" y="604"/>
                  <a:pt x="860" y="604"/>
                </a:cubicBezTo>
                <a:cubicBezTo>
                  <a:pt x="872" y="604"/>
                  <a:pt x="881" y="594"/>
                  <a:pt x="881" y="582"/>
                </a:cubicBezTo>
                <a:cubicBezTo>
                  <a:pt x="881" y="570"/>
                  <a:pt x="872" y="561"/>
                  <a:pt x="860" y="561"/>
                </a:cubicBezTo>
                <a:cubicBezTo>
                  <a:pt x="805" y="561"/>
                  <a:pt x="805" y="561"/>
                  <a:pt x="805" y="561"/>
                </a:cubicBezTo>
                <a:cubicBezTo>
                  <a:pt x="801" y="561"/>
                  <a:pt x="798" y="557"/>
                  <a:pt x="798" y="553"/>
                </a:cubicBezTo>
                <a:cubicBezTo>
                  <a:pt x="798" y="549"/>
                  <a:pt x="801" y="546"/>
                  <a:pt x="805" y="546"/>
                </a:cubicBezTo>
                <a:cubicBezTo>
                  <a:pt x="972" y="546"/>
                  <a:pt x="972" y="546"/>
                  <a:pt x="972" y="546"/>
                </a:cubicBezTo>
                <a:cubicBezTo>
                  <a:pt x="984" y="546"/>
                  <a:pt x="993" y="536"/>
                  <a:pt x="993" y="524"/>
                </a:cubicBezTo>
                <a:cubicBezTo>
                  <a:pt x="993" y="513"/>
                  <a:pt x="984" y="503"/>
                  <a:pt x="972" y="503"/>
                </a:cubicBezTo>
                <a:cubicBezTo>
                  <a:pt x="846" y="503"/>
                  <a:pt x="846" y="503"/>
                  <a:pt x="846" y="503"/>
                </a:cubicBezTo>
                <a:cubicBezTo>
                  <a:pt x="842" y="503"/>
                  <a:pt x="839" y="500"/>
                  <a:pt x="839" y="496"/>
                </a:cubicBezTo>
                <a:cubicBezTo>
                  <a:pt x="839" y="492"/>
                  <a:pt x="842" y="488"/>
                  <a:pt x="846" y="488"/>
                </a:cubicBezTo>
                <a:cubicBezTo>
                  <a:pt x="969" y="488"/>
                  <a:pt x="969" y="488"/>
                  <a:pt x="969" y="488"/>
                </a:cubicBezTo>
                <a:cubicBezTo>
                  <a:pt x="981" y="488"/>
                  <a:pt x="991" y="479"/>
                  <a:pt x="991" y="467"/>
                </a:cubicBezTo>
                <a:cubicBezTo>
                  <a:pt x="991" y="455"/>
                  <a:pt x="981" y="445"/>
                  <a:pt x="969" y="445"/>
                </a:cubicBezTo>
                <a:cubicBezTo>
                  <a:pt x="768" y="445"/>
                  <a:pt x="768" y="445"/>
                  <a:pt x="768" y="445"/>
                </a:cubicBezTo>
                <a:cubicBezTo>
                  <a:pt x="764" y="445"/>
                  <a:pt x="761" y="442"/>
                  <a:pt x="761" y="438"/>
                </a:cubicBezTo>
                <a:cubicBezTo>
                  <a:pt x="761" y="434"/>
                  <a:pt x="764" y="430"/>
                  <a:pt x="768" y="430"/>
                </a:cubicBezTo>
                <a:cubicBezTo>
                  <a:pt x="804" y="430"/>
                  <a:pt x="804" y="430"/>
                  <a:pt x="804" y="430"/>
                </a:cubicBezTo>
                <a:cubicBezTo>
                  <a:pt x="816" y="430"/>
                  <a:pt x="826" y="421"/>
                  <a:pt x="826" y="409"/>
                </a:cubicBezTo>
                <a:cubicBezTo>
                  <a:pt x="826" y="397"/>
                  <a:pt x="816" y="387"/>
                  <a:pt x="804" y="387"/>
                </a:cubicBezTo>
                <a:cubicBezTo>
                  <a:pt x="766" y="387"/>
                  <a:pt x="766" y="387"/>
                  <a:pt x="766" y="387"/>
                </a:cubicBezTo>
                <a:cubicBezTo>
                  <a:pt x="762" y="387"/>
                  <a:pt x="759" y="384"/>
                  <a:pt x="759" y="380"/>
                </a:cubicBezTo>
                <a:cubicBezTo>
                  <a:pt x="759" y="376"/>
                  <a:pt x="762" y="373"/>
                  <a:pt x="766" y="373"/>
                </a:cubicBezTo>
                <a:cubicBezTo>
                  <a:pt x="885" y="373"/>
                  <a:pt x="885" y="373"/>
                  <a:pt x="885" y="373"/>
                </a:cubicBezTo>
                <a:cubicBezTo>
                  <a:pt x="886" y="373"/>
                  <a:pt x="887" y="373"/>
                  <a:pt x="888" y="373"/>
                </a:cubicBezTo>
                <a:cubicBezTo>
                  <a:pt x="1592" y="373"/>
                  <a:pt x="1592" y="373"/>
                  <a:pt x="1592" y="373"/>
                </a:cubicBezTo>
                <a:cubicBezTo>
                  <a:pt x="1596" y="373"/>
                  <a:pt x="1599" y="376"/>
                  <a:pt x="1599" y="380"/>
                </a:cubicBezTo>
                <a:cubicBezTo>
                  <a:pt x="1599" y="384"/>
                  <a:pt x="1596" y="388"/>
                  <a:pt x="1592" y="388"/>
                </a:cubicBezTo>
                <a:cubicBezTo>
                  <a:pt x="855" y="388"/>
                  <a:pt x="855" y="388"/>
                  <a:pt x="855" y="388"/>
                </a:cubicBezTo>
                <a:cubicBezTo>
                  <a:pt x="843" y="388"/>
                  <a:pt x="834" y="397"/>
                  <a:pt x="834" y="409"/>
                </a:cubicBezTo>
                <a:cubicBezTo>
                  <a:pt x="834" y="421"/>
                  <a:pt x="843" y="431"/>
                  <a:pt x="855" y="431"/>
                </a:cubicBezTo>
                <a:cubicBezTo>
                  <a:pt x="1592" y="431"/>
                  <a:pt x="1592" y="431"/>
                  <a:pt x="1592" y="431"/>
                </a:cubicBezTo>
                <a:cubicBezTo>
                  <a:pt x="1596" y="431"/>
                  <a:pt x="1599" y="434"/>
                  <a:pt x="1599" y="438"/>
                </a:cubicBezTo>
                <a:cubicBezTo>
                  <a:pt x="1599" y="442"/>
                  <a:pt x="1596" y="445"/>
                  <a:pt x="1592" y="445"/>
                </a:cubicBezTo>
                <a:cubicBezTo>
                  <a:pt x="1039" y="445"/>
                  <a:pt x="1039" y="445"/>
                  <a:pt x="1039" y="445"/>
                </a:cubicBezTo>
                <a:cubicBezTo>
                  <a:pt x="1027" y="445"/>
                  <a:pt x="1017" y="455"/>
                  <a:pt x="1017" y="467"/>
                </a:cubicBezTo>
                <a:cubicBezTo>
                  <a:pt x="1017" y="479"/>
                  <a:pt x="1027" y="489"/>
                  <a:pt x="1039" y="489"/>
                </a:cubicBezTo>
                <a:cubicBezTo>
                  <a:pt x="1553" y="489"/>
                  <a:pt x="1553" y="489"/>
                  <a:pt x="1553" y="489"/>
                </a:cubicBezTo>
                <a:cubicBezTo>
                  <a:pt x="1557" y="489"/>
                  <a:pt x="1560" y="492"/>
                  <a:pt x="1560" y="496"/>
                </a:cubicBezTo>
                <a:cubicBezTo>
                  <a:pt x="1560" y="500"/>
                  <a:pt x="1557" y="503"/>
                  <a:pt x="1553" y="503"/>
                </a:cubicBezTo>
                <a:cubicBezTo>
                  <a:pt x="1039" y="503"/>
                  <a:pt x="1039" y="503"/>
                  <a:pt x="1039" y="503"/>
                </a:cubicBezTo>
                <a:cubicBezTo>
                  <a:pt x="1027" y="503"/>
                  <a:pt x="1017" y="513"/>
                  <a:pt x="1017" y="525"/>
                </a:cubicBezTo>
                <a:cubicBezTo>
                  <a:pt x="1017" y="537"/>
                  <a:pt x="1027" y="546"/>
                  <a:pt x="1039" y="546"/>
                </a:cubicBezTo>
                <a:cubicBezTo>
                  <a:pt x="1528" y="546"/>
                  <a:pt x="1528" y="546"/>
                  <a:pt x="1528" y="546"/>
                </a:cubicBezTo>
                <a:cubicBezTo>
                  <a:pt x="1532" y="546"/>
                  <a:pt x="1536" y="550"/>
                  <a:pt x="1536" y="554"/>
                </a:cubicBezTo>
                <a:cubicBezTo>
                  <a:pt x="1536" y="558"/>
                  <a:pt x="1532" y="561"/>
                  <a:pt x="1528" y="561"/>
                </a:cubicBezTo>
                <a:cubicBezTo>
                  <a:pt x="1019" y="561"/>
                  <a:pt x="1019" y="561"/>
                  <a:pt x="1019" y="561"/>
                </a:cubicBezTo>
                <a:cubicBezTo>
                  <a:pt x="1007" y="561"/>
                  <a:pt x="997" y="571"/>
                  <a:pt x="997" y="583"/>
                </a:cubicBezTo>
                <a:cubicBezTo>
                  <a:pt x="997" y="595"/>
                  <a:pt x="1007" y="604"/>
                  <a:pt x="1019" y="604"/>
                </a:cubicBezTo>
                <a:cubicBezTo>
                  <a:pt x="1526" y="604"/>
                  <a:pt x="1526" y="604"/>
                  <a:pt x="1526" y="604"/>
                </a:cubicBezTo>
                <a:cubicBezTo>
                  <a:pt x="1530" y="604"/>
                  <a:pt x="1534" y="607"/>
                  <a:pt x="1534" y="612"/>
                </a:cubicBezTo>
                <a:cubicBezTo>
                  <a:pt x="1534" y="616"/>
                  <a:pt x="1530" y="619"/>
                  <a:pt x="1526" y="619"/>
                </a:cubicBezTo>
                <a:cubicBezTo>
                  <a:pt x="1068" y="619"/>
                  <a:pt x="1068" y="619"/>
                  <a:pt x="1068" y="619"/>
                </a:cubicBezTo>
                <a:cubicBezTo>
                  <a:pt x="1056" y="619"/>
                  <a:pt x="1046" y="629"/>
                  <a:pt x="1046" y="640"/>
                </a:cubicBezTo>
                <a:cubicBezTo>
                  <a:pt x="1046" y="652"/>
                  <a:pt x="1056" y="662"/>
                  <a:pt x="1068" y="662"/>
                </a:cubicBezTo>
                <a:cubicBezTo>
                  <a:pt x="1436" y="662"/>
                  <a:pt x="1436" y="662"/>
                  <a:pt x="1436" y="662"/>
                </a:cubicBezTo>
                <a:cubicBezTo>
                  <a:pt x="1440" y="662"/>
                  <a:pt x="1443" y="665"/>
                  <a:pt x="1443" y="669"/>
                </a:cubicBezTo>
                <a:cubicBezTo>
                  <a:pt x="1443" y="673"/>
                  <a:pt x="1440" y="677"/>
                  <a:pt x="1436" y="677"/>
                </a:cubicBezTo>
                <a:cubicBezTo>
                  <a:pt x="1287" y="677"/>
                  <a:pt x="1287" y="677"/>
                  <a:pt x="1287" y="677"/>
                </a:cubicBezTo>
                <a:cubicBezTo>
                  <a:pt x="1276" y="677"/>
                  <a:pt x="1266" y="686"/>
                  <a:pt x="1266" y="698"/>
                </a:cubicBezTo>
                <a:cubicBezTo>
                  <a:pt x="1266" y="710"/>
                  <a:pt x="1276" y="720"/>
                  <a:pt x="1287" y="720"/>
                </a:cubicBezTo>
                <a:cubicBezTo>
                  <a:pt x="1454" y="720"/>
                  <a:pt x="1454" y="720"/>
                  <a:pt x="1454" y="720"/>
                </a:cubicBezTo>
                <a:cubicBezTo>
                  <a:pt x="1458" y="720"/>
                  <a:pt x="1461" y="723"/>
                  <a:pt x="1461" y="727"/>
                </a:cubicBezTo>
                <a:cubicBezTo>
                  <a:pt x="1461" y="731"/>
                  <a:pt x="1458" y="734"/>
                  <a:pt x="1454" y="734"/>
                </a:cubicBezTo>
                <a:cubicBezTo>
                  <a:pt x="1321" y="734"/>
                  <a:pt x="1321" y="734"/>
                  <a:pt x="1321" y="734"/>
                </a:cubicBezTo>
                <a:cubicBezTo>
                  <a:pt x="1309" y="734"/>
                  <a:pt x="1300" y="744"/>
                  <a:pt x="1300" y="756"/>
                </a:cubicBezTo>
                <a:cubicBezTo>
                  <a:pt x="1300" y="768"/>
                  <a:pt x="1309" y="778"/>
                  <a:pt x="1321" y="778"/>
                </a:cubicBezTo>
                <a:cubicBezTo>
                  <a:pt x="1549" y="778"/>
                  <a:pt x="1549" y="778"/>
                  <a:pt x="1549" y="778"/>
                </a:cubicBezTo>
                <a:cubicBezTo>
                  <a:pt x="1553" y="778"/>
                  <a:pt x="1556" y="781"/>
                  <a:pt x="1556" y="785"/>
                </a:cubicBezTo>
                <a:cubicBezTo>
                  <a:pt x="1556" y="789"/>
                  <a:pt x="1553" y="792"/>
                  <a:pt x="1549" y="792"/>
                </a:cubicBezTo>
                <a:cubicBezTo>
                  <a:pt x="1455" y="792"/>
                  <a:pt x="1455" y="792"/>
                  <a:pt x="1455" y="792"/>
                </a:cubicBezTo>
                <a:cubicBezTo>
                  <a:pt x="1443" y="792"/>
                  <a:pt x="1434" y="802"/>
                  <a:pt x="1434" y="814"/>
                </a:cubicBezTo>
                <a:cubicBezTo>
                  <a:pt x="1434" y="826"/>
                  <a:pt x="1443" y="835"/>
                  <a:pt x="1455" y="835"/>
                </a:cubicBezTo>
                <a:cubicBezTo>
                  <a:pt x="1623" y="835"/>
                  <a:pt x="1623" y="835"/>
                  <a:pt x="1623" y="835"/>
                </a:cubicBezTo>
                <a:cubicBezTo>
                  <a:pt x="1635" y="835"/>
                  <a:pt x="1645" y="826"/>
                  <a:pt x="1645" y="814"/>
                </a:cubicBezTo>
                <a:cubicBezTo>
                  <a:pt x="1645" y="802"/>
                  <a:pt x="1635" y="792"/>
                  <a:pt x="1623" y="792"/>
                </a:cubicBezTo>
                <a:cubicBezTo>
                  <a:pt x="1607" y="792"/>
                  <a:pt x="1607" y="792"/>
                  <a:pt x="1607" y="792"/>
                </a:cubicBezTo>
                <a:cubicBezTo>
                  <a:pt x="1603" y="792"/>
                  <a:pt x="1600" y="789"/>
                  <a:pt x="1600" y="785"/>
                </a:cubicBezTo>
                <a:cubicBezTo>
                  <a:pt x="1600" y="781"/>
                  <a:pt x="1603" y="778"/>
                  <a:pt x="1607" y="778"/>
                </a:cubicBezTo>
                <a:cubicBezTo>
                  <a:pt x="1683" y="778"/>
                  <a:pt x="1683" y="778"/>
                  <a:pt x="1683" y="778"/>
                </a:cubicBezTo>
                <a:cubicBezTo>
                  <a:pt x="1687" y="778"/>
                  <a:pt x="1690" y="781"/>
                  <a:pt x="1690" y="785"/>
                </a:cubicBezTo>
                <a:cubicBezTo>
                  <a:pt x="1690" y="789"/>
                  <a:pt x="1687" y="792"/>
                  <a:pt x="1683" y="792"/>
                </a:cubicBezTo>
                <a:cubicBezTo>
                  <a:pt x="1673" y="792"/>
                  <a:pt x="1673" y="792"/>
                  <a:pt x="1673" y="792"/>
                </a:cubicBezTo>
                <a:cubicBezTo>
                  <a:pt x="1662" y="792"/>
                  <a:pt x="1652" y="802"/>
                  <a:pt x="1652" y="814"/>
                </a:cubicBezTo>
                <a:cubicBezTo>
                  <a:pt x="1652" y="826"/>
                  <a:pt x="1662" y="835"/>
                  <a:pt x="1673" y="835"/>
                </a:cubicBezTo>
                <a:cubicBezTo>
                  <a:pt x="1681" y="835"/>
                  <a:pt x="1681" y="835"/>
                  <a:pt x="1681" y="835"/>
                </a:cubicBezTo>
                <a:cubicBezTo>
                  <a:pt x="1693" y="835"/>
                  <a:pt x="1703" y="845"/>
                  <a:pt x="1703" y="857"/>
                </a:cubicBezTo>
                <a:cubicBezTo>
                  <a:pt x="1703" y="869"/>
                  <a:pt x="1693" y="879"/>
                  <a:pt x="1681" y="879"/>
                </a:cubicBezTo>
                <a:cubicBezTo>
                  <a:pt x="1550" y="879"/>
                  <a:pt x="1550" y="879"/>
                  <a:pt x="1550" y="879"/>
                </a:cubicBezTo>
                <a:cubicBezTo>
                  <a:pt x="1538" y="879"/>
                  <a:pt x="1529" y="889"/>
                  <a:pt x="1529" y="901"/>
                </a:cubicBezTo>
                <a:cubicBezTo>
                  <a:pt x="1529" y="913"/>
                  <a:pt x="1538" y="922"/>
                  <a:pt x="1550" y="922"/>
                </a:cubicBezTo>
                <a:cubicBezTo>
                  <a:pt x="1697" y="922"/>
                  <a:pt x="1697" y="922"/>
                  <a:pt x="1697" y="922"/>
                </a:cubicBezTo>
                <a:cubicBezTo>
                  <a:pt x="1701" y="922"/>
                  <a:pt x="1704" y="925"/>
                  <a:pt x="1704" y="929"/>
                </a:cubicBezTo>
                <a:cubicBezTo>
                  <a:pt x="1704" y="934"/>
                  <a:pt x="1701" y="937"/>
                  <a:pt x="1697" y="937"/>
                </a:cubicBezTo>
                <a:cubicBezTo>
                  <a:pt x="1504" y="937"/>
                  <a:pt x="1504" y="937"/>
                  <a:pt x="1504" y="937"/>
                </a:cubicBezTo>
                <a:cubicBezTo>
                  <a:pt x="1492" y="937"/>
                  <a:pt x="1482" y="946"/>
                  <a:pt x="1482" y="958"/>
                </a:cubicBezTo>
                <a:cubicBezTo>
                  <a:pt x="1482" y="970"/>
                  <a:pt x="1492" y="980"/>
                  <a:pt x="1504" y="980"/>
                </a:cubicBezTo>
                <a:cubicBezTo>
                  <a:pt x="1712" y="980"/>
                  <a:pt x="1712" y="980"/>
                  <a:pt x="1712" y="980"/>
                </a:cubicBezTo>
                <a:cubicBezTo>
                  <a:pt x="1716" y="980"/>
                  <a:pt x="1719" y="983"/>
                  <a:pt x="1719" y="987"/>
                </a:cubicBezTo>
                <a:cubicBezTo>
                  <a:pt x="1719" y="991"/>
                  <a:pt x="1716" y="995"/>
                  <a:pt x="1712" y="995"/>
                </a:cubicBezTo>
                <a:cubicBezTo>
                  <a:pt x="1505" y="995"/>
                  <a:pt x="1505" y="995"/>
                  <a:pt x="1505" y="995"/>
                </a:cubicBezTo>
                <a:cubicBezTo>
                  <a:pt x="1494" y="995"/>
                  <a:pt x="1484" y="1004"/>
                  <a:pt x="1484" y="1016"/>
                </a:cubicBezTo>
                <a:cubicBezTo>
                  <a:pt x="1484" y="1028"/>
                  <a:pt x="1494" y="1038"/>
                  <a:pt x="1505" y="1038"/>
                </a:cubicBezTo>
                <a:cubicBezTo>
                  <a:pt x="1693" y="1038"/>
                  <a:pt x="1693" y="1038"/>
                  <a:pt x="1693" y="1038"/>
                </a:cubicBezTo>
                <a:cubicBezTo>
                  <a:pt x="1697" y="1038"/>
                  <a:pt x="1701" y="1041"/>
                  <a:pt x="1701" y="1045"/>
                </a:cubicBezTo>
                <a:cubicBezTo>
                  <a:pt x="1701" y="1049"/>
                  <a:pt x="1697" y="1052"/>
                  <a:pt x="1693" y="1052"/>
                </a:cubicBezTo>
                <a:cubicBezTo>
                  <a:pt x="1635" y="1052"/>
                  <a:pt x="1635" y="1052"/>
                  <a:pt x="1635" y="1052"/>
                </a:cubicBezTo>
                <a:cubicBezTo>
                  <a:pt x="1623" y="1052"/>
                  <a:pt x="1613" y="1062"/>
                  <a:pt x="1613" y="1074"/>
                </a:cubicBezTo>
                <a:cubicBezTo>
                  <a:pt x="1613" y="1086"/>
                  <a:pt x="1623" y="1096"/>
                  <a:pt x="1635" y="1096"/>
                </a:cubicBezTo>
                <a:cubicBezTo>
                  <a:pt x="1658" y="1096"/>
                  <a:pt x="1658" y="1096"/>
                  <a:pt x="1658" y="1096"/>
                </a:cubicBezTo>
                <a:cubicBezTo>
                  <a:pt x="1662" y="1096"/>
                  <a:pt x="1665" y="1099"/>
                  <a:pt x="1665" y="1103"/>
                </a:cubicBezTo>
                <a:cubicBezTo>
                  <a:pt x="1665" y="1107"/>
                  <a:pt x="1662" y="1110"/>
                  <a:pt x="1658" y="1110"/>
                </a:cubicBezTo>
                <a:cubicBezTo>
                  <a:pt x="1650" y="1110"/>
                  <a:pt x="1650" y="1110"/>
                  <a:pt x="1650" y="1110"/>
                </a:cubicBezTo>
                <a:cubicBezTo>
                  <a:pt x="1630" y="1110"/>
                  <a:pt x="1614" y="1126"/>
                  <a:pt x="1614" y="1146"/>
                </a:cubicBezTo>
                <a:cubicBezTo>
                  <a:pt x="1614" y="1166"/>
                  <a:pt x="1630" y="1182"/>
                  <a:pt x="1650" y="1182"/>
                </a:cubicBezTo>
                <a:cubicBezTo>
                  <a:pt x="1789" y="1182"/>
                  <a:pt x="1789" y="1182"/>
                  <a:pt x="1789" y="1182"/>
                </a:cubicBezTo>
                <a:cubicBezTo>
                  <a:pt x="1801" y="1182"/>
                  <a:pt x="1811" y="1173"/>
                  <a:pt x="1811" y="1161"/>
                </a:cubicBezTo>
                <a:cubicBezTo>
                  <a:pt x="1811" y="1149"/>
                  <a:pt x="1801" y="1139"/>
                  <a:pt x="1789" y="1139"/>
                </a:cubicBezTo>
                <a:cubicBezTo>
                  <a:pt x="1766" y="1139"/>
                  <a:pt x="1766" y="1139"/>
                  <a:pt x="1766" y="1139"/>
                </a:cubicBezTo>
                <a:cubicBezTo>
                  <a:pt x="1762" y="1139"/>
                  <a:pt x="1759" y="1136"/>
                  <a:pt x="1759" y="1132"/>
                </a:cubicBezTo>
                <a:cubicBezTo>
                  <a:pt x="1759" y="1128"/>
                  <a:pt x="1762" y="1125"/>
                  <a:pt x="1766" y="1125"/>
                </a:cubicBezTo>
                <a:cubicBezTo>
                  <a:pt x="1824" y="1125"/>
                  <a:pt x="1824" y="1125"/>
                  <a:pt x="1824" y="1125"/>
                </a:cubicBezTo>
                <a:cubicBezTo>
                  <a:pt x="1836" y="1125"/>
                  <a:pt x="1846" y="1115"/>
                  <a:pt x="1846" y="1103"/>
                </a:cubicBezTo>
                <a:cubicBezTo>
                  <a:pt x="1846" y="1091"/>
                  <a:pt x="1836" y="1081"/>
                  <a:pt x="1824" y="1081"/>
                </a:cubicBezTo>
                <a:cubicBezTo>
                  <a:pt x="1797" y="1081"/>
                  <a:pt x="1797" y="1081"/>
                  <a:pt x="1797" y="1081"/>
                </a:cubicBezTo>
                <a:cubicBezTo>
                  <a:pt x="1793" y="1081"/>
                  <a:pt x="1790" y="1078"/>
                  <a:pt x="1790" y="1074"/>
                </a:cubicBezTo>
                <a:cubicBezTo>
                  <a:pt x="1790" y="1070"/>
                  <a:pt x="1793" y="1067"/>
                  <a:pt x="1797" y="1067"/>
                </a:cubicBezTo>
                <a:cubicBezTo>
                  <a:pt x="1843" y="1067"/>
                  <a:pt x="1843" y="1067"/>
                  <a:pt x="1843" y="1067"/>
                </a:cubicBezTo>
                <a:cubicBezTo>
                  <a:pt x="1855" y="1067"/>
                  <a:pt x="1864" y="1057"/>
                  <a:pt x="1864" y="1045"/>
                </a:cubicBezTo>
                <a:cubicBezTo>
                  <a:pt x="1864" y="1033"/>
                  <a:pt x="1855" y="1024"/>
                  <a:pt x="1843" y="1024"/>
                </a:cubicBezTo>
                <a:cubicBezTo>
                  <a:pt x="1791" y="1023"/>
                  <a:pt x="1791" y="1023"/>
                  <a:pt x="1791" y="1023"/>
                </a:cubicBezTo>
                <a:cubicBezTo>
                  <a:pt x="1787" y="1023"/>
                  <a:pt x="1784" y="1020"/>
                  <a:pt x="1784" y="1016"/>
                </a:cubicBezTo>
                <a:cubicBezTo>
                  <a:pt x="1784" y="1012"/>
                  <a:pt x="1787" y="1009"/>
                  <a:pt x="1791" y="1009"/>
                </a:cubicBezTo>
                <a:cubicBezTo>
                  <a:pt x="1876" y="1009"/>
                  <a:pt x="1876" y="1009"/>
                  <a:pt x="1876" y="1009"/>
                </a:cubicBezTo>
                <a:cubicBezTo>
                  <a:pt x="1945" y="1009"/>
                  <a:pt x="2002" y="955"/>
                  <a:pt x="2008" y="887"/>
                </a:cubicBezTo>
                <a:cubicBezTo>
                  <a:pt x="2015" y="884"/>
                  <a:pt x="2020" y="878"/>
                  <a:pt x="2020" y="870"/>
                </a:cubicBezTo>
                <a:cubicBezTo>
                  <a:pt x="2020" y="860"/>
                  <a:pt x="2011" y="851"/>
                  <a:pt x="2001" y="851"/>
                </a:cubicBezTo>
                <a:close/>
                <a:moveTo>
                  <a:pt x="868" y="358"/>
                </a:moveTo>
                <a:cubicBezTo>
                  <a:pt x="766" y="358"/>
                  <a:pt x="766" y="358"/>
                  <a:pt x="766" y="358"/>
                </a:cubicBezTo>
                <a:cubicBezTo>
                  <a:pt x="754" y="358"/>
                  <a:pt x="744" y="368"/>
                  <a:pt x="744" y="380"/>
                </a:cubicBezTo>
                <a:cubicBezTo>
                  <a:pt x="744" y="392"/>
                  <a:pt x="754" y="402"/>
                  <a:pt x="766" y="402"/>
                </a:cubicBezTo>
                <a:cubicBezTo>
                  <a:pt x="804" y="402"/>
                  <a:pt x="804" y="402"/>
                  <a:pt x="804" y="402"/>
                </a:cubicBezTo>
                <a:cubicBezTo>
                  <a:pt x="809" y="402"/>
                  <a:pt x="812" y="405"/>
                  <a:pt x="812" y="409"/>
                </a:cubicBezTo>
                <a:cubicBezTo>
                  <a:pt x="812" y="413"/>
                  <a:pt x="809" y="416"/>
                  <a:pt x="804" y="416"/>
                </a:cubicBezTo>
                <a:cubicBezTo>
                  <a:pt x="768" y="416"/>
                  <a:pt x="768" y="416"/>
                  <a:pt x="768" y="416"/>
                </a:cubicBezTo>
                <a:cubicBezTo>
                  <a:pt x="756" y="416"/>
                  <a:pt x="747" y="426"/>
                  <a:pt x="747" y="438"/>
                </a:cubicBezTo>
                <a:cubicBezTo>
                  <a:pt x="747" y="450"/>
                  <a:pt x="756" y="459"/>
                  <a:pt x="768" y="459"/>
                </a:cubicBezTo>
                <a:cubicBezTo>
                  <a:pt x="969" y="459"/>
                  <a:pt x="969" y="459"/>
                  <a:pt x="969" y="459"/>
                </a:cubicBezTo>
                <a:cubicBezTo>
                  <a:pt x="973" y="459"/>
                  <a:pt x="977" y="463"/>
                  <a:pt x="977" y="467"/>
                </a:cubicBezTo>
                <a:cubicBezTo>
                  <a:pt x="977" y="471"/>
                  <a:pt x="973" y="474"/>
                  <a:pt x="969" y="474"/>
                </a:cubicBezTo>
                <a:cubicBezTo>
                  <a:pt x="846" y="474"/>
                  <a:pt x="846" y="474"/>
                  <a:pt x="846" y="474"/>
                </a:cubicBezTo>
                <a:cubicBezTo>
                  <a:pt x="834" y="474"/>
                  <a:pt x="824" y="484"/>
                  <a:pt x="824" y="496"/>
                </a:cubicBezTo>
                <a:cubicBezTo>
                  <a:pt x="824" y="507"/>
                  <a:pt x="834" y="517"/>
                  <a:pt x="846" y="517"/>
                </a:cubicBezTo>
                <a:cubicBezTo>
                  <a:pt x="972" y="517"/>
                  <a:pt x="972" y="517"/>
                  <a:pt x="972" y="517"/>
                </a:cubicBezTo>
                <a:cubicBezTo>
                  <a:pt x="976" y="517"/>
                  <a:pt x="979" y="520"/>
                  <a:pt x="979" y="524"/>
                </a:cubicBezTo>
                <a:cubicBezTo>
                  <a:pt x="979" y="529"/>
                  <a:pt x="976" y="532"/>
                  <a:pt x="972" y="532"/>
                </a:cubicBezTo>
                <a:cubicBezTo>
                  <a:pt x="805" y="532"/>
                  <a:pt x="805" y="532"/>
                  <a:pt x="805" y="532"/>
                </a:cubicBezTo>
                <a:cubicBezTo>
                  <a:pt x="793" y="532"/>
                  <a:pt x="783" y="541"/>
                  <a:pt x="783" y="553"/>
                </a:cubicBezTo>
                <a:cubicBezTo>
                  <a:pt x="783" y="565"/>
                  <a:pt x="793" y="575"/>
                  <a:pt x="805" y="575"/>
                </a:cubicBezTo>
                <a:cubicBezTo>
                  <a:pt x="860" y="575"/>
                  <a:pt x="860" y="575"/>
                  <a:pt x="860" y="575"/>
                </a:cubicBezTo>
                <a:cubicBezTo>
                  <a:pt x="864" y="575"/>
                  <a:pt x="867" y="578"/>
                  <a:pt x="867" y="582"/>
                </a:cubicBezTo>
                <a:cubicBezTo>
                  <a:pt x="867" y="586"/>
                  <a:pt x="864" y="590"/>
                  <a:pt x="860" y="590"/>
                </a:cubicBezTo>
                <a:cubicBezTo>
                  <a:pt x="805" y="590"/>
                  <a:pt x="805" y="590"/>
                  <a:pt x="805" y="590"/>
                </a:cubicBezTo>
                <a:cubicBezTo>
                  <a:pt x="793" y="590"/>
                  <a:pt x="783" y="599"/>
                  <a:pt x="783" y="611"/>
                </a:cubicBezTo>
                <a:cubicBezTo>
                  <a:pt x="783" y="623"/>
                  <a:pt x="793" y="633"/>
                  <a:pt x="805" y="633"/>
                </a:cubicBezTo>
                <a:cubicBezTo>
                  <a:pt x="1011" y="633"/>
                  <a:pt x="1011" y="633"/>
                  <a:pt x="1011" y="633"/>
                </a:cubicBezTo>
                <a:cubicBezTo>
                  <a:pt x="1015" y="633"/>
                  <a:pt x="1018" y="636"/>
                  <a:pt x="1018" y="640"/>
                </a:cubicBezTo>
                <a:cubicBezTo>
                  <a:pt x="1018" y="644"/>
                  <a:pt x="1015" y="647"/>
                  <a:pt x="1011" y="647"/>
                </a:cubicBezTo>
                <a:cubicBezTo>
                  <a:pt x="763" y="647"/>
                  <a:pt x="763" y="647"/>
                  <a:pt x="763" y="647"/>
                </a:cubicBezTo>
                <a:cubicBezTo>
                  <a:pt x="751" y="647"/>
                  <a:pt x="741" y="657"/>
                  <a:pt x="741" y="669"/>
                </a:cubicBezTo>
                <a:cubicBezTo>
                  <a:pt x="741" y="681"/>
                  <a:pt x="751" y="691"/>
                  <a:pt x="763" y="691"/>
                </a:cubicBezTo>
                <a:cubicBezTo>
                  <a:pt x="1046" y="691"/>
                  <a:pt x="1046" y="691"/>
                  <a:pt x="1046" y="691"/>
                </a:cubicBezTo>
                <a:cubicBezTo>
                  <a:pt x="1050" y="691"/>
                  <a:pt x="1054" y="694"/>
                  <a:pt x="1054" y="698"/>
                </a:cubicBezTo>
                <a:cubicBezTo>
                  <a:pt x="1054" y="702"/>
                  <a:pt x="1050" y="705"/>
                  <a:pt x="1046" y="705"/>
                </a:cubicBezTo>
                <a:cubicBezTo>
                  <a:pt x="791" y="705"/>
                  <a:pt x="791" y="705"/>
                  <a:pt x="791" y="705"/>
                </a:cubicBezTo>
                <a:cubicBezTo>
                  <a:pt x="779" y="705"/>
                  <a:pt x="770" y="715"/>
                  <a:pt x="770" y="727"/>
                </a:cubicBezTo>
                <a:cubicBezTo>
                  <a:pt x="770" y="739"/>
                  <a:pt x="779" y="748"/>
                  <a:pt x="791" y="748"/>
                </a:cubicBezTo>
                <a:cubicBezTo>
                  <a:pt x="1104" y="748"/>
                  <a:pt x="1104" y="748"/>
                  <a:pt x="1104" y="748"/>
                </a:cubicBezTo>
                <a:cubicBezTo>
                  <a:pt x="1108" y="748"/>
                  <a:pt x="1111" y="752"/>
                  <a:pt x="1111" y="756"/>
                </a:cubicBezTo>
                <a:cubicBezTo>
                  <a:pt x="1111" y="760"/>
                  <a:pt x="1108" y="763"/>
                  <a:pt x="1104" y="763"/>
                </a:cubicBezTo>
                <a:cubicBezTo>
                  <a:pt x="905" y="763"/>
                  <a:pt x="905" y="763"/>
                  <a:pt x="905" y="763"/>
                </a:cubicBezTo>
                <a:cubicBezTo>
                  <a:pt x="893" y="763"/>
                  <a:pt x="883" y="773"/>
                  <a:pt x="883" y="785"/>
                </a:cubicBezTo>
                <a:cubicBezTo>
                  <a:pt x="883" y="797"/>
                  <a:pt x="893" y="806"/>
                  <a:pt x="905" y="806"/>
                </a:cubicBezTo>
                <a:cubicBezTo>
                  <a:pt x="1049" y="806"/>
                  <a:pt x="1049" y="806"/>
                  <a:pt x="1049" y="806"/>
                </a:cubicBezTo>
                <a:cubicBezTo>
                  <a:pt x="1053" y="806"/>
                  <a:pt x="1057" y="810"/>
                  <a:pt x="1057" y="814"/>
                </a:cubicBezTo>
                <a:cubicBezTo>
                  <a:pt x="1057" y="818"/>
                  <a:pt x="1053" y="821"/>
                  <a:pt x="1049" y="821"/>
                </a:cubicBezTo>
                <a:cubicBezTo>
                  <a:pt x="914" y="821"/>
                  <a:pt x="914" y="821"/>
                  <a:pt x="914" y="821"/>
                </a:cubicBezTo>
                <a:cubicBezTo>
                  <a:pt x="902" y="821"/>
                  <a:pt x="892" y="831"/>
                  <a:pt x="892" y="842"/>
                </a:cubicBezTo>
                <a:cubicBezTo>
                  <a:pt x="892" y="854"/>
                  <a:pt x="902" y="864"/>
                  <a:pt x="914" y="864"/>
                </a:cubicBezTo>
                <a:cubicBezTo>
                  <a:pt x="1053" y="864"/>
                  <a:pt x="1053" y="864"/>
                  <a:pt x="1053" y="864"/>
                </a:cubicBezTo>
                <a:cubicBezTo>
                  <a:pt x="1057" y="864"/>
                  <a:pt x="1061" y="867"/>
                  <a:pt x="1061" y="871"/>
                </a:cubicBezTo>
                <a:cubicBezTo>
                  <a:pt x="1061" y="875"/>
                  <a:pt x="1057" y="879"/>
                  <a:pt x="1053" y="879"/>
                </a:cubicBezTo>
                <a:cubicBezTo>
                  <a:pt x="919" y="879"/>
                  <a:pt x="919" y="879"/>
                  <a:pt x="919" y="879"/>
                </a:cubicBezTo>
                <a:cubicBezTo>
                  <a:pt x="907" y="879"/>
                  <a:pt x="898" y="888"/>
                  <a:pt x="898" y="900"/>
                </a:cubicBezTo>
                <a:cubicBezTo>
                  <a:pt x="898" y="912"/>
                  <a:pt x="907" y="922"/>
                  <a:pt x="919" y="922"/>
                </a:cubicBezTo>
                <a:cubicBezTo>
                  <a:pt x="1017" y="922"/>
                  <a:pt x="1017" y="922"/>
                  <a:pt x="1017" y="922"/>
                </a:cubicBezTo>
                <a:cubicBezTo>
                  <a:pt x="1021" y="922"/>
                  <a:pt x="1024" y="925"/>
                  <a:pt x="1024" y="929"/>
                </a:cubicBezTo>
                <a:cubicBezTo>
                  <a:pt x="1024" y="933"/>
                  <a:pt x="1021" y="936"/>
                  <a:pt x="1017" y="936"/>
                </a:cubicBezTo>
                <a:cubicBezTo>
                  <a:pt x="941" y="936"/>
                  <a:pt x="941" y="936"/>
                  <a:pt x="941" y="936"/>
                </a:cubicBezTo>
                <a:cubicBezTo>
                  <a:pt x="929" y="936"/>
                  <a:pt x="919" y="946"/>
                  <a:pt x="919" y="958"/>
                </a:cubicBezTo>
                <a:cubicBezTo>
                  <a:pt x="919" y="970"/>
                  <a:pt x="929" y="980"/>
                  <a:pt x="941" y="980"/>
                </a:cubicBezTo>
                <a:cubicBezTo>
                  <a:pt x="979" y="980"/>
                  <a:pt x="979" y="980"/>
                  <a:pt x="979" y="980"/>
                </a:cubicBezTo>
                <a:cubicBezTo>
                  <a:pt x="983" y="980"/>
                  <a:pt x="986" y="983"/>
                  <a:pt x="986" y="987"/>
                </a:cubicBezTo>
                <a:cubicBezTo>
                  <a:pt x="986" y="991"/>
                  <a:pt x="983" y="994"/>
                  <a:pt x="979" y="994"/>
                </a:cubicBezTo>
                <a:cubicBezTo>
                  <a:pt x="976" y="994"/>
                  <a:pt x="976" y="994"/>
                  <a:pt x="976" y="994"/>
                </a:cubicBezTo>
                <a:cubicBezTo>
                  <a:pt x="956" y="994"/>
                  <a:pt x="940" y="1010"/>
                  <a:pt x="940" y="1030"/>
                </a:cubicBezTo>
                <a:cubicBezTo>
                  <a:pt x="940" y="1050"/>
                  <a:pt x="956" y="1066"/>
                  <a:pt x="976" y="1066"/>
                </a:cubicBezTo>
                <a:cubicBezTo>
                  <a:pt x="1017" y="1066"/>
                  <a:pt x="1017" y="1066"/>
                  <a:pt x="1017" y="1066"/>
                </a:cubicBezTo>
                <a:cubicBezTo>
                  <a:pt x="1029" y="1066"/>
                  <a:pt x="1039" y="1076"/>
                  <a:pt x="1039" y="1088"/>
                </a:cubicBezTo>
                <a:cubicBezTo>
                  <a:pt x="1039" y="1100"/>
                  <a:pt x="1029" y="1110"/>
                  <a:pt x="1017" y="1110"/>
                </a:cubicBezTo>
                <a:cubicBezTo>
                  <a:pt x="443" y="1110"/>
                  <a:pt x="443" y="1110"/>
                  <a:pt x="443" y="1110"/>
                </a:cubicBezTo>
                <a:cubicBezTo>
                  <a:pt x="439" y="1110"/>
                  <a:pt x="436" y="1107"/>
                  <a:pt x="436" y="1103"/>
                </a:cubicBezTo>
                <a:cubicBezTo>
                  <a:pt x="436" y="1099"/>
                  <a:pt x="439" y="1095"/>
                  <a:pt x="443" y="1095"/>
                </a:cubicBezTo>
                <a:cubicBezTo>
                  <a:pt x="472" y="1095"/>
                  <a:pt x="472" y="1095"/>
                  <a:pt x="472" y="1095"/>
                </a:cubicBezTo>
                <a:cubicBezTo>
                  <a:pt x="484" y="1095"/>
                  <a:pt x="493" y="1086"/>
                  <a:pt x="493" y="1074"/>
                </a:cubicBezTo>
                <a:cubicBezTo>
                  <a:pt x="493" y="1062"/>
                  <a:pt x="484" y="1052"/>
                  <a:pt x="472" y="1052"/>
                </a:cubicBezTo>
                <a:cubicBezTo>
                  <a:pt x="443" y="1052"/>
                  <a:pt x="443" y="1052"/>
                  <a:pt x="443" y="1052"/>
                </a:cubicBezTo>
                <a:cubicBezTo>
                  <a:pt x="439" y="1052"/>
                  <a:pt x="436" y="1049"/>
                  <a:pt x="436" y="1045"/>
                </a:cubicBezTo>
                <a:cubicBezTo>
                  <a:pt x="436" y="1041"/>
                  <a:pt x="439" y="1037"/>
                  <a:pt x="443" y="1037"/>
                </a:cubicBezTo>
                <a:cubicBezTo>
                  <a:pt x="495" y="1037"/>
                  <a:pt x="495" y="1037"/>
                  <a:pt x="495" y="1037"/>
                </a:cubicBezTo>
                <a:cubicBezTo>
                  <a:pt x="507" y="1037"/>
                  <a:pt x="517" y="1028"/>
                  <a:pt x="517" y="1016"/>
                </a:cubicBezTo>
                <a:cubicBezTo>
                  <a:pt x="517" y="1004"/>
                  <a:pt x="507" y="994"/>
                  <a:pt x="495" y="994"/>
                </a:cubicBezTo>
                <a:cubicBezTo>
                  <a:pt x="438" y="994"/>
                  <a:pt x="438" y="994"/>
                  <a:pt x="438" y="994"/>
                </a:cubicBezTo>
                <a:cubicBezTo>
                  <a:pt x="434" y="994"/>
                  <a:pt x="431" y="991"/>
                  <a:pt x="431" y="987"/>
                </a:cubicBezTo>
                <a:cubicBezTo>
                  <a:pt x="431" y="983"/>
                  <a:pt x="434" y="980"/>
                  <a:pt x="438" y="980"/>
                </a:cubicBezTo>
                <a:cubicBezTo>
                  <a:pt x="551" y="980"/>
                  <a:pt x="551" y="980"/>
                  <a:pt x="551" y="980"/>
                </a:cubicBezTo>
                <a:cubicBezTo>
                  <a:pt x="563" y="980"/>
                  <a:pt x="572" y="970"/>
                  <a:pt x="572" y="958"/>
                </a:cubicBezTo>
                <a:cubicBezTo>
                  <a:pt x="572" y="946"/>
                  <a:pt x="563" y="936"/>
                  <a:pt x="551" y="936"/>
                </a:cubicBezTo>
                <a:cubicBezTo>
                  <a:pt x="446" y="936"/>
                  <a:pt x="446" y="936"/>
                  <a:pt x="446" y="936"/>
                </a:cubicBezTo>
                <a:cubicBezTo>
                  <a:pt x="442" y="936"/>
                  <a:pt x="439" y="933"/>
                  <a:pt x="439" y="929"/>
                </a:cubicBezTo>
                <a:cubicBezTo>
                  <a:pt x="439" y="925"/>
                  <a:pt x="442" y="922"/>
                  <a:pt x="446" y="922"/>
                </a:cubicBezTo>
                <a:cubicBezTo>
                  <a:pt x="593" y="922"/>
                  <a:pt x="593" y="922"/>
                  <a:pt x="593" y="922"/>
                </a:cubicBezTo>
                <a:cubicBezTo>
                  <a:pt x="605" y="922"/>
                  <a:pt x="614" y="912"/>
                  <a:pt x="614" y="900"/>
                </a:cubicBezTo>
                <a:cubicBezTo>
                  <a:pt x="614" y="888"/>
                  <a:pt x="605" y="879"/>
                  <a:pt x="593" y="879"/>
                </a:cubicBezTo>
                <a:cubicBezTo>
                  <a:pt x="417" y="879"/>
                  <a:pt x="417" y="879"/>
                  <a:pt x="417" y="879"/>
                </a:cubicBezTo>
                <a:cubicBezTo>
                  <a:pt x="413" y="879"/>
                  <a:pt x="410" y="875"/>
                  <a:pt x="410" y="871"/>
                </a:cubicBezTo>
                <a:cubicBezTo>
                  <a:pt x="410" y="867"/>
                  <a:pt x="413" y="864"/>
                  <a:pt x="417" y="864"/>
                </a:cubicBezTo>
                <a:cubicBezTo>
                  <a:pt x="607" y="864"/>
                  <a:pt x="607" y="864"/>
                  <a:pt x="607" y="864"/>
                </a:cubicBezTo>
                <a:cubicBezTo>
                  <a:pt x="619" y="864"/>
                  <a:pt x="629" y="854"/>
                  <a:pt x="629" y="842"/>
                </a:cubicBezTo>
                <a:cubicBezTo>
                  <a:pt x="629" y="831"/>
                  <a:pt x="619" y="821"/>
                  <a:pt x="607" y="821"/>
                </a:cubicBezTo>
                <a:cubicBezTo>
                  <a:pt x="377" y="821"/>
                  <a:pt x="377" y="821"/>
                  <a:pt x="377" y="821"/>
                </a:cubicBezTo>
                <a:cubicBezTo>
                  <a:pt x="373" y="821"/>
                  <a:pt x="370" y="818"/>
                  <a:pt x="370" y="814"/>
                </a:cubicBezTo>
                <a:cubicBezTo>
                  <a:pt x="370" y="810"/>
                  <a:pt x="373" y="806"/>
                  <a:pt x="377" y="806"/>
                </a:cubicBezTo>
                <a:cubicBezTo>
                  <a:pt x="529" y="806"/>
                  <a:pt x="529" y="806"/>
                  <a:pt x="529" y="806"/>
                </a:cubicBezTo>
                <a:cubicBezTo>
                  <a:pt x="541" y="806"/>
                  <a:pt x="551" y="797"/>
                  <a:pt x="551" y="785"/>
                </a:cubicBezTo>
                <a:cubicBezTo>
                  <a:pt x="551" y="773"/>
                  <a:pt x="541" y="763"/>
                  <a:pt x="529" y="763"/>
                </a:cubicBezTo>
                <a:cubicBezTo>
                  <a:pt x="337" y="763"/>
                  <a:pt x="337" y="763"/>
                  <a:pt x="337" y="763"/>
                </a:cubicBezTo>
                <a:cubicBezTo>
                  <a:pt x="333" y="763"/>
                  <a:pt x="330" y="760"/>
                  <a:pt x="330" y="756"/>
                </a:cubicBezTo>
                <a:cubicBezTo>
                  <a:pt x="330" y="752"/>
                  <a:pt x="333" y="748"/>
                  <a:pt x="337" y="748"/>
                </a:cubicBezTo>
                <a:cubicBezTo>
                  <a:pt x="353" y="748"/>
                  <a:pt x="353" y="748"/>
                  <a:pt x="353" y="748"/>
                </a:cubicBezTo>
                <a:cubicBezTo>
                  <a:pt x="365" y="748"/>
                  <a:pt x="375" y="739"/>
                  <a:pt x="375" y="727"/>
                </a:cubicBezTo>
                <a:cubicBezTo>
                  <a:pt x="375" y="715"/>
                  <a:pt x="365" y="705"/>
                  <a:pt x="353" y="705"/>
                </a:cubicBezTo>
                <a:cubicBezTo>
                  <a:pt x="273" y="705"/>
                  <a:pt x="273" y="705"/>
                  <a:pt x="273" y="705"/>
                </a:cubicBezTo>
                <a:cubicBezTo>
                  <a:pt x="269" y="705"/>
                  <a:pt x="266" y="702"/>
                  <a:pt x="266" y="698"/>
                </a:cubicBezTo>
                <a:cubicBezTo>
                  <a:pt x="266" y="694"/>
                  <a:pt x="269" y="691"/>
                  <a:pt x="273" y="691"/>
                </a:cubicBezTo>
                <a:cubicBezTo>
                  <a:pt x="276" y="691"/>
                  <a:pt x="276" y="691"/>
                  <a:pt x="276" y="691"/>
                </a:cubicBezTo>
                <a:cubicBezTo>
                  <a:pt x="288" y="691"/>
                  <a:pt x="297" y="681"/>
                  <a:pt x="297" y="669"/>
                </a:cubicBezTo>
                <a:cubicBezTo>
                  <a:pt x="297" y="657"/>
                  <a:pt x="288" y="647"/>
                  <a:pt x="276" y="647"/>
                </a:cubicBezTo>
                <a:cubicBezTo>
                  <a:pt x="236" y="647"/>
                  <a:pt x="236" y="647"/>
                  <a:pt x="236" y="647"/>
                </a:cubicBezTo>
                <a:cubicBezTo>
                  <a:pt x="232" y="647"/>
                  <a:pt x="229" y="644"/>
                  <a:pt x="229" y="640"/>
                </a:cubicBezTo>
                <a:cubicBezTo>
                  <a:pt x="229" y="636"/>
                  <a:pt x="232" y="633"/>
                  <a:pt x="236" y="633"/>
                </a:cubicBezTo>
                <a:cubicBezTo>
                  <a:pt x="266" y="633"/>
                  <a:pt x="266" y="633"/>
                  <a:pt x="266" y="633"/>
                </a:cubicBezTo>
                <a:cubicBezTo>
                  <a:pt x="278" y="633"/>
                  <a:pt x="288" y="623"/>
                  <a:pt x="288" y="611"/>
                </a:cubicBezTo>
                <a:cubicBezTo>
                  <a:pt x="288" y="599"/>
                  <a:pt x="278" y="590"/>
                  <a:pt x="266" y="590"/>
                </a:cubicBezTo>
                <a:cubicBezTo>
                  <a:pt x="190" y="590"/>
                  <a:pt x="190" y="590"/>
                  <a:pt x="190" y="590"/>
                </a:cubicBezTo>
                <a:cubicBezTo>
                  <a:pt x="186" y="590"/>
                  <a:pt x="182" y="586"/>
                  <a:pt x="182" y="582"/>
                </a:cubicBezTo>
                <a:cubicBezTo>
                  <a:pt x="182" y="578"/>
                  <a:pt x="186" y="575"/>
                  <a:pt x="190" y="575"/>
                </a:cubicBezTo>
                <a:cubicBezTo>
                  <a:pt x="381" y="575"/>
                  <a:pt x="381" y="575"/>
                  <a:pt x="381" y="575"/>
                </a:cubicBezTo>
                <a:cubicBezTo>
                  <a:pt x="393" y="575"/>
                  <a:pt x="402" y="565"/>
                  <a:pt x="402" y="553"/>
                </a:cubicBezTo>
                <a:cubicBezTo>
                  <a:pt x="402" y="541"/>
                  <a:pt x="393" y="532"/>
                  <a:pt x="381" y="532"/>
                </a:cubicBezTo>
                <a:cubicBezTo>
                  <a:pt x="162" y="532"/>
                  <a:pt x="162" y="532"/>
                  <a:pt x="162" y="532"/>
                </a:cubicBezTo>
                <a:cubicBezTo>
                  <a:pt x="158" y="532"/>
                  <a:pt x="154" y="529"/>
                  <a:pt x="154" y="524"/>
                </a:cubicBezTo>
                <a:cubicBezTo>
                  <a:pt x="154" y="520"/>
                  <a:pt x="158" y="517"/>
                  <a:pt x="162" y="517"/>
                </a:cubicBezTo>
                <a:cubicBezTo>
                  <a:pt x="433" y="517"/>
                  <a:pt x="433" y="517"/>
                  <a:pt x="433" y="517"/>
                </a:cubicBezTo>
                <a:cubicBezTo>
                  <a:pt x="445" y="517"/>
                  <a:pt x="454" y="507"/>
                  <a:pt x="454" y="496"/>
                </a:cubicBezTo>
                <a:cubicBezTo>
                  <a:pt x="454" y="484"/>
                  <a:pt x="445" y="474"/>
                  <a:pt x="433" y="474"/>
                </a:cubicBezTo>
                <a:cubicBezTo>
                  <a:pt x="180" y="474"/>
                  <a:pt x="180" y="474"/>
                  <a:pt x="180" y="474"/>
                </a:cubicBezTo>
                <a:cubicBezTo>
                  <a:pt x="176" y="474"/>
                  <a:pt x="173" y="471"/>
                  <a:pt x="173" y="467"/>
                </a:cubicBezTo>
                <a:cubicBezTo>
                  <a:pt x="173" y="463"/>
                  <a:pt x="176" y="459"/>
                  <a:pt x="180" y="459"/>
                </a:cubicBezTo>
                <a:cubicBezTo>
                  <a:pt x="518" y="459"/>
                  <a:pt x="518" y="459"/>
                  <a:pt x="518" y="459"/>
                </a:cubicBezTo>
                <a:cubicBezTo>
                  <a:pt x="530" y="459"/>
                  <a:pt x="540" y="450"/>
                  <a:pt x="540" y="438"/>
                </a:cubicBezTo>
                <a:cubicBezTo>
                  <a:pt x="540" y="426"/>
                  <a:pt x="530" y="416"/>
                  <a:pt x="518" y="416"/>
                </a:cubicBezTo>
                <a:cubicBezTo>
                  <a:pt x="164" y="416"/>
                  <a:pt x="164" y="416"/>
                  <a:pt x="164" y="416"/>
                </a:cubicBezTo>
                <a:cubicBezTo>
                  <a:pt x="160" y="416"/>
                  <a:pt x="156" y="413"/>
                  <a:pt x="156" y="409"/>
                </a:cubicBezTo>
                <a:cubicBezTo>
                  <a:pt x="156" y="405"/>
                  <a:pt x="160" y="402"/>
                  <a:pt x="164" y="402"/>
                </a:cubicBezTo>
                <a:cubicBezTo>
                  <a:pt x="522" y="402"/>
                  <a:pt x="522" y="402"/>
                  <a:pt x="522" y="402"/>
                </a:cubicBezTo>
                <a:cubicBezTo>
                  <a:pt x="534" y="402"/>
                  <a:pt x="544" y="392"/>
                  <a:pt x="544" y="380"/>
                </a:cubicBezTo>
                <a:cubicBezTo>
                  <a:pt x="544" y="378"/>
                  <a:pt x="543" y="375"/>
                  <a:pt x="543" y="373"/>
                </a:cubicBezTo>
                <a:cubicBezTo>
                  <a:pt x="625" y="373"/>
                  <a:pt x="625" y="373"/>
                  <a:pt x="625" y="373"/>
                </a:cubicBezTo>
                <a:cubicBezTo>
                  <a:pt x="636" y="373"/>
                  <a:pt x="646" y="363"/>
                  <a:pt x="646" y="351"/>
                </a:cubicBezTo>
                <a:cubicBezTo>
                  <a:pt x="646" y="339"/>
                  <a:pt x="636" y="330"/>
                  <a:pt x="625" y="330"/>
                </a:cubicBezTo>
                <a:cubicBezTo>
                  <a:pt x="601" y="330"/>
                  <a:pt x="601" y="330"/>
                  <a:pt x="601" y="330"/>
                </a:cubicBezTo>
                <a:cubicBezTo>
                  <a:pt x="597" y="330"/>
                  <a:pt x="594" y="326"/>
                  <a:pt x="594" y="322"/>
                </a:cubicBezTo>
                <a:cubicBezTo>
                  <a:pt x="594" y="318"/>
                  <a:pt x="597" y="315"/>
                  <a:pt x="601" y="315"/>
                </a:cubicBezTo>
                <a:cubicBezTo>
                  <a:pt x="721" y="315"/>
                  <a:pt x="721" y="315"/>
                  <a:pt x="721" y="315"/>
                </a:cubicBezTo>
                <a:cubicBezTo>
                  <a:pt x="733" y="315"/>
                  <a:pt x="743" y="305"/>
                  <a:pt x="743" y="294"/>
                </a:cubicBezTo>
                <a:cubicBezTo>
                  <a:pt x="743" y="282"/>
                  <a:pt x="733" y="272"/>
                  <a:pt x="721" y="272"/>
                </a:cubicBezTo>
                <a:cubicBezTo>
                  <a:pt x="600" y="272"/>
                  <a:pt x="600" y="272"/>
                  <a:pt x="600" y="272"/>
                </a:cubicBezTo>
                <a:cubicBezTo>
                  <a:pt x="596" y="272"/>
                  <a:pt x="593" y="269"/>
                  <a:pt x="593" y="265"/>
                </a:cubicBezTo>
                <a:cubicBezTo>
                  <a:pt x="593" y="261"/>
                  <a:pt x="596" y="257"/>
                  <a:pt x="600" y="257"/>
                </a:cubicBezTo>
                <a:cubicBezTo>
                  <a:pt x="734" y="257"/>
                  <a:pt x="734" y="257"/>
                  <a:pt x="734" y="257"/>
                </a:cubicBezTo>
                <a:cubicBezTo>
                  <a:pt x="746" y="257"/>
                  <a:pt x="756" y="248"/>
                  <a:pt x="756" y="236"/>
                </a:cubicBezTo>
                <a:cubicBezTo>
                  <a:pt x="756" y="224"/>
                  <a:pt x="746" y="214"/>
                  <a:pt x="734" y="214"/>
                </a:cubicBezTo>
                <a:cubicBezTo>
                  <a:pt x="581" y="214"/>
                  <a:pt x="581" y="214"/>
                  <a:pt x="581" y="214"/>
                </a:cubicBezTo>
                <a:cubicBezTo>
                  <a:pt x="577" y="214"/>
                  <a:pt x="573" y="211"/>
                  <a:pt x="573" y="207"/>
                </a:cubicBezTo>
                <a:cubicBezTo>
                  <a:pt x="573" y="203"/>
                  <a:pt x="577" y="200"/>
                  <a:pt x="581" y="200"/>
                </a:cubicBezTo>
                <a:cubicBezTo>
                  <a:pt x="749" y="200"/>
                  <a:pt x="749" y="200"/>
                  <a:pt x="749" y="200"/>
                </a:cubicBezTo>
                <a:cubicBezTo>
                  <a:pt x="760" y="200"/>
                  <a:pt x="770" y="190"/>
                  <a:pt x="770" y="178"/>
                </a:cubicBezTo>
                <a:cubicBezTo>
                  <a:pt x="770" y="166"/>
                  <a:pt x="760" y="156"/>
                  <a:pt x="749" y="156"/>
                </a:cubicBezTo>
                <a:cubicBezTo>
                  <a:pt x="561" y="156"/>
                  <a:pt x="561" y="156"/>
                  <a:pt x="561" y="156"/>
                </a:cubicBezTo>
                <a:cubicBezTo>
                  <a:pt x="557" y="156"/>
                  <a:pt x="554" y="153"/>
                  <a:pt x="554" y="149"/>
                </a:cubicBezTo>
                <a:cubicBezTo>
                  <a:pt x="554" y="145"/>
                  <a:pt x="557" y="142"/>
                  <a:pt x="561" y="142"/>
                </a:cubicBezTo>
                <a:cubicBezTo>
                  <a:pt x="754" y="142"/>
                  <a:pt x="754" y="142"/>
                  <a:pt x="754" y="142"/>
                </a:cubicBezTo>
                <a:cubicBezTo>
                  <a:pt x="766" y="142"/>
                  <a:pt x="776" y="132"/>
                  <a:pt x="776" y="120"/>
                </a:cubicBezTo>
                <a:cubicBezTo>
                  <a:pt x="776" y="108"/>
                  <a:pt x="766" y="99"/>
                  <a:pt x="754" y="99"/>
                </a:cubicBezTo>
                <a:cubicBezTo>
                  <a:pt x="622" y="99"/>
                  <a:pt x="622" y="99"/>
                  <a:pt x="622" y="99"/>
                </a:cubicBezTo>
                <a:cubicBezTo>
                  <a:pt x="618" y="99"/>
                  <a:pt x="614" y="95"/>
                  <a:pt x="614" y="91"/>
                </a:cubicBezTo>
                <a:cubicBezTo>
                  <a:pt x="614" y="87"/>
                  <a:pt x="618" y="84"/>
                  <a:pt x="622" y="84"/>
                </a:cubicBezTo>
                <a:cubicBezTo>
                  <a:pt x="1237" y="84"/>
                  <a:pt x="1237" y="84"/>
                  <a:pt x="1237" y="84"/>
                </a:cubicBezTo>
                <a:cubicBezTo>
                  <a:pt x="1241" y="84"/>
                  <a:pt x="1244" y="87"/>
                  <a:pt x="1244" y="91"/>
                </a:cubicBezTo>
                <a:cubicBezTo>
                  <a:pt x="1244" y="95"/>
                  <a:pt x="1241" y="99"/>
                  <a:pt x="1237" y="99"/>
                </a:cubicBezTo>
                <a:cubicBezTo>
                  <a:pt x="1225" y="99"/>
                  <a:pt x="1225" y="99"/>
                  <a:pt x="1225" y="99"/>
                </a:cubicBezTo>
                <a:cubicBezTo>
                  <a:pt x="1213" y="99"/>
                  <a:pt x="1203" y="108"/>
                  <a:pt x="1203" y="120"/>
                </a:cubicBezTo>
                <a:cubicBezTo>
                  <a:pt x="1203" y="132"/>
                  <a:pt x="1213" y="142"/>
                  <a:pt x="1225" y="142"/>
                </a:cubicBezTo>
                <a:cubicBezTo>
                  <a:pt x="1693" y="142"/>
                  <a:pt x="1693" y="142"/>
                  <a:pt x="1693" y="142"/>
                </a:cubicBezTo>
                <a:cubicBezTo>
                  <a:pt x="1697" y="142"/>
                  <a:pt x="1701" y="145"/>
                  <a:pt x="1701" y="149"/>
                </a:cubicBezTo>
                <a:cubicBezTo>
                  <a:pt x="1701" y="153"/>
                  <a:pt x="1697" y="156"/>
                  <a:pt x="1693" y="156"/>
                </a:cubicBezTo>
                <a:cubicBezTo>
                  <a:pt x="1075" y="156"/>
                  <a:pt x="1075" y="156"/>
                  <a:pt x="1075" y="156"/>
                </a:cubicBezTo>
                <a:cubicBezTo>
                  <a:pt x="1063" y="156"/>
                  <a:pt x="1054" y="166"/>
                  <a:pt x="1054" y="178"/>
                </a:cubicBezTo>
                <a:cubicBezTo>
                  <a:pt x="1054" y="190"/>
                  <a:pt x="1063" y="200"/>
                  <a:pt x="1075" y="200"/>
                </a:cubicBezTo>
                <a:cubicBezTo>
                  <a:pt x="1686" y="200"/>
                  <a:pt x="1686" y="200"/>
                  <a:pt x="1686" y="200"/>
                </a:cubicBezTo>
                <a:cubicBezTo>
                  <a:pt x="1690" y="200"/>
                  <a:pt x="1693" y="203"/>
                  <a:pt x="1693" y="207"/>
                </a:cubicBezTo>
                <a:cubicBezTo>
                  <a:pt x="1693" y="211"/>
                  <a:pt x="1690" y="214"/>
                  <a:pt x="1686" y="214"/>
                </a:cubicBezTo>
                <a:cubicBezTo>
                  <a:pt x="1145" y="214"/>
                  <a:pt x="1145" y="214"/>
                  <a:pt x="1145" y="214"/>
                </a:cubicBezTo>
                <a:cubicBezTo>
                  <a:pt x="1133" y="214"/>
                  <a:pt x="1123" y="224"/>
                  <a:pt x="1123" y="236"/>
                </a:cubicBezTo>
                <a:cubicBezTo>
                  <a:pt x="1123" y="248"/>
                  <a:pt x="1133" y="257"/>
                  <a:pt x="1145" y="257"/>
                </a:cubicBezTo>
                <a:cubicBezTo>
                  <a:pt x="1683" y="257"/>
                  <a:pt x="1683" y="257"/>
                  <a:pt x="1683" y="257"/>
                </a:cubicBezTo>
                <a:cubicBezTo>
                  <a:pt x="1687" y="257"/>
                  <a:pt x="1691" y="261"/>
                  <a:pt x="1691" y="265"/>
                </a:cubicBezTo>
                <a:cubicBezTo>
                  <a:pt x="1691" y="269"/>
                  <a:pt x="1687" y="272"/>
                  <a:pt x="1683" y="272"/>
                </a:cubicBezTo>
                <a:cubicBezTo>
                  <a:pt x="940" y="272"/>
                  <a:pt x="940" y="272"/>
                  <a:pt x="940" y="272"/>
                </a:cubicBezTo>
                <a:cubicBezTo>
                  <a:pt x="929" y="272"/>
                  <a:pt x="919" y="282"/>
                  <a:pt x="919" y="294"/>
                </a:cubicBezTo>
                <a:cubicBezTo>
                  <a:pt x="919" y="305"/>
                  <a:pt x="929" y="315"/>
                  <a:pt x="940" y="315"/>
                </a:cubicBezTo>
                <a:cubicBezTo>
                  <a:pt x="1553" y="315"/>
                  <a:pt x="1553" y="315"/>
                  <a:pt x="1553" y="315"/>
                </a:cubicBezTo>
                <a:cubicBezTo>
                  <a:pt x="1557" y="315"/>
                  <a:pt x="1561" y="318"/>
                  <a:pt x="1561" y="322"/>
                </a:cubicBezTo>
                <a:cubicBezTo>
                  <a:pt x="1561" y="326"/>
                  <a:pt x="1557" y="330"/>
                  <a:pt x="1553" y="330"/>
                </a:cubicBezTo>
                <a:cubicBezTo>
                  <a:pt x="888" y="330"/>
                  <a:pt x="888" y="330"/>
                  <a:pt x="888" y="330"/>
                </a:cubicBezTo>
                <a:cubicBezTo>
                  <a:pt x="876" y="330"/>
                  <a:pt x="867" y="339"/>
                  <a:pt x="867" y="351"/>
                </a:cubicBezTo>
                <a:cubicBezTo>
                  <a:pt x="867" y="354"/>
                  <a:pt x="867" y="356"/>
                  <a:pt x="868" y="358"/>
                </a:cubicBezTo>
                <a:close/>
              </a:path>
            </a:pathLst>
          </a:custGeom>
          <a:solidFill>
            <a:srgbClr val="FFFFFF"/>
          </a:solidFill>
          <a:ln>
            <a:noFill/>
          </a:ln>
        </p:spPr>
        <p:txBody>
          <a:bodyPr vert="horz" wrap="square" lIns="67893" tIns="33945" rIns="67893" bIns="33945" numCol="1" anchor="t" anchorCtr="0" compatLnSpc="1">
            <a:prstTxWarp prst="textNoShape">
              <a:avLst/>
            </a:prstTxWarp>
          </a:bodyPr>
          <a:lstStyle/>
          <a:p>
            <a:endParaRPr lang="en-US" sz="1114"/>
          </a:p>
        </p:txBody>
      </p:sp>
      <p:pic>
        <p:nvPicPr>
          <p:cNvPr id="16" name="MS logo white - EMF" descr="Microsoft logo white text version">
            <a:extLst>
              <a:ext uri="{FF2B5EF4-FFF2-40B4-BE49-F238E27FC236}">
                <a16:creationId xmlns:a16="http://schemas.microsoft.com/office/drawing/2014/main" id="{B39A48BC-201E-467B-BE62-B0CCC3548A6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4224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2_Title Slide Photo_Option">
    <p:spTree>
      <p:nvGrpSpPr>
        <p:cNvPr id="1" name=""/>
        <p:cNvGrpSpPr/>
        <p:nvPr/>
      </p:nvGrpSpPr>
      <p:grpSpPr>
        <a:xfrm>
          <a:off x="0" y="0"/>
          <a:ext cx="0" cy="0"/>
          <a:chOff x="0" y="0"/>
          <a:chExt cx="0" cy="0"/>
        </a:xfrm>
      </p:grpSpPr>
      <p:sp>
        <p:nvSpPr>
          <p:cNvPr id="4" name="Rectangle 3"/>
          <p:cNvSpPr/>
          <p:nvPr userDrawn="1"/>
        </p:nvSpPr>
        <p:spPr bwMode="auto">
          <a:xfrm>
            <a:off x="2" y="0"/>
            <a:ext cx="5878286" cy="6858000"/>
          </a:xfrm>
          <a:prstGeom prst="rect">
            <a:avLst/>
          </a:prstGeom>
          <a:solidFill>
            <a:srgbClr val="002050">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5784" tIns="108626" rIns="135784" bIns="108626" numCol="1" spcCol="0" rtlCol="0" fromWordArt="0" anchor="t" anchorCtr="0" forceAA="0" compatLnSpc="1">
            <a:prstTxWarp prst="textNoShape">
              <a:avLst/>
            </a:prstTxWarp>
            <a:noAutofit/>
          </a:bodyPr>
          <a:lstStyle/>
          <a:p>
            <a:pPr algn="ctr" defTabSz="692461" fontAlgn="base">
              <a:lnSpc>
                <a:spcPct val="90000"/>
              </a:lnSpc>
              <a:spcBef>
                <a:spcPct val="0"/>
              </a:spcBef>
              <a:spcAft>
                <a:spcPct val="0"/>
              </a:spcAft>
            </a:pPr>
            <a:endParaRPr lang="en-US" sz="1782">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617132" y="2084167"/>
            <a:ext cx="5486400" cy="1793104"/>
          </a:xfrm>
          <a:noFill/>
        </p:spPr>
        <p:txBody>
          <a:bodyPr lIns="146304" tIns="91440" rIns="146304" bIns="91440" anchor="t" anchorCtr="0"/>
          <a:lstStyle>
            <a:lvl1pPr>
              <a:defRPr sz="4010" spc="-75" baseline="0">
                <a:solidFill>
                  <a:schemeClr val="bg1"/>
                </a:solidFill>
                <a:latin typeface="Segoe UI" panose="020B0502040204020203" pitchFamily="34" charset="0"/>
                <a:cs typeface="Segoe UI" panose="020B05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617478" y="3877271"/>
            <a:ext cx="5486400" cy="1789991"/>
          </a:xfrm>
        </p:spPr>
        <p:txBody>
          <a:bodyPr tIns="109728" bIns="109728">
            <a:noAutofit/>
          </a:bodyPr>
          <a:lstStyle>
            <a:lvl1pPr marL="0" indent="0">
              <a:spcBef>
                <a:spcPts val="0"/>
              </a:spcBef>
              <a:buNone/>
              <a:defRPr sz="2376">
                <a:solidFill>
                  <a:schemeClr val="bg1"/>
                </a:solidFill>
                <a:latin typeface="Segoe UI" panose="020B0502040204020203" pitchFamily="34" charset="0"/>
                <a:cs typeface="Segoe UI" panose="020B0502040204020203" pitchFamily="34" charset="0"/>
              </a:defRPr>
            </a:lvl1pPr>
          </a:lstStyle>
          <a:p>
            <a:pPr lvl="0"/>
            <a:r>
              <a:rPr lang="en-US"/>
              <a:t>Speaker Name</a:t>
            </a:r>
          </a:p>
        </p:txBody>
      </p:sp>
      <p:sp>
        <p:nvSpPr>
          <p:cNvPr id="13" name="Freeform 6"/>
          <p:cNvSpPr>
            <a:spLocks noEditPoints="1"/>
          </p:cNvSpPr>
          <p:nvPr userDrawn="1"/>
        </p:nvSpPr>
        <p:spPr bwMode="auto">
          <a:xfrm>
            <a:off x="5973487" y="2103611"/>
            <a:ext cx="6096001" cy="3566769"/>
          </a:xfrm>
          <a:custGeom>
            <a:avLst/>
            <a:gdLst>
              <a:gd name="T0" fmla="*/ 1776 w 2020"/>
              <a:gd name="T1" fmla="*/ 1074 h 1182"/>
              <a:gd name="T2" fmla="*/ 1629 w 2020"/>
              <a:gd name="T3" fmla="*/ 1146 h 1182"/>
              <a:gd name="T4" fmla="*/ 1498 w 2020"/>
              <a:gd name="T5" fmla="*/ 1016 h 1182"/>
              <a:gd name="T6" fmla="*/ 1543 w 2020"/>
              <a:gd name="T7" fmla="*/ 901 h 1182"/>
              <a:gd name="T8" fmla="*/ 1585 w 2020"/>
              <a:gd name="T9" fmla="*/ 785 h 1182"/>
              <a:gd name="T10" fmla="*/ 1314 w 2020"/>
              <a:gd name="T11" fmla="*/ 756 h 1182"/>
              <a:gd name="T12" fmla="*/ 1061 w 2020"/>
              <a:gd name="T13" fmla="*/ 640 h 1182"/>
              <a:gd name="T14" fmla="*/ 1032 w 2020"/>
              <a:gd name="T15" fmla="*/ 525 h 1182"/>
              <a:gd name="T16" fmla="*/ 848 w 2020"/>
              <a:gd name="T17" fmla="*/ 409 h 1182"/>
              <a:gd name="T18" fmla="*/ 1553 w 2020"/>
              <a:gd name="T19" fmla="*/ 301 h 1182"/>
              <a:gd name="T20" fmla="*/ 1686 w 2020"/>
              <a:gd name="T21" fmla="*/ 185 h 1182"/>
              <a:gd name="T22" fmla="*/ 1237 w 2020"/>
              <a:gd name="T23" fmla="*/ 70 h 1182"/>
              <a:gd name="T24" fmla="*/ 749 w 2020"/>
              <a:gd name="T25" fmla="*/ 185 h 1182"/>
              <a:gd name="T26" fmla="*/ 721 w 2020"/>
              <a:gd name="T27" fmla="*/ 301 h 1182"/>
              <a:gd name="T28" fmla="*/ 366 w 2020"/>
              <a:gd name="T29" fmla="*/ 344 h 1182"/>
              <a:gd name="T30" fmla="*/ 237 w 2020"/>
              <a:gd name="T31" fmla="*/ 228 h 1182"/>
              <a:gd name="T32" fmla="*/ 318 w 2020"/>
              <a:gd name="T33" fmla="*/ 38 h 1182"/>
              <a:gd name="T34" fmla="*/ 353 w 2020"/>
              <a:gd name="T35" fmla="*/ 264 h 1182"/>
              <a:gd name="T36" fmla="*/ 497 w 2020"/>
              <a:gd name="T37" fmla="*/ 373 h 1182"/>
              <a:gd name="T38" fmla="*/ 180 w 2020"/>
              <a:gd name="T39" fmla="*/ 488 h 1182"/>
              <a:gd name="T40" fmla="*/ 190 w 2020"/>
              <a:gd name="T41" fmla="*/ 604 h 1182"/>
              <a:gd name="T42" fmla="*/ 273 w 2020"/>
              <a:gd name="T43" fmla="*/ 720 h 1182"/>
              <a:gd name="T44" fmla="*/ 377 w 2020"/>
              <a:gd name="T45" fmla="*/ 835 h 1182"/>
              <a:gd name="T46" fmla="*/ 446 w 2020"/>
              <a:gd name="T47" fmla="*/ 951 h 1182"/>
              <a:gd name="T48" fmla="*/ 443 w 2020"/>
              <a:gd name="T49" fmla="*/ 1066 h 1182"/>
              <a:gd name="T50" fmla="*/ 955 w 2020"/>
              <a:gd name="T51" fmla="*/ 1030 h 1182"/>
              <a:gd name="T52" fmla="*/ 912 w 2020"/>
              <a:gd name="T53" fmla="*/ 900 h 1182"/>
              <a:gd name="T54" fmla="*/ 898 w 2020"/>
              <a:gd name="T55" fmla="*/ 785 h 1182"/>
              <a:gd name="T56" fmla="*/ 755 w 2020"/>
              <a:gd name="T57" fmla="*/ 669 h 1182"/>
              <a:gd name="T58" fmla="*/ 798 w 2020"/>
              <a:gd name="T59" fmla="*/ 553 h 1182"/>
              <a:gd name="T60" fmla="*/ 761 w 2020"/>
              <a:gd name="T61" fmla="*/ 438 h 1182"/>
              <a:gd name="T62" fmla="*/ 1592 w 2020"/>
              <a:gd name="T63" fmla="*/ 388 h 1182"/>
              <a:gd name="T64" fmla="*/ 1553 w 2020"/>
              <a:gd name="T65" fmla="*/ 503 h 1182"/>
              <a:gd name="T66" fmla="*/ 1526 w 2020"/>
              <a:gd name="T67" fmla="*/ 619 h 1182"/>
              <a:gd name="T68" fmla="*/ 1454 w 2020"/>
              <a:gd name="T69" fmla="*/ 734 h 1182"/>
              <a:gd name="T70" fmla="*/ 1623 w 2020"/>
              <a:gd name="T71" fmla="*/ 792 h 1182"/>
              <a:gd name="T72" fmla="*/ 1681 w 2020"/>
              <a:gd name="T73" fmla="*/ 879 h 1182"/>
              <a:gd name="T74" fmla="*/ 1712 w 2020"/>
              <a:gd name="T75" fmla="*/ 995 h 1182"/>
              <a:gd name="T76" fmla="*/ 1658 w 2020"/>
              <a:gd name="T77" fmla="*/ 1110 h 1182"/>
              <a:gd name="T78" fmla="*/ 1824 w 2020"/>
              <a:gd name="T79" fmla="*/ 1081 h 1182"/>
              <a:gd name="T80" fmla="*/ 2020 w 2020"/>
              <a:gd name="T81" fmla="*/ 870 h 1182"/>
              <a:gd name="T82" fmla="*/ 969 w 2020"/>
              <a:gd name="T83" fmla="*/ 459 h 1182"/>
              <a:gd name="T84" fmla="*/ 860 w 2020"/>
              <a:gd name="T85" fmla="*/ 575 h 1182"/>
              <a:gd name="T86" fmla="*/ 1046 w 2020"/>
              <a:gd name="T87" fmla="*/ 691 h 1182"/>
              <a:gd name="T88" fmla="*/ 1049 w 2020"/>
              <a:gd name="T89" fmla="*/ 806 h 1182"/>
              <a:gd name="T90" fmla="*/ 1017 w 2020"/>
              <a:gd name="T91" fmla="*/ 922 h 1182"/>
              <a:gd name="T92" fmla="*/ 1017 w 2020"/>
              <a:gd name="T93" fmla="*/ 1066 h 1182"/>
              <a:gd name="T94" fmla="*/ 495 w 2020"/>
              <a:gd name="T95" fmla="*/ 1037 h 1182"/>
              <a:gd name="T96" fmla="*/ 593 w 2020"/>
              <a:gd name="T97" fmla="*/ 922 h 1182"/>
              <a:gd name="T98" fmla="*/ 529 w 2020"/>
              <a:gd name="T99" fmla="*/ 806 h 1182"/>
              <a:gd name="T100" fmla="*/ 276 w 2020"/>
              <a:gd name="T101" fmla="*/ 691 h 1182"/>
              <a:gd name="T102" fmla="*/ 381 w 2020"/>
              <a:gd name="T103" fmla="*/ 575 h 1182"/>
              <a:gd name="T104" fmla="*/ 518 w 2020"/>
              <a:gd name="T105" fmla="*/ 459 h 1182"/>
              <a:gd name="T106" fmla="*/ 601 w 2020"/>
              <a:gd name="T107" fmla="*/ 330 h 1182"/>
              <a:gd name="T108" fmla="*/ 581 w 2020"/>
              <a:gd name="T109" fmla="*/ 214 h 1182"/>
              <a:gd name="T110" fmla="*/ 622 w 2020"/>
              <a:gd name="T111" fmla="*/ 99 h 1182"/>
              <a:gd name="T112" fmla="*/ 1075 w 2020"/>
              <a:gd name="T113" fmla="*/ 156 h 1182"/>
              <a:gd name="T114" fmla="*/ 940 w 2020"/>
              <a:gd name="T115" fmla="*/ 272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0" h="1182">
                <a:moveTo>
                  <a:pt x="2001" y="851"/>
                </a:moveTo>
                <a:cubicBezTo>
                  <a:pt x="1990" y="851"/>
                  <a:pt x="1982" y="860"/>
                  <a:pt x="1982" y="870"/>
                </a:cubicBezTo>
                <a:cubicBezTo>
                  <a:pt x="1982" y="878"/>
                  <a:pt x="1987" y="885"/>
                  <a:pt x="1994" y="887"/>
                </a:cubicBezTo>
                <a:cubicBezTo>
                  <a:pt x="1988" y="947"/>
                  <a:pt x="1938" y="995"/>
                  <a:pt x="1876" y="995"/>
                </a:cubicBezTo>
                <a:cubicBezTo>
                  <a:pt x="1791" y="995"/>
                  <a:pt x="1791" y="995"/>
                  <a:pt x="1791" y="995"/>
                </a:cubicBezTo>
                <a:cubicBezTo>
                  <a:pt x="1779" y="995"/>
                  <a:pt x="1770" y="1004"/>
                  <a:pt x="1770" y="1016"/>
                </a:cubicBezTo>
                <a:cubicBezTo>
                  <a:pt x="1770" y="1028"/>
                  <a:pt x="1779" y="1038"/>
                  <a:pt x="1791" y="1038"/>
                </a:cubicBezTo>
                <a:cubicBezTo>
                  <a:pt x="1843" y="1038"/>
                  <a:pt x="1843" y="1038"/>
                  <a:pt x="1843" y="1038"/>
                </a:cubicBezTo>
                <a:cubicBezTo>
                  <a:pt x="1847" y="1038"/>
                  <a:pt x="1850" y="1041"/>
                  <a:pt x="1850" y="1045"/>
                </a:cubicBezTo>
                <a:cubicBezTo>
                  <a:pt x="1850" y="1049"/>
                  <a:pt x="1847" y="1052"/>
                  <a:pt x="1843" y="1052"/>
                </a:cubicBezTo>
                <a:cubicBezTo>
                  <a:pt x="1797" y="1052"/>
                  <a:pt x="1797" y="1052"/>
                  <a:pt x="1797" y="1052"/>
                </a:cubicBezTo>
                <a:cubicBezTo>
                  <a:pt x="1785" y="1052"/>
                  <a:pt x="1776" y="1062"/>
                  <a:pt x="1776" y="1074"/>
                </a:cubicBezTo>
                <a:cubicBezTo>
                  <a:pt x="1776" y="1086"/>
                  <a:pt x="1785" y="1096"/>
                  <a:pt x="1797" y="1096"/>
                </a:cubicBezTo>
                <a:cubicBezTo>
                  <a:pt x="1824" y="1096"/>
                  <a:pt x="1824" y="1096"/>
                  <a:pt x="1824" y="1096"/>
                </a:cubicBezTo>
                <a:cubicBezTo>
                  <a:pt x="1828" y="1096"/>
                  <a:pt x="1832" y="1099"/>
                  <a:pt x="1832" y="1103"/>
                </a:cubicBezTo>
                <a:cubicBezTo>
                  <a:pt x="1832" y="1107"/>
                  <a:pt x="1828" y="1110"/>
                  <a:pt x="1824" y="1110"/>
                </a:cubicBezTo>
                <a:cubicBezTo>
                  <a:pt x="1766" y="1110"/>
                  <a:pt x="1766" y="1110"/>
                  <a:pt x="1766" y="1110"/>
                </a:cubicBezTo>
                <a:cubicBezTo>
                  <a:pt x="1754" y="1110"/>
                  <a:pt x="1744" y="1120"/>
                  <a:pt x="1744" y="1132"/>
                </a:cubicBezTo>
                <a:cubicBezTo>
                  <a:pt x="1744" y="1144"/>
                  <a:pt x="1754" y="1153"/>
                  <a:pt x="1766" y="1153"/>
                </a:cubicBezTo>
                <a:cubicBezTo>
                  <a:pt x="1789" y="1153"/>
                  <a:pt x="1789" y="1153"/>
                  <a:pt x="1789" y="1153"/>
                </a:cubicBezTo>
                <a:cubicBezTo>
                  <a:pt x="1793" y="1153"/>
                  <a:pt x="1797" y="1157"/>
                  <a:pt x="1797" y="1161"/>
                </a:cubicBezTo>
                <a:cubicBezTo>
                  <a:pt x="1797" y="1165"/>
                  <a:pt x="1793" y="1168"/>
                  <a:pt x="1789" y="1168"/>
                </a:cubicBezTo>
                <a:cubicBezTo>
                  <a:pt x="1650" y="1168"/>
                  <a:pt x="1650" y="1168"/>
                  <a:pt x="1650" y="1168"/>
                </a:cubicBezTo>
                <a:cubicBezTo>
                  <a:pt x="1638" y="1168"/>
                  <a:pt x="1629" y="1158"/>
                  <a:pt x="1629" y="1146"/>
                </a:cubicBezTo>
                <a:cubicBezTo>
                  <a:pt x="1629" y="1134"/>
                  <a:pt x="1638" y="1125"/>
                  <a:pt x="1650" y="1125"/>
                </a:cubicBezTo>
                <a:cubicBezTo>
                  <a:pt x="1658" y="1125"/>
                  <a:pt x="1658" y="1125"/>
                  <a:pt x="1658" y="1125"/>
                </a:cubicBezTo>
                <a:cubicBezTo>
                  <a:pt x="1670" y="1125"/>
                  <a:pt x="1680" y="1115"/>
                  <a:pt x="1680" y="1103"/>
                </a:cubicBezTo>
                <a:cubicBezTo>
                  <a:pt x="1680" y="1091"/>
                  <a:pt x="1670" y="1081"/>
                  <a:pt x="1658" y="1081"/>
                </a:cubicBezTo>
                <a:cubicBezTo>
                  <a:pt x="1635" y="1081"/>
                  <a:pt x="1635" y="1081"/>
                  <a:pt x="1635" y="1081"/>
                </a:cubicBezTo>
                <a:cubicBezTo>
                  <a:pt x="1631" y="1081"/>
                  <a:pt x="1628" y="1078"/>
                  <a:pt x="1628" y="1074"/>
                </a:cubicBezTo>
                <a:cubicBezTo>
                  <a:pt x="1628" y="1070"/>
                  <a:pt x="1631" y="1067"/>
                  <a:pt x="1635" y="1067"/>
                </a:cubicBezTo>
                <a:cubicBezTo>
                  <a:pt x="1693" y="1067"/>
                  <a:pt x="1693" y="1067"/>
                  <a:pt x="1693" y="1067"/>
                </a:cubicBezTo>
                <a:cubicBezTo>
                  <a:pt x="1705" y="1067"/>
                  <a:pt x="1715" y="1057"/>
                  <a:pt x="1715" y="1045"/>
                </a:cubicBezTo>
                <a:cubicBezTo>
                  <a:pt x="1715" y="1033"/>
                  <a:pt x="1705" y="1024"/>
                  <a:pt x="1693" y="1024"/>
                </a:cubicBezTo>
                <a:cubicBezTo>
                  <a:pt x="1505" y="1024"/>
                  <a:pt x="1505" y="1024"/>
                  <a:pt x="1505" y="1024"/>
                </a:cubicBezTo>
                <a:cubicBezTo>
                  <a:pt x="1501" y="1024"/>
                  <a:pt x="1498" y="1020"/>
                  <a:pt x="1498" y="1016"/>
                </a:cubicBezTo>
                <a:cubicBezTo>
                  <a:pt x="1498" y="1012"/>
                  <a:pt x="1501" y="1009"/>
                  <a:pt x="1505" y="1009"/>
                </a:cubicBezTo>
                <a:cubicBezTo>
                  <a:pt x="1712" y="1009"/>
                  <a:pt x="1712" y="1009"/>
                  <a:pt x="1712" y="1009"/>
                </a:cubicBezTo>
                <a:cubicBezTo>
                  <a:pt x="1724" y="1009"/>
                  <a:pt x="1733" y="999"/>
                  <a:pt x="1733" y="987"/>
                </a:cubicBezTo>
                <a:cubicBezTo>
                  <a:pt x="1733" y="975"/>
                  <a:pt x="1724" y="966"/>
                  <a:pt x="1712" y="966"/>
                </a:cubicBezTo>
                <a:cubicBezTo>
                  <a:pt x="1504" y="966"/>
                  <a:pt x="1504" y="966"/>
                  <a:pt x="1504" y="966"/>
                </a:cubicBezTo>
                <a:cubicBezTo>
                  <a:pt x="1500" y="966"/>
                  <a:pt x="1496" y="962"/>
                  <a:pt x="1496" y="958"/>
                </a:cubicBezTo>
                <a:cubicBezTo>
                  <a:pt x="1496" y="954"/>
                  <a:pt x="1500" y="951"/>
                  <a:pt x="1504" y="951"/>
                </a:cubicBezTo>
                <a:cubicBezTo>
                  <a:pt x="1697" y="951"/>
                  <a:pt x="1697" y="951"/>
                  <a:pt x="1697" y="951"/>
                </a:cubicBezTo>
                <a:cubicBezTo>
                  <a:pt x="1709" y="951"/>
                  <a:pt x="1718" y="941"/>
                  <a:pt x="1718" y="929"/>
                </a:cubicBezTo>
                <a:cubicBezTo>
                  <a:pt x="1718" y="918"/>
                  <a:pt x="1709" y="908"/>
                  <a:pt x="1697" y="908"/>
                </a:cubicBezTo>
                <a:cubicBezTo>
                  <a:pt x="1550" y="908"/>
                  <a:pt x="1550" y="908"/>
                  <a:pt x="1550" y="908"/>
                </a:cubicBezTo>
                <a:cubicBezTo>
                  <a:pt x="1546" y="908"/>
                  <a:pt x="1543" y="905"/>
                  <a:pt x="1543" y="901"/>
                </a:cubicBezTo>
                <a:cubicBezTo>
                  <a:pt x="1543" y="897"/>
                  <a:pt x="1546" y="893"/>
                  <a:pt x="1550" y="893"/>
                </a:cubicBezTo>
                <a:cubicBezTo>
                  <a:pt x="1681" y="893"/>
                  <a:pt x="1681" y="893"/>
                  <a:pt x="1681" y="893"/>
                </a:cubicBezTo>
                <a:cubicBezTo>
                  <a:pt x="1701" y="893"/>
                  <a:pt x="1718" y="877"/>
                  <a:pt x="1718" y="857"/>
                </a:cubicBezTo>
                <a:cubicBezTo>
                  <a:pt x="1718" y="837"/>
                  <a:pt x="1701" y="821"/>
                  <a:pt x="1681" y="821"/>
                </a:cubicBezTo>
                <a:cubicBezTo>
                  <a:pt x="1673" y="821"/>
                  <a:pt x="1673" y="821"/>
                  <a:pt x="1673" y="821"/>
                </a:cubicBezTo>
                <a:cubicBezTo>
                  <a:pt x="1669" y="821"/>
                  <a:pt x="1666" y="818"/>
                  <a:pt x="1666" y="814"/>
                </a:cubicBezTo>
                <a:cubicBezTo>
                  <a:pt x="1666" y="810"/>
                  <a:pt x="1669" y="807"/>
                  <a:pt x="1673" y="807"/>
                </a:cubicBezTo>
                <a:cubicBezTo>
                  <a:pt x="1683" y="807"/>
                  <a:pt x="1683" y="807"/>
                  <a:pt x="1683" y="807"/>
                </a:cubicBezTo>
                <a:cubicBezTo>
                  <a:pt x="1694" y="807"/>
                  <a:pt x="1704" y="797"/>
                  <a:pt x="1704" y="785"/>
                </a:cubicBezTo>
                <a:cubicBezTo>
                  <a:pt x="1704" y="773"/>
                  <a:pt x="1694" y="763"/>
                  <a:pt x="1683" y="763"/>
                </a:cubicBezTo>
                <a:cubicBezTo>
                  <a:pt x="1607" y="763"/>
                  <a:pt x="1607" y="763"/>
                  <a:pt x="1607" y="763"/>
                </a:cubicBezTo>
                <a:cubicBezTo>
                  <a:pt x="1595" y="763"/>
                  <a:pt x="1585" y="773"/>
                  <a:pt x="1585" y="785"/>
                </a:cubicBezTo>
                <a:cubicBezTo>
                  <a:pt x="1585" y="797"/>
                  <a:pt x="1595" y="807"/>
                  <a:pt x="1607" y="807"/>
                </a:cubicBezTo>
                <a:cubicBezTo>
                  <a:pt x="1623" y="807"/>
                  <a:pt x="1623" y="807"/>
                  <a:pt x="1623" y="807"/>
                </a:cubicBezTo>
                <a:cubicBezTo>
                  <a:pt x="1627" y="807"/>
                  <a:pt x="1631" y="810"/>
                  <a:pt x="1631" y="814"/>
                </a:cubicBezTo>
                <a:cubicBezTo>
                  <a:pt x="1631" y="818"/>
                  <a:pt x="1627" y="821"/>
                  <a:pt x="1623" y="821"/>
                </a:cubicBezTo>
                <a:cubicBezTo>
                  <a:pt x="1455" y="821"/>
                  <a:pt x="1455" y="821"/>
                  <a:pt x="1455" y="821"/>
                </a:cubicBezTo>
                <a:cubicBezTo>
                  <a:pt x="1451" y="821"/>
                  <a:pt x="1448" y="818"/>
                  <a:pt x="1448" y="814"/>
                </a:cubicBezTo>
                <a:cubicBezTo>
                  <a:pt x="1448" y="810"/>
                  <a:pt x="1451" y="807"/>
                  <a:pt x="1455" y="807"/>
                </a:cubicBezTo>
                <a:cubicBezTo>
                  <a:pt x="1549" y="807"/>
                  <a:pt x="1549" y="807"/>
                  <a:pt x="1549" y="807"/>
                </a:cubicBezTo>
                <a:cubicBezTo>
                  <a:pt x="1561" y="807"/>
                  <a:pt x="1571" y="797"/>
                  <a:pt x="1571" y="785"/>
                </a:cubicBezTo>
                <a:cubicBezTo>
                  <a:pt x="1571" y="773"/>
                  <a:pt x="1561" y="763"/>
                  <a:pt x="1549" y="763"/>
                </a:cubicBezTo>
                <a:cubicBezTo>
                  <a:pt x="1321" y="763"/>
                  <a:pt x="1321" y="763"/>
                  <a:pt x="1321" y="763"/>
                </a:cubicBezTo>
                <a:cubicBezTo>
                  <a:pt x="1317" y="763"/>
                  <a:pt x="1314" y="760"/>
                  <a:pt x="1314" y="756"/>
                </a:cubicBezTo>
                <a:cubicBezTo>
                  <a:pt x="1314" y="752"/>
                  <a:pt x="1317" y="749"/>
                  <a:pt x="1321" y="749"/>
                </a:cubicBezTo>
                <a:cubicBezTo>
                  <a:pt x="1454" y="749"/>
                  <a:pt x="1454" y="749"/>
                  <a:pt x="1454" y="749"/>
                </a:cubicBezTo>
                <a:cubicBezTo>
                  <a:pt x="1466" y="749"/>
                  <a:pt x="1475" y="739"/>
                  <a:pt x="1475" y="727"/>
                </a:cubicBezTo>
                <a:cubicBezTo>
                  <a:pt x="1475" y="715"/>
                  <a:pt x="1466" y="706"/>
                  <a:pt x="1454" y="706"/>
                </a:cubicBezTo>
                <a:cubicBezTo>
                  <a:pt x="1287" y="706"/>
                  <a:pt x="1287" y="706"/>
                  <a:pt x="1287" y="706"/>
                </a:cubicBezTo>
                <a:cubicBezTo>
                  <a:pt x="1283" y="706"/>
                  <a:pt x="1280" y="702"/>
                  <a:pt x="1280" y="698"/>
                </a:cubicBezTo>
                <a:cubicBezTo>
                  <a:pt x="1280" y="694"/>
                  <a:pt x="1283" y="691"/>
                  <a:pt x="1287" y="691"/>
                </a:cubicBezTo>
                <a:cubicBezTo>
                  <a:pt x="1436" y="691"/>
                  <a:pt x="1436" y="691"/>
                  <a:pt x="1436" y="691"/>
                </a:cubicBezTo>
                <a:cubicBezTo>
                  <a:pt x="1448" y="691"/>
                  <a:pt x="1458" y="681"/>
                  <a:pt x="1458" y="669"/>
                </a:cubicBezTo>
                <a:cubicBezTo>
                  <a:pt x="1458" y="657"/>
                  <a:pt x="1448" y="648"/>
                  <a:pt x="1436" y="648"/>
                </a:cubicBezTo>
                <a:cubicBezTo>
                  <a:pt x="1068" y="648"/>
                  <a:pt x="1068" y="648"/>
                  <a:pt x="1068" y="648"/>
                </a:cubicBezTo>
                <a:cubicBezTo>
                  <a:pt x="1064" y="648"/>
                  <a:pt x="1061" y="644"/>
                  <a:pt x="1061" y="640"/>
                </a:cubicBezTo>
                <a:cubicBezTo>
                  <a:pt x="1061" y="636"/>
                  <a:pt x="1064" y="633"/>
                  <a:pt x="1068" y="633"/>
                </a:cubicBezTo>
                <a:cubicBezTo>
                  <a:pt x="1526" y="633"/>
                  <a:pt x="1526" y="633"/>
                  <a:pt x="1526" y="633"/>
                </a:cubicBezTo>
                <a:cubicBezTo>
                  <a:pt x="1538" y="633"/>
                  <a:pt x="1548" y="623"/>
                  <a:pt x="1548" y="612"/>
                </a:cubicBezTo>
                <a:cubicBezTo>
                  <a:pt x="1548" y="600"/>
                  <a:pt x="1538" y="590"/>
                  <a:pt x="1526" y="590"/>
                </a:cubicBezTo>
                <a:cubicBezTo>
                  <a:pt x="1019" y="590"/>
                  <a:pt x="1019" y="590"/>
                  <a:pt x="1019" y="590"/>
                </a:cubicBezTo>
                <a:cubicBezTo>
                  <a:pt x="1015" y="590"/>
                  <a:pt x="1012" y="587"/>
                  <a:pt x="1012" y="583"/>
                </a:cubicBezTo>
                <a:cubicBezTo>
                  <a:pt x="1012" y="579"/>
                  <a:pt x="1015" y="575"/>
                  <a:pt x="1019" y="575"/>
                </a:cubicBezTo>
                <a:cubicBezTo>
                  <a:pt x="1528" y="575"/>
                  <a:pt x="1528" y="575"/>
                  <a:pt x="1528" y="575"/>
                </a:cubicBezTo>
                <a:cubicBezTo>
                  <a:pt x="1540" y="575"/>
                  <a:pt x="1550" y="566"/>
                  <a:pt x="1550" y="554"/>
                </a:cubicBezTo>
                <a:cubicBezTo>
                  <a:pt x="1550" y="542"/>
                  <a:pt x="1540" y="532"/>
                  <a:pt x="1528" y="532"/>
                </a:cubicBezTo>
                <a:cubicBezTo>
                  <a:pt x="1039" y="532"/>
                  <a:pt x="1039" y="532"/>
                  <a:pt x="1039" y="532"/>
                </a:cubicBezTo>
                <a:cubicBezTo>
                  <a:pt x="1035" y="532"/>
                  <a:pt x="1032" y="529"/>
                  <a:pt x="1032" y="525"/>
                </a:cubicBezTo>
                <a:cubicBezTo>
                  <a:pt x="1032" y="521"/>
                  <a:pt x="1035" y="518"/>
                  <a:pt x="1039" y="518"/>
                </a:cubicBezTo>
                <a:cubicBezTo>
                  <a:pt x="1553" y="518"/>
                  <a:pt x="1553" y="518"/>
                  <a:pt x="1553" y="518"/>
                </a:cubicBezTo>
                <a:cubicBezTo>
                  <a:pt x="1564" y="518"/>
                  <a:pt x="1574" y="508"/>
                  <a:pt x="1574" y="496"/>
                </a:cubicBezTo>
                <a:cubicBezTo>
                  <a:pt x="1574" y="484"/>
                  <a:pt x="1564" y="474"/>
                  <a:pt x="1553" y="474"/>
                </a:cubicBezTo>
                <a:cubicBezTo>
                  <a:pt x="1039" y="474"/>
                  <a:pt x="1039" y="474"/>
                  <a:pt x="1039" y="474"/>
                </a:cubicBezTo>
                <a:cubicBezTo>
                  <a:pt x="1035" y="474"/>
                  <a:pt x="1032" y="471"/>
                  <a:pt x="1032" y="467"/>
                </a:cubicBezTo>
                <a:cubicBezTo>
                  <a:pt x="1032" y="463"/>
                  <a:pt x="1035" y="460"/>
                  <a:pt x="1039" y="460"/>
                </a:cubicBezTo>
                <a:cubicBezTo>
                  <a:pt x="1592" y="460"/>
                  <a:pt x="1592" y="460"/>
                  <a:pt x="1592" y="460"/>
                </a:cubicBezTo>
                <a:cubicBezTo>
                  <a:pt x="1603" y="460"/>
                  <a:pt x="1613" y="450"/>
                  <a:pt x="1613" y="438"/>
                </a:cubicBezTo>
                <a:cubicBezTo>
                  <a:pt x="1613" y="426"/>
                  <a:pt x="1603" y="416"/>
                  <a:pt x="1592" y="416"/>
                </a:cubicBezTo>
                <a:cubicBezTo>
                  <a:pt x="855" y="416"/>
                  <a:pt x="855" y="416"/>
                  <a:pt x="855" y="416"/>
                </a:cubicBezTo>
                <a:cubicBezTo>
                  <a:pt x="851" y="416"/>
                  <a:pt x="848" y="413"/>
                  <a:pt x="848" y="409"/>
                </a:cubicBezTo>
                <a:cubicBezTo>
                  <a:pt x="848" y="405"/>
                  <a:pt x="851" y="402"/>
                  <a:pt x="855" y="402"/>
                </a:cubicBezTo>
                <a:cubicBezTo>
                  <a:pt x="1592" y="402"/>
                  <a:pt x="1592" y="402"/>
                  <a:pt x="1592" y="402"/>
                </a:cubicBezTo>
                <a:cubicBezTo>
                  <a:pt x="1603" y="402"/>
                  <a:pt x="1613" y="392"/>
                  <a:pt x="1613" y="380"/>
                </a:cubicBezTo>
                <a:cubicBezTo>
                  <a:pt x="1613" y="368"/>
                  <a:pt x="1603" y="359"/>
                  <a:pt x="1592" y="359"/>
                </a:cubicBezTo>
                <a:cubicBezTo>
                  <a:pt x="902" y="359"/>
                  <a:pt x="902" y="359"/>
                  <a:pt x="902" y="359"/>
                </a:cubicBezTo>
                <a:cubicBezTo>
                  <a:pt x="902" y="358"/>
                  <a:pt x="902" y="358"/>
                  <a:pt x="902" y="358"/>
                </a:cubicBezTo>
                <a:cubicBezTo>
                  <a:pt x="886" y="358"/>
                  <a:pt x="886" y="358"/>
                  <a:pt x="886" y="358"/>
                </a:cubicBezTo>
                <a:cubicBezTo>
                  <a:pt x="883" y="357"/>
                  <a:pt x="881" y="355"/>
                  <a:pt x="881" y="351"/>
                </a:cubicBezTo>
                <a:cubicBezTo>
                  <a:pt x="881" y="347"/>
                  <a:pt x="884" y="344"/>
                  <a:pt x="888" y="344"/>
                </a:cubicBezTo>
                <a:cubicBezTo>
                  <a:pt x="1553" y="344"/>
                  <a:pt x="1553" y="344"/>
                  <a:pt x="1553" y="344"/>
                </a:cubicBezTo>
                <a:cubicBezTo>
                  <a:pt x="1565" y="344"/>
                  <a:pt x="1575" y="334"/>
                  <a:pt x="1575" y="322"/>
                </a:cubicBezTo>
                <a:cubicBezTo>
                  <a:pt x="1575" y="311"/>
                  <a:pt x="1565" y="301"/>
                  <a:pt x="1553" y="301"/>
                </a:cubicBezTo>
                <a:cubicBezTo>
                  <a:pt x="940" y="301"/>
                  <a:pt x="940" y="301"/>
                  <a:pt x="940" y="301"/>
                </a:cubicBezTo>
                <a:cubicBezTo>
                  <a:pt x="936" y="301"/>
                  <a:pt x="933" y="298"/>
                  <a:pt x="933" y="294"/>
                </a:cubicBezTo>
                <a:cubicBezTo>
                  <a:pt x="933" y="290"/>
                  <a:pt x="936" y="286"/>
                  <a:pt x="940" y="286"/>
                </a:cubicBezTo>
                <a:cubicBezTo>
                  <a:pt x="1683" y="286"/>
                  <a:pt x="1683" y="286"/>
                  <a:pt x="1683" y="286"/>
                </a:cubicBezTo>
                <a:cubicBezTo>
                  <a:pt x="1695" y="286"/>
                  <a:pt x="1705" y="277"/>
                  <a:pt x="1705" y="265"/>
                </a:cubicBezTo>
                <a:cubicBezTo>
                  <a:pt x="1705" y="253"/>
                  <a:pt x="1695" y="243"/>
                  <a:pt x="1683" y="243"/>
                </a:cubicBezTo>
                <a:cubicBezTo>
                  <a:pt x="1145" y="243"/>
                  <a:pt x="1145" y="243"/>
                  <a:pt x="1145" y="243"/>
                </a:cubicBezTo>
                <a:cubicBezTo>
                  <a:pt x="1141" y="243"/>
                  <a:pt x="1137" y="240"/>
                  <a:pt x="1137" y="236"/>
                </a:cubicBezTo>
                <a:cubicBezTo>
                  <a:pt x="1137" y="232"/>
                  <a:pt x="1141" y="228"/>
                  <a:pt x="1145" y="228"/>
                </a:cubicBezTo>
                <a:cubicBezTo>
                  <a:pt x="1686" y="228"/>
                  <a:pt x="1686" y="228"/>
                  <a:pt x="1686" y="228"/>
                </a:cubicBezTo>
                <a:cubicBezTo>
                  <a:pt x="1698" y="228"/>
                  <a:pt x="1708" y="219"/>
                  <a:pt x="1708" y="207"/>
                </a:cubicBezTo>
                <a:cubicBezTo>
                  <a:pt x="1708" y="195"/>
                  <a:pt x="1698" y="185"/>
                  <a:pt x="1686" y="185"/>
                </a:cubicBezTo>
                <a:cubicBezTo>
                  <a:pt x="1075" y="185"/>
                  <a:pt x="1075" y="185"/>
                  <a:pt x="1075" y="185"/>
                </a:cubicBezTo>
                <a:cubicBezTo>
                  <a:pt x="1071" y="185"/>
                  <a:pt x="1068" y="182"/>
                  <a:pt x="1068" y="178"/>
                </a:cubicBezTo>
                <a:cubicBezTo>
                  <a:pt x="1068" y="174"/>
                  <a:pt x="1071" y="171"/>
                  <a:pt x="1075" y="171"/>
                </a:cubicBezTo>
                <a:cubicBezTo>
                  <a:pt x="1693" y="171"/>
                  <a:pt x="1693" y="171"/>
                  <a:pt x="1693" y="171"/>
                </a:cubicBezTo>
                <a:cubicBezTo>
                  <a:pt x="1705" y="171"/>
                  <a:pt x="1715" y="161"/>
                  <a:pt x="1715" y="149"/>
                </a:cubicBezTo>
                <a:cubicBezTo>
                  <a:pt x="1715" y="137"/>
                  <a:pt x="1705" y="127"/>
                  <a:pt x="1693" y="127"/>
                </a:cubicBezTo>
                <a:cubicBezTo>
                  <a:pt x="1225" y="127"/>
                  <a:pt x="1225" y="127"/>
                  <a:pt x="1225" y="127"/>
                </a:cubicBezTo>
                <a:cubicBezTo>
                  <a:pt x="1221" y="127"/>
                  <a:pt x="1218" y="124"/>
                  <a:pt x="1218" y="120"/>
                </a:cubicBezTo>
                <a:cubicBezTo>
                  <a:pt x="1218" y="116"/>
                  <a:pt x="1221" y="113"/>
                  <a:pt x="1225" y="113"/>
                </a:cubicBezTo>
                <a:cubicBezTo>
                  <a:pt x="1237" y="113"/>
                  <a:pt x="1237" y="113"/>
                  <a:pt x="1237" y="113"/>
                </a:cubicBezTo>
                <a:cubicBezTo>
                  <a:pt x="1249" y="113"/>
                  <a:pt x="1258" y="103"/>
                  <a:pt x="1258" y="91"/>
                </a:cubicBezTo>
                <a:cubicBezTo>
                  <a:pt x="1258" y="79"/>
                  <a:pt x="1249" y="70"/>
                  <a:pt x="1237" y="70"/>
                </a:cubicBezTo>
                <a:cubicBezTo>
                  <a:pt x="622" y="70"/>
                  <a:pt x="622" y="70"/>
                  <a:pt x="622" y="70"/>
                </a:cubicBezTo>
                <a:cubicBezTo>
                  <a:pt x="610" y="70"/>
                  <a:pt x="600" y="79"/>
                  <a:pt x="600" y="91"/>
                </a:cubicBezTo>
                <a:cubicBezTo>
                  <a:pt x="600" y="103"/>
                  <a:pt x="610" y="113"/>
                  <a:pt x="622" y="113"/>
                </a:cubicBezTo>
                <a:cubicBezTo>
                  <a:pt x="754" y="113"/>
                  <a:pt x="754" y="113"/>
                  <a:pt x="754" y="113"/>
                </a:cubicBezTo>
                <a:cubicBezTo>
                  <a:pt x="758" y="113"/>
                  <a:pt x="762" y="116"/>
                  <a:pt x="762" y="120"/>
                </a:cubicBezTo>
                <a:cubicBezTo>
                  <a:pt x="762" y="124"/>
                  <a:pt x="758" y="127"/>
                  <a:pt x="754" y="127"/>
                </a:cubicBezTo>
                <a:cubicBezTo>
                  <a:pt x="561" y="127"/>
                  <a:pt x="561" y="127"/>
                  <a:pt x="561" y="127"/>
                </a:cubicBezTo>
                <a:cubicBezTo>
                  <a:pt x="549" y="127"/>
                  <a:pt x="540" y="137"/>
                  <a:pt x="540" y="149"/>
                </a:cubicBezTo>
                <a:cubicBezTo>
                  <a:pt x="540" y="161"/>
                  <a:pt x="549" y="171"/>
                  <a:pt x="561" y="171"/>
                </a:cubicBezTo>
                <a:cubicBezTo>
                  <a:pt x="749" y="171"/>
                  <a:pt x="749" y="171"/>
                  <a:pt x="749" y="171"/>
                </a:cubicBezTo>
                <a:cubicBezTo>
                  <a:pt x="753" y="171"/>
                  <a:pt x="756" y="174"/>
                  <a:pt x="756" y="178"/>
                </a:cubicBezTo>
                <a:cubicBezTo>
                  <a:pt x="756" y="182"/>
                  <a:pt x="753" y="185"/>
                  <a:pt x="749" y="185"/>
                </a:cubicBezTo>
                <a:cubicBezTo>
                  <a:pt x="581" y="185"/>
                  <a:pt x="581" y="185"/>
                  <a:pt x="581" y="185"/>
                </a:cubicBezTo>
                <a:cubicBezTo>
                  <a:pt x="569" y="185"/>
                  <a:pt x="559" y="195"/>
                  <a:pt x="559" y="207"/>
                </a:cubicBezTo>
                <a:cubicBezTo>
                  <a:pt x="559" y="219"/>
                  <a:pt x="569" y="228"/>
                  <a:pt x="581" y="228"/>
                </a:cubicBezTo>
                <a:cubicBezTo>
                  <a:pt x="734" y="228"/>
                  <a:pt x="734" y="228"/>
                  <a:pt x="734" y="228"/>
                </a:cubicBezTo>
                <a:cubicBezTo>
                  <a:pt x="738" y="228"/>
                  <a:pt x="741" y="232"/>
                  <a:pt x="741" y="236"/>
                </a:cubicBezTo>
                <a:cubicBezTo>
                  <a:pt x="741" y="240"/>
                  <a:pt x="738" y="243"/>
                  <a:pt x="734" y="243"/>
                </a:cubicBezTo>
                <a:cubicBezTo>
                  <a:pt x="600" y="243"/>
                  <a:pt x="600" y="243"/>
                  <a:pt x="600" y="243"/>
                </a:cubicBezTo>
                <a:cubicBezTo>
                  <a:pt x="588" y="243"/>
                  <a:pt x="579" y="253"/>
                  <a:pt x="579" y="265"/>
                </a:cubicBezTo>
                <a:cubicBezTo>
                  <a:pt x="579" y="277"/>
                  <a:pt x="588" y="286"/>
                  <a:pt x="600" y="286"/>
                </a:cubicBezTo>
                <a:cubicBezTo>
                  <a:pt x="721" y="286"/>
                  <a:pt x="721" y="286"/>
                  <a:pt x="721" y="286"/>
                </a:cubicBezTo>
                <a:cubicBezTo>
                  <a:pt x="725" y="286"/>
                  <a:pt x="728" y="290"/>
                  <a:pt x="728" y="294"/>
                </a:cubicBezTo>
                <a:cubicBezTo>
                  <a:pt x="728" y="298"/>
                  <a:pt x="725" y="301"/>
                  <a:pt x="721" y="301"/>
                </a:cubicBezTo>
                <a:cubicBezTo>
                  <a:pt x="601" y="301"/>
                  <a:pt x="601" y="301"/>
                  <a:pt x="601" y="301"/>
                </a:cubicBezTo>
                <a:cubicBezTo>
                  <a:pt x="590" y="301"/>
                  <a:pt x="580" y="311"/>
                  <a:pt x="580" y="322"/>
                </a:cubicBezTo>
                <a:cubicBezTo>
                  <a:pt x="580" y="334"/>
                  <a:pt x="590" y="344"/>
                  <a:pt x="601" y="344"/>
                </a:cubicBezTo>
                <a:cubicBezTo>
                  <a:pt x="625" y="344"/>
                  <a:pt x="625" y="344"/>
                  <a:pt x="625" y="344"/>
                </a:cubicBezTo>
                <a:cubicBezTo>
                  <a:pt x="629" y="344"/>
                  <a:pt x="632" y="347"/>
                  <a:pt x="632" y="351"/>
                </a:cubicBezTo>
                <a:cubicBezTo>
                  <a:pt x="632" y="355"/>
                  <a:pt x="629" y="359"/>
                  <a:pt x="625" y="359"/>
                </a:cubicBezTo>
                <a:cubicBezTo>
                  <a:pt x="526" y="359"/>
                  <a:pt x="526" y="359"/>
                  <a:pt x="526" y="359"/>
                </a:cubicBezTo>
                <a:cubicBezTo>
                  <a:pt x="525" y="358"/>
                  <a:pt x="523" y="358"/>
                  <a:pt x="522" y="358"/>
                </a:cubicBezTo>
                <a:cubicBezTo>
                  <a:pt x="157" y="358"/>
                  <a:pt x="157" y="358"/>
                  <a:pt x="157" y="358"/>
                </a:cubicBezTo>
                <a:cubicBezTo>
                  <a:pt x="153" y="358"/>
                  <a:pt x="149" y="355"/>
                  <a:pt x="149" y="351"/>
                </a:cubicBezTo>
                <a:cubicBezTo>
                  <a:pt x="149" y="347"/>
                  <a:pt x="153" y="344"/>
                  <a:pt x="157" y="344"/>
                </a:cubicBezTo>
                <a:cubicBezTo>
                  <a:pt x="366" y="344"/>
                  <a:pt x="366" y="344"/>
                  <a:pt x="366" y="344"/>
                </a:cubicBezTo>
                <a:cubicBezTo>
                  <a:pt x="378" y="344"/>
                  <a:pt x="388" y="334"/>
                  <a:pt x="388" y="322"/>
                </a:cubicBezTo>
                <a:cubicBezTo>
                  <a:pt x="388" y="310"/>
                  <a:pt x="378" y="301"/>
                  <a:pt x="366" y="301"/>
                </a:cubicBezTo>
                <a:cubicBezTo>
                  <a:pt x="22" y="301"/>
                  <a:pt x="22" y="301"/>
                  <a:pt x="22" y="301"/>
                </a:cubicBezTo>
                <a:cubicBezTo>
                  <a:pt x="18" y="301"/>
                  <a:pt x="15" y="297"/>
                  <a:pt x="15" y="293"/>
                </a:cubicBezTo>
                <a:cubicBezTo>
                  <a:pt x="15" y="289"/>
                  <a:pt x="18" y="286"/>
                  <a:pt x="22" y="286"/>
                </a:cubicBezTo>
                <a:cubicBezTo>
                  <a:pt x="346" y="286"/>
                  <a:pt x="346" y="286"/>
                  <a:pt x="346" y="286"/>
                </a:cubicBezTo>
                <a:cubicBezTo>
                  <a:pt x="358" y="286"/>
                  <a:pt x="367" y="276"/>
                  <a:pt x="367" y="264"/>
                </a:cubicBezTo>
                <a:cubicBezTo>
                  <a:pt x="367" y="252"/>
                  <a:pt x="358" y="243"/>
                  <a:pt x="346" y="243"/>
                </a:cubicBezTo>
                <a:cubicBezTo>
                  <a:pt x="59" y="243"/>
                  <a:pt x="59" y="243"/>
                  <a:pt x="59" y="243"/>
                </a:cubicBezTo>
                <a:cubicBezTo>
                  <a:pt x="55" y="243"/>
                  <a:pt x="52" y="239"/>
                  <a:pt x="52" y="235"/>
                </a:cubicBezTo>
                <a:cubicBezTo>
                  <a:pt x="52" y="231"/>
                  <a:pt x="55" y="228"/>
                  <a:pt x="59" y="228"/>
                </a:cubicBezTo>
                <a:cubicBezTo>
                  <a:pt x="237" y="228"/>
                  <a:pt x="237" y="228"/>
                  <a:pt x="237" y="228"/>
                </a:cubicBezTo>
                <a:cubicBezTo>
                  <a:pt x="249" y="228"/>
                  <a:pt x="258" y="218"/>
                  <a:pt x="258" y="207"/>
                </a:cubicBezTo>
                <a:cubicBezTo>
                  <a:pt x="258" y="195"/>
                  <a:pt x="249" y="185"/>
                  <a:pt x="237" y="185"/>
                </a:cubicBezTo>
                <a:cubicBezTo>
                  <a:pt x="72" y="185"/>
                  <a:pt x="72" y="185"/>
                  <a:pt x="72" y="185"/>
                </a:cubicBezTo>
                <a:cubicBezTo>
                  <a:pt x="68" y="185"/>
                  <a:pt x="64" y="182"/>
                  <a:pt x="64" y="178"/>
                </a:cubicBezTo>
                <a:cubicBezTo>
                  <a:pt x="64" y="174"/>
                  <a:pt x="68" y="170"/>
                  <a:pt x="72" y="170"/>
                </a:cubicBezTo>
                <a:cubicBezTo>
                  <a:pt x="200" y="170"/>
                  <a:pt x="200" y="170"/>
                  <a:pt x="200" y="170"/>
                </a:cubicBezTo>
                <a:cubicBezTo>
                  <a:pt x="273" y="170"/>
                  <a:pt x="333" y="111"/>
                  <a:pt x="333" y="38"/>
                </a:cubicBezTo>
                <a:cubicBezTo>
                  <a:pt x="344" y="38"/>
                  <a:pt x="344" y="38"/>
                  <a:pt x="344" y="38"/>
                </a:cubicBezTo>
                <a:cubicBezTo>
                  <a:pt x="344" y="0"/>
                  <a:pt x="344" y="0"/>
                  <a:pt x="344" y="0"/>
                </a:cubicBezTo>
                <a:cubicBezTo>
                  <a:pt x="306" y="0"/>
                  <a:pt x="306" y="0"/>
                  <a:pt x="306" y="0"/>
                </a:cubicBezTo>
                <a:cubicBezTo>
                  <a:pt x="306" y="38"/>
                  <a:pt x="306" y="38"/>
                  <a:pt x="306" y="38"/>
                </a:cubicBezTo>
                <a:cubicBezTo>
                  <a:pt x="318" y="38"/>
                  <a:pt x="318" y="38"/>
                  <a:pt x="318" y="38"/>
                </a:cubicBezTo>
                <a:cubicBezTo>
                  <a:pt x="318" y="103"/>
                  <a:pt x="265" y="156"/>
                  <a:pt x="200" y="156"/>
                </a:cubicBezTo>
                <a:cubicBezTo>
                  <a:pt x="72" y="156"/>
                  <a:pt x="72" y="156"/>
                  <a:pt x="72" y="156"/>
                </a:cubicBezTo>
                <a:cubicBezTo>
                  <a:pt x="60" y="156"/>
                  <a:pt x="50" y="166"/>
                  <a:pt x="50" y="178"/>
                </a:cubicBezTo>
                <a:cubicBezTo>
                  <a:pt x="50" y="190"/>
                  <a:pt x="60" y="199"/>
                  <a:pt x="72" y="199"/>
                </a:cubicBezTo>
                <a:cubicBezTo>
                  <a:pt x="237" y="199"/>
                  <a:pt x="237" y="199"/>
                  <a:pt x="237" y="199"/>
                </a:cubicBezTo>
                <a:cubicBezTo>
                  <a:pt x="241" y="199"/>
                  <a:pt x="244" y="202"/>
                  <a:pt x="244" y="207"/>
                </a:cubicBezTo>
                <a:cubicBezTo>
                  <a:pt x="244" y="211"/>
                  <a:pt x="241" y="214"/>
                  <a:pt x="237" y="214"/>
                </a:cubicBezTo>
                <a:cubicBezTo>
                  <a:pt x="59" y="214"/>
                  <a:pt x="59" y="214"/>
                  <a:pt x="59" y="214"/>
                </a:cubicBezTo>
                <a:cubicBezTo>
                  <a:pt x="47" y="214"/>
                  <a:pt x="37" y="224"/>
                  <a:pt x="37" y="235"/>
                </a:cubicBezTo>
                <a:cubicBezTo>
                  <a:pt x="37" y="247"/>
                  <a:pt x="47" y="257"/>
                  <a:pt x="59" y="257"/>
                </a:cubicBezTo>
                <a:cubicBezTo>
                  <a:pt x="346" y="257"/>
                  <a:pt x="346" y="257"/>
                  <a:pt x="346" y="257"/>
                </a:cubicBezTo>
                <a:cubicBezTo>
                  <a:pt x="350" y="257"/>
                  <a:pt x="353" y="260"/>
                  <a:pt x="353" y="264"/>
                </a:cubicBezTo>
                <a:cubicBezTo>
                  <a:pt x="353" y="268"/>
                  <a:pt x="350" y="272"/>
                  <a:pt x="346" y="272"/>
                </a:cubicBezTo>
                <a:cubicBezTo>
                  <a:pt x="22" y="272"/>
                  <a:pt x="22" y="272"/>
                  <a:pt x="22" y="272"/>
                </a:cubicBezTo>
                <a:cubicBezTo>
                  <a:pt x="10" y="272"/>
                  <a:pt x="0" y="281"/>
                  <a:pt x="0" y="293"/>
                </a:cubicBezTo>
                <a:cubicBezTo>
                  <a:pt x="0" y="305"/>
                  <a:pt x="10" y="315"/>
                  <a:pt x="22" y="315"/>
                </a:cubicBezTo>
                <a:cubicBezTo>
                  <a:pt x="366" y="315"/>
                  <a:pt x="366" y="315"/>
                  <a:pt x="366" y="315"/>
                </a:cubicBezTo>
                <a:cubicBezTo>
                  <a:pt x="370" y="315"/>
                  <a:pt x="374" y="318"/>
                  <a:pt x="374" y="322"/>
                </a:cubicBezTo>
                <a:cubicBezTo>
                  <a:pt x="374" y="326"/>
                  <a:pt x="370" y="329"/>
                  <a:pt x="366" y="329"/>
                </a:cubicBezTo>
                <a:cubicBezTo>
                  <a:pt x="157" y="329"/>
                  <a:pt x="157" y="329"/>
                  <a:pt x="157" y="329"/>
                </a:cubicBezTo>
                <a:cubicBezTo>
                  <a:pt x="145" y="329"/>
                  <a:pt x="135" y="339"/>
                  <a:pt x="135" y="351"/>
                </a:cubicBezTo>
                <a:cubicBezTo>
                  <a:pt x="135" y="363"/>
                  <a:pt x="145" y="373"/>
                  <a:pt x="157" y="373"/>
                </a:cubicBezTo>
                <a:cubicBezTo>
                  <a:pt x="497" y="373"/>
                  <a:pt x="497" y="373"/>
                  <a:pt x="497" y="373"/>
                </a:cubicBezTo>
                <a:cubicBezTo>
                  <a:pt x="497" y="373"/>
                  <a:pt x="497" y="373"/>
                  <a:pt x="497" y="373"/>
                </a:cubicBezTo>
                <a:cubicBezTo>
                  <a:pt x="524" y="373"/>
                  <a:pt x="524" y="373"/>
                  <a:pt x="524" y="373"/>
                </a:cubicBezTo>
                <a:cubicBezTo>
                  <a:pt x="527" y="374"/>
                  <a:pt x="530" y="377"/>
                  <a:pt x="530" y="380"/>
                </a:cubicBezTo>
                <a:cubicBezTo>
                  <a:pt x="530" y="384"/>
                  <a:pt x="526" y="387"/>
                  <a:pt x="522" y="387"/>
                </a:cubicBezTo>
                <a:cubicBezTo>
                  <a:pt x="164" y="387"/>
                  <a:pt x="164" y="387"/>
                  <a:pt x="164" y="387"/>
                </a:cubicBezTo>
                <a:cubicBezTo>
                  <a:pt x="152" y="387"/>
                  <a:pt x="142" y="397"/>
                  <a:pt x="142" y="409"/>
                </a:cubicBezTo>
                <a:cubicBezTo>
                  <a:pt x="142" y="421"/>
                  <a:pt x="152" y="430"/>
                  <a:pt x="164" y="430"/>
                </a:cubicBezTo>
                <a:cubicBezTo>
                  <a:pt x="518" y="430"/>
                  <a:pt x="518" y="430"/>
                  <a:pt x="518" y="430"/>
                </a:cubicBezTo>
                <a:cubicBezTo>
                  <a:pt x="522" y="430"/>
                  <a:pt x="525" y="434"/>
                  <a:pt x="525" y="438"/>
                </a:cubicBezTo>
                <a:cubicBezTo>
                  <a:pt x="525" y="442"/>
                  <a:pt x="522" y="445"/>
                  <a:pt x="518" y="445"/>
                </a:cubicBezTo>
                <a:cubicBezTo>
                  <a:pt x="180" y="445"/>
                  <a:pt x="180" y="445"/>
                  <a:pt x="180" y="445"/>
                </a:cubicBezTo>
                <a:cubicBezTo>
                  <a:pt x="168" y="445"/>
                  <a:pt x="158" y="455"/>
                  <a:pt x="158" y="467"/>
                </a:cubicBezTo>
                <a:cubicBezTo>
                  <a:pt x="158" y="479"/>
                  <a:pt x="168" y="488"/>
                  <a:pt x="180" y="488"/>
                </a:cubicBezTo>
                <a:cubicBezTo>
                  <a:pt x="433" y="488"/>
                  <a:pt x="433" y="488"/>
                  <a:pt x="433" y="488"/>
                </a:cubicBezTo>
                <a:cubicBezTo>
                  <a:pt x="437" y="488"/>
                  <a:pt x="440" y="492"/>
                  <a:pt x="440" y="496"/>
                </a:cubicBezTo>
                <a:cubicBezTo>
                  <a:pt x="440" y="500"/>
                  <a:pt x="437" y="503"/>
                  <a:pt x="433" y="503"/>
                </a:cubicBezTo>
                <a:cubicBezTo>
                  <a:pt x="162" y="503"/>
                  <a:pt x="162" y="503"/>
                  <a:pt x="162" y="503"/>
                </a:cubicBezTo>
                <a:cubicBezTo>
                  <a:pt x="150" y="503"/>
                  <a:pt x="140" y="513"/>
                  <a:pt x="140" y="524"/>
                </a:cubicBezTo>
                <a:cubicBezTo>
                  <a:pt x="140" y="536"/>
                  <a:pt x="150" y="546"/>
                  <a:pt x="162" y="546"/>
                </a:cubicBezTo>
                <a:cubicBezTo>
                  <a:pt x="381" y="546"/>
                  <a:pt x="381" y="546"/>
                  <a:pt x="381" y="546"/>
                </a:cubicBezTo>
                <a:cubicBezTo>
                  <a:pt x="385" y="546"/>
                  <a:pt x="388" y="549"/>
                  <a:pt x="388" y="553"/>
                </a:cubicBezTo>
                <a:cubicBezTo>
                  <a:pt x="388" y="557"/>
                  <a:pt x="385" y="561"/>
                  <a:pt x="381" y="561"/>
                </a:cubicBezTo>
                <a:cubicBezTo>
                  <a:pt x="190" y="561"/>
                  <a:pt x="190" y="561"/>
                  <a:pt x="190" y="561"/>
                </a:cubicBezTo>
                <a:cubicBezTo>
                  <a:pt x="178" y="561"/>
                  <a:pt x="168" y="570"/>
                  <a:pt x="168" y="582"/>
                </a:cubicBezTo>
                <a:cubicBezTo>
                  <a:pt x="168" y="594"/>
                  <a:pt x="178" y="604"/>
                  <a:pt x="190" y="604"/>
                </a:cubicBezTo>
                <a:cubicBezTo>
                  <a:pt x="266" y="604"/>
                  <a:pt x="266" y="604"/>
                  <a:pt x="266" y="604"/>
                </a:cubicBezTo>
                <a:cubicBezTo>
                  <a:pt x="270" y="604"/>
                  <a:pt x="273" y="607"/>
                  <a:pt x="273" y="611"/>
                </a:cubicBezTo>
                <a:cubicBezTo>
                  <a:pt x="273" y="615"/>
                  <a:pt x="270" y="619"/>
                  <a:pt x="266" y="619"/>
                </a:cubicBezTo>
                <a:cubicBezTo>
                  <a:pt x="236" y="619"/>
                  <a:pt x="236" y="619"/>
                  <a:pt x="236" y="619"/>
                </a:cubicBezTo>
                <a:cubicBezTo>
                  <a:pt x="224" y="619"/>
                  <a:pt x="215" y="628"/>
                  <a:pt x="215" y="640"/>
                </a:cubicBezTo>
                <a:cubicBezTo>
                  <a:pt x="215" y="652"/>
                  <a:pt x="224" y="662"/>
                  <a:pt x="236" y="662"/>
                </a:cubicBezTo>
                <a:cubicBezTo>
                  <a:pt x="276" y="662"/>
                  <a:pt x="276" y="662"/>
                  <a:pt x="276" y="662"/>
                </a:cubicBezTo>
                <a:cubicBezTo>
                  <a:pt x="280" y="662"/>
                  <a:pt x="283" y="665"/>
                  <a:pt x="283" y="669"/>
                </a:cubicBezTo>
                <a:cubicBezTo>
                  <a:pt x="283" y="673"/>
                  <a:pt x="280" y="676"/>
                  <a:pt x="276" y="676"/>
                </a:cubicBezTo>
                <a:cubicBezTo>
                  <a:pt x="273" y="676"/>
                  <a:pt x="273" y="676"/>
                  <a:pt x="273" y="676"/>
                </a:cubicBezTo>
                <a:cubicBezTo>
                  <a:pt x="261" y="676"/>
                  <a:pt x="252" y="686"/>
                  <a:pt x="252" y="698"/>
                </a:cubicBezTo>
                <a:cubicBezTo>
                  <a:pt x="252" y="710"/>
                  <a:pt x="261" y="720"/>
                  <a:pt x="273" y="720"/>
                </a:cubicBezTo>
                <a:cubicBezTo>
                  <a:pt x="353" y="720"/>
                  <a:pt x="353" y="720"/>
                  <a:pt x="353" y="720"/>
                </a:cubicBezTo>
                <a:cubicBezTo>
                  <a:pt x="357" y="720"/>
                  <a:pt x="360" y="723"/>
                  <a:pt x="360" y="727"/>
                </a:cubicBezTo>
                <a:cubicBezTo>
                  <a:pt x="360" y="731"/>
                  <a:pt x="357" y="734"/>
                  <a:pt x="353" y="734"/>
                </a:cubicBezTo>
                <a:cubicBezTo>
                  <a:pt x="337" y="734"/>
                  <a:pt x="337" y="734"/>
                  <a:pt x="337" y="734"/>
                </a:cubicBezTo>
                <a:cubicBezTo>
                  <a:pt x="325" y="734"/>
                  <a:pt x="316" y="744"/>
                  <a:pt x="316" y="756"/>
                </a:cubicBezTo>
                <a:cubicBezTo>
                  <a:pt x="316" y="768"/>
                  <a:pt x="325" y="777"/>
                  <a:pt x="337" y="777"/>
                </a:cubicBezTo>
                <a:cubicBezTo>
                  <a:pt x="529" y="777"/>
                  <a:pt x="529" y="777"/>
                  <a:pt x="529" y="777"/>
                </a:cubicBezTo>
                <a:cubicBezTo>
                  <a:pt x="533" y="777"/>
                  <a:pt x="537" y="781"/>
                  <a:pt x="537" y="785"/>
                </a:cubicBezTo>
                <a:cubicBezTo>
                  <a:pt x="537" y="789"/>
                  <a:pt x="533" y="792"/>
                  <a:pt x="529" y="792"/>
                </a:cubicBezTo>
                <a:cubicBezTo>
                  <a:pt x="377" y="792"/>
                  <a:pt x="377" y="792"/>
                  <a:pt x="377" y="792"/>
                </a:cubicBezTo>
                <a:cubicBezTo>
                  <a:pt x="365" y="792"/>
                  <a:pt x="356" y="802"/>
                  <a:pt x="356" y="814"/>
                </a:cubicBezTo>
                <a:cubicBezTo>
                  <a:pt x="356" y="825"/>
                  <a:pt x="365" y="835"/>
                  <a:pt x="377" y="835"/>
                </a:cubicBezTo>
                <a:cubicBezTo>
                  <a:pt x="607" y="835"/>
                  <a:pt x="607" y="835"/>
                  <a:pt x="607" y="835"/>
                </a:cubicBezTo>
                <a:cubicBezTo>
                  <a:pt x="611" y="835"/>
                  <a:pt x="615" y="838"/>
                  <a:pt x="615" y="842"/>
                </a:cubicBezTo>
                <a:cubicBezTo>
                  <a:pt x="615" y="846"/>
                  <a:pt x="611" y="850"/>
                  <a:pt x="607" y="850"/>
                </a:cubicBezTo>
                <a:cubicBezTo>
                  <a:pt x="417" y="850"/>
                  <a:pt x="417" y="850"/>
                  <a:pt x="417" y="850"/>
                </a:cubicBezTo>
                <a:cubicBezTo>
                  <a:pt x="405" y="850"/>
                  <a:pt x="396" y="859"/>
                  <a:pt x="396" y="871"/>
                </a:cubicBezTo>
                <a:cubicBezTo>
                  <a:pt x="396" y="883"/>
                  <a:pt x="405" y="893"/>
                  <a:pt x="417" y="893"/>
                </a:cubicBezTo>
                <a:cubicBezTo>
                  <a:pt x="593" y="893"/>
                  <a:pt x="593" y="893"/>
                  <a:pt x="593" y="893"/>
                </a:cubicBezTo>
                <a:cubicBezTo>
                  <a:pt x="597" y="893"/>
                  <a:pt x="600" y="896"/>
                  <a:pt x="600" y="900"/>
                </a:cubicBezTo>
                <a:cubicBezTo>
                  <a:pt x="600" y="904"/>
                  <a:pt x="597" y="908"/>
                  <a:pt x="593" y="908"/>
                </a:cubicBezTo>
                <a:cubicBezTo>
                  <a:pt x="446" y="908"/>
                  <a:pt x="446" y="908"/>
                  <a:pt x="446" y="908"/>
                </a:cubicBezTo>
                <a:cubicBezTo>
                  <a:pt x="434" y="908"/>
                  <a:pt x="425" y="917"/>
                  <a:pt x="425" y="929"/>
                </a:cubicBezTo>
                <a:cubicBezTo>
                  <a:pt x="425" y="941"/>
                  <a:pt x="434" y="951"/>
                  <a:pt x="446" y="951"/>
                </a:cubicBezTo>
                <a:cubicBezTo>
                  <a:pt x="551" y="951"/>
                  <a:pt x="551" y="951"/>
                  <a:pt x="551" y="951"/>
                </a:cubicBezTo>
                <a:cubicBezTo>
                  <a:pt x="555" y="951"/>
                  <a:pt x="558" y="954"/>
                  <a:pt x="558" y="958"/>
                </a:cubicBezTo>
                <a:cubicBezTo>
                  <a:pt x="558" y="962"/>
                  <a:pt x="555" y="965"/>
                  <a:pt x="551" y="965"/>
                </a:cubicBezTo>
                <a:cubicBezTo>
                  <a:pt x="438" y="965"/>
                  <a:pt x="438" y="965"/>
                  <a:pt x="438" y="965"/>
                </a:cubicBezTo>
                <a:cubicBezTo>
                  <a:pt x="426" y="965"/>
                  <a:pt x="417" y="975"/>
                  <a:pt x="417" y="987"/>
                </a:cubicBezTo>
                <a:cubicBezTo>
                  <a:pt x="417" y="999"/>
                  <a:pt x="426" y="1009"/>
                  <a:pt x="438" y="1009"/>
                </a:cubicBezTo>
                <a:cubicBezTo>
                  <a:pt x="495" y="1009"/>
                  <a:pt x="495" y="1009"/>
                  <a:pt x="495" y="1009"/>
                </a:cubicBezTo>
                <a:cubicBezTo>
                  <a:pt x="499" y="1009"/>
                  <a:pt x="502" y="1012"/>
                  <a:pt x="502" y="1016"/>
                </a:cubicBezTo>
                <a:cubicBezTo>
                  <a:pt x="502" y="1020"/>
                  <a:pt x="499" y="1023"/>
                  <a:pt x="495" y="1023"/>
                </a:cubicBezTo>
                <a:cubicBezTo>
                  <a:pt x="443" y="1023"/>
                  <a:pt x="443" y="1023"/>
                  <a:pt x="443" y="1023"/>
                </a:cubicBezTo>
                <a:cubicBezTo>
                  <a:pt x="431" y="1023"/>
                  <a:pt x="422" y="1033"/>
                  <a:pt x="422" y="1045"/>
                </a:cubicBezTo>
                <a:cubicBezTo>
                  <a:pt x="422" y="1057"/>
                  <a:pt x="431" y="1066"/>
                  <a:pt x="443" y="1066"/>
                </a:cubicBezTo>
                <a:cubicBezTo>
                  <a:pt x="472" y="1066"/>
                  <a:pt x="472" y="1066"/>
                  <a:pt x="472" y="1066"/>
                </a:cubicBezTo>
                <a:cubicBezTo>
                  <a:pt x="476" y="1066"/>
                  <a:pt x="479" y="1070"/>
                  <a:pt x="479" y="1074"/>
                </a:cubicBezTo>
                <a:cubicBezTo>
                  <a:pt x="479" y="1078"/>
                  <a:pt x="476" y="1081"/>
                  <a:pt x="472" y="1081"/>
                </a:cubicBezTo>
                <a:cubicBezTo>
                  <a:pt x="443" y="1081"/>
                  <a:pt x="443" y="1081"/>
                  <a:pt x="443" y="1081"/>
                </a:cubicBezTo>
                <a:cubicBezTo>
                  <a:pt x="431" y="1081"/>
                  <a:pt x="422" y="1091"/>
                  <a:pt x="422" y="1103"/>
                </a:cubicBezTo>
                <a:cubicBezTo>
                  <a:pt x="422" y="1115"/>
                  <a:pt x="431" y="1124"/>
                  <a:pt x="443" y="1124"/>
                </a:cubicBezTo>
                <a:cubicBezTo>
                  <a:pt x="462" y="1124"/>
                  <a:pt x="462" y="1124"/>
                  <a:pt x="462" y="1124"/>
                </a:cubicBezTo>
                <a:cubicBezTo>
                  <a:pt x="1017" y="1124"/>
                  <a:pt x="1017" y="1124"/>
                  <a:pt x="1017" y="1124"/>
                </a:cubicBezTo>
                <a:cubicBezTo>
                  <a:pt x="1037" y="1124"/>
                  <a:pt x="1053" y="1108"/>
                  <a:pt x="1053" y="1088"/>
                </a:cubicBezTo>
                <a:cubicBezTo>
                  <a:pt x="1053" y="1068"/>
                  <a:pt x="1037" y="1052"/>
                  <a:pt x="1017" y="1052"/>
                </a:cubicBezTo>
                <a:cubicBezTo>
                  <a:pt x="976" y="1052"/>
                  <a:pt x="976" y="1052"/>
                  <a:pt x="976" y="1052"/>
                </a:cubicBezTo>
                <a:cubicBezTo>
                  <a:pt x="964" y="1052"/>
                  <a:pt x="955" y="1042"/>
                  <a:pt x="955" y="1030"/>
                </a:cubicBezTo>
                <a:cubicBezTo>
                  <a:pt x="955" y="1018"/>
                  <a:pt x="964" y="1009"/>
                  <a:pt x="976" y="1009"/>
                </a:cubicBezTo>
                <a:cubicBezTo>
                  <a:pt x="979" y="1009"/>
                  <a:pt x="979" y="1009"/>
                  <a:pt x="979" y="1009"/>
                </a:cubicBezTo>
                <a:cubicBezTo>
                  <a:pt x="990" y="1009"/>
                  <a:pt x="1000" y="999"/>
                  <a:pt x="1000" y="987"/>
                </a:cubicBezTo>
                <a:cubicBezTo>
                  <a:pt x="1000" y="975"/>
                  <a:pt x="990" y="965"/>
                  <a:pt x="979" y="965"/>
                </a:cubicBezTo>
                <a:cubicBezTo>
                  <a:pt x="941" y="965"/>
                  <a:pt x="941" y="965"/>
                  <a:pt x="941" y="965"/>
                </a:cubicBezTo>
                <a:cubicBezTo>
                  <a:pt x="937" y="965"/>
                  <a:pt x="933" y="962"/>
                  <a:pt x="933" y="958"/>
                </a:cubicBezTo>
                <a:cubicBezTo>
                  <a:pt x="933" y="954"/>
                  <a:pt x="937" y="951"/>
                  <a:pt x="941" y="951"/>
                </a:cubicBezTo>
                <a:cubicBezTo>
                  <a:pt x="1017" y="951"/>
                  <a:pt x="1017" y="951"/>
                  <a:pt x="1017" y="951"/>
                </a:cubicBezTo>
                <a:cubicBezTo>
                  <a:pt x="1029" y="951"/>
                  <a:pt x="1039" y="941"/>
                  <a:pt x="1039" y="929"/>
                </a:cubicBezTo>
                <a:cubicBezTo>
                  <a:pt x="1039" y="917"/>
                  <a:pt x="1029" y="908"/>
                  <a:pt x="1017" y="908"/>
                </a:cubicBezTo>
                <a:cubicBezTo>
                  <a:pt x="919" y="908"/>
                  <a:pt x="919" y="908"/>
                  <a:pt x="919" y="908"/>
                </a:cubicBezTo>
                <a:cubicBezTo>
                  <a:pt x="915" y="908"/>
                  <a:pt x="912" y="904"/>
                  <a:pt x="912" y="900"/>
                </a:cubicBezTo>
                <a:cubicBezTo>
                  <a:pt x="912" y="896"/>
                  <a:pt x="915" y="893"/>
                  <a:pt x="919" y="893"/>
                </a:cubicBezTo>
                <a:cubicBezTo>
                  <a:pt x="1053" y="893"/>
                  <a:pt x="1053" y="893"/>
                  <a:pt x="1053" y="893"/>
                </a:cubicBezTo>
                <a:cubicBezTo>
                  <a:pt x="1065" y="893"/>
                  <a:pt x="1075" y="883"/>
                  <a:pt x="1075" y="871"/>
                </a:cubicBezTo>
                <a:cubicBezTo>
                  <a:pt x="1075" y="859"/>
                  <a:pt x="1065" y="850"/>
                  <a:pt x="1053" y="850"/>
                </a:cubicBezTo>
                <a:cubicBezTo>
                  <a:pt x="914" y="850"/>
                  <a:pt x="914" y="850"/>
                  <a:pt x="914" y="850"/>
                </a:cubicBezTo>
                <a:cubicBezTo>
                  <a:pt x="910" y="850"/>
                  <a:pt x="906" y="846"/>
                  <a:pt x="906" y="842"/>
                </a:cubicBezTo>
                <a:cubicBezTo>
                  <a:pt x="906" y="838"/>
                  <a:pt x="910" y="835"/>
                  <a:pt x="914" y="835"/>
                </a:cubicBezTo>
                <a:cubicBezTo>
                  <a:pt x="1049" y="835"/>
                  <a:pt x="1049" y="835"/>
                  <a:pt x="1049" y="835"/>
                </a:cubicBezTo>
                <a:cubicBezTo>
                  <a:pt x="1061" y="835"/>
                  <a:pt x="1071" y="825"/>
                  <a:pt x="1071" y="814"/>
                </a:cubicBezTo>
                <a:cubicBezTo>
                  <a:pt x="1071" y="802"/>
                  <a:pt x="1061" y="792"/>
                  <a:pt x="1049" y="792"/>
                </a:cubicBezTo>
                <a:cubicBezTo>
                  <a:pt x="905" y="792"/>
                  <a:pt x="905" y="792"/>
                  <a:pt x="905" y="792"/>
                </a:cubicBezTo>
                <a:cubicBezTo>
                  <a:pt x="901" y="792"/>
                  <a:pt x="898" y="789"/>
                  <a:pt x="898" y="785"/>
                </a:cubicBezTo>
                <a:cubicBezTo>
                  <a:pt x="898" y="781"/>
                  <a:pt x="901" y="777"/>
                  <a:pt x="905" y="777"/>
                </a:cubicBezTo>
                <a:cubicBezTo>
                  <a:pt x="1104" y="777"/>
                  <a:pt x="1104" y="777"/>
                  <a:pt x="1104" y="777"/>
                </a:cubicBezTo>
                <a:cubicBezTo>
                  <a:pt x="1116" y="777"/>
                  <a:pt x="1125" y="768"/>
                  <a:pt x="1125" y="756"/>
                </a:cubicBezTo>
                <a:cubicBezTo>
                  <a:pt x="1125" y="744"/>
                  <a:pt x="1116" y="734"/>
                  <a:pt x="1104" y="734"/>
                </a:cubicBezTo>
                <a:cubicBezTo>
                  <a:pt x="791" y="734"/>
                  <a:pt x="791" y="734"/>
                  <a:pt x="791" y="734"/>
                </a:cubicBezTo>
                <a:cubicBezTo>
                  <a:pt x="787" y="734"/>
                  <a:pt x="784" y="731"/>
                  <a:pt x="784" y="727"/>
                </a:cubicBezTo>
                <a:cubicBezTo>
                  <a:pt x="784" y="723"/>
                  <a:pt x="787" y="720"/>
                  <a:pt x="791" y="720"/>
                </a:cubicBezTo>
                <a:cubicBezTo>
                  <a:pt x="1046" y="720"/>
                  <a:pt x="1046" y="720"/>
                  <a:pt x="1046" y="720"/>
                </a:cubicBezTo>
                <a:cubicBezTo>
                  <a:pt x="1058" y="720"/>
                  <a:pt x="1068" y="710"/>
                  <a:pt x="1068" y="698"/>
                </a:cubicBezTo>
                <a:cubicBezTo>
                  <a:pt x="1068" y="686"/>
                  <a:pt x="1058" y="676"/>
                  <a:pt x="1046" y="676"/>
                </a:cubicBezTo>
                <a:cubicBezTo>
                  <a:pt x="763" y="676"/>
                  <a:pt x="763" y="676"/>
                  <a:pt x="763" y="676"/>
                </a:cubicBezTo>
                <a:cubicBezTo>
                  <a:pt x="759" y="676"/>
                  <a:pt x="755" y="673"/>
                  <a:pt x="755" y="669"/>
                </a:cubicBezTo>
                <a:cubicBezTo>
                  <a:pt x="755" y="665"/>
                  <a:pt x="759" y="662"/>
                  <a:pt x="763" y="662"/>
                </a:cubicBezTo>
                <a:cubicBezTo>
                  <a:pt x="1011" y="662"/>
                  <a:pt x="1011" y="662"/>
                  <a:pt x="1011" y="662"/>
                </a:cubicBezTo>
                <a:cubicBezTo>
                  <a:pt x="1022" y="662"/>
                  <a:pt x="1032" y="652"/>
                  <a:pt x="1032" y="640"/>
                </a:cubicBezTo>
                <a:cubicBezTo>
                  <a:pt x="1032" y="628"/>
                  <a:pt x="1022" y="619"/>
                  <a:pt x="1011" y="619"/>
                </a:cubicBezTo>
                <a:cubicBezTo>
                  <a:pt x="805" y="619"/>
                  <a:pt x="805" y="619"/>
                  <a:pt x="805" y="619"/>
                </a:cubicBezTo>
                <a:cubicBezTo>
                  <a:pt x="801" y="619"/>
                  <a:pt x="798" y="615"/>
                  <a:pt x="798" y="611"/>
                </a:cubicBezTo>
                <a:cubicBezTo>
                  <a:pt x="798" y="607"/>
                  <a:pt x="801" y="604"/>
                  <a:pt x="805" y="604"/>
                </a:cubicBezTo>
                <a:cubicBezTo>
                  <a:pt x="860" y="604"/>
                  <a:pt x="860" y="604"/>
                  <a:pt x="860" y="604"/>
                </a:cubicBezTo>
                <a:cubicBezTo>
                  <a:pt x="872" y="604"/>
                  <a:pt x="881" y="594"/>
                  <a:pt x="881" y="582"/>
                </a:cubicBezTo>
                <a:cubicBezTo>
                  <a:pt x="881" y="570"/>
                  <a:pt x="872" y="561"/>
                  <a:pt x="860" y="561"/>
                </a:cubicBezTo>
                <a:cubicBezTo>
                  <a:pt x="805" y="561"/>
                  <a:pt x="805" y="561"/>
                  <a:pt x="805" y="561"/>
                </a:cubicBezTo>
                <a:cubicBezTo>
                  <a:pt x="801" y="561"/>
                  <a:pt x="798" y="557"/>
                  <a:pt x="798" y="553"/>
                </a:cubicBezTo>
                <a:cubicBezTo>
                  <a:pt x="798" y="549"/>
                  <a:pt x="801" y="546"/>
                  <a:pt x="805" y="546"/>
                </a:cubicBezTo>
                <a:cubicBezTo>
                  <a:pt x="972" y="546"/>
                  <a:pt x="972" y="546"/>
                  <a:pt x="972" y="546"/>
                </a:cubicBezTo>
                <a:cubicBezTo>
                  <a:pt x="984" y="546"/>
                  <a:pt x="993" y="536"/>
                  <a:pt x="993" y="524"/>
                </a:cubicBezTo>
                <a:cubicBezTo>
                  <a:pt x="993" y="513"/>
                  <a:pt x="984" y="503"/>
                  <a:pt x="972" y="503"/>
                </a:cubicBezTo>
                <a:cubicBezTo>
                  <a:pt x="846" y="503"/>
                  <a:pt x="846" y="503"/>
                  <a:pt x="846" y="503"/>
                </a:cubicBezTo>
                <a:cubicBezTo>
                  <a:pt x="842" y="503"/>
                  <a:pt x="839" y="500"/>
                  <a:pt x="839" y="496"/>
                </a:cubicBezTo>
                <a:cubicBezTo>
                  <a:pt x="839" y="492"/>
                  <a:pt x="842" y="488"/>
                  <a:pt x="846" y="488"/>
                </a:cubicBezTo>
                <a:cubicBezTo>
                  <a:pt x="969" y="488"/>
                  <a:pt x="969" y="488"/>
                  <a:pt x="969" y="488"/>
                </a:cubicBezTo>
                <a:cubicBezTo>
                  <a:pt x="981" y="488"/>
                  <a:pt x="991" y="479"/>
                  <a:pt x="991" y="467"/>
                </a:cubicBezTo>
                <a:cubicBezTo>
                  <a:pt x="991" y="455"/>
                  <a:pt x="981" y="445"/>
                  <a:pt x="969" y="445"/>
                </a:cubicBezTo>
                <a:cubicBezTo>
                  <a:pt x="768" y="445"/>
                  <a:pt x="768" y="445"/>
                  <a:pt x="768" y="445"/>
                </a:cubicBezTo>
                <a:cubicBezTo>
                  <a:pt x="764" y="445"/>
                  <a:pt x="761" y="442"/>
                  <a:pt x="761" y="438"/>
                </a:cubicBezTo>
                <a:cubicBezTo>
                  <a:pt x="761" y="434"/>
                  <a:pt x="764" y="430"/>
                  <a:pt x="768" y="430"/>
                </a:cubicBezTo>
                <a:cubicBezTo>
                  <a:pt x="804" y="430"/>
                  <a:pt x="804" y="430"/>
                  <a:pt x="804" y="430"/>
                </a:cubicBezTo>
                <a:cubicBezTo>
                  <a:pt x="816" y="430"/>
                  <a:pt x="826" y="421"/>
                  <a:pt x="826" y="409"/>
                </a:cubicBezTo>
                <a:cubicBezTo>
                  <a:pt x="826" y="397"/>
                  <a:pt x="816" y="387"/>
                  <a:pt x="804" y="387"/>
                </a:cubicBezTo>
                <a:cubicBezTo>
                  <a:pt x="766" y="387"/>
                  <a:pt x="766" y="387"/>
                  <a:pt x="766" y="387"/>
                </a:cubicBezTo>
                <a:cubicBezTo>
                  <a:pt x="762" y="387"/>
                  <a:pt x="759" y="384"/>
                  <a:pt x="759" y="380"/>
                </a:cubicBezTo>
                <a:cubicBezTo>
                  <a:pt x="759" y="376"/>
                  <a:pt x="762" y="373"/>
                  <a:pt x="766" y="373"/>
                </a:cubicBezTo>
                <a:cubicBezTo>
                  <a:pt x="885" y="373"/>
                  <a:pt x="885" y="373"/>
                  <a:pt x="885" y="373"/>
                </a:cubicBezTo>
                <a:cubicBezTo>
                  <a:pt x="886" y="373"/>
                  <a:pt x="887" y="373"/>
                  <a:pt x="888" y="373"/>
                </a:cubicBezTo>
                <a:cubicBezTo>
                  <a:pt x="1592" y="373"/>
                  <a:pt x="1592" y="373"/>
                  <a:pt x="1592" y="373"/>
                </a:cubicBezTo>
                <a:cubicBezTo>
                  <a:pt x="1596" y="373"/>
                  <a:pt x="1599" y="376"/>
                  <a:pt x="1599" y="380"/>
                </a:cubicBezTo>
                <a:cubicBezTo>
                  <a:pt x="1599" y="384"/>
                  <a:pt x="1596" y="388"/>
                  <a:pt x="1592" y="388"/>
                </a:cubicBezTo>
                <a:cubicBezTo>
                  <a:pt x="855" y="388"/>
                  <a:pt x="855" y="388"/>
                  <a:pt x="855" y="388"/>
                </a:cubicBezTo>
                <a:cubicBezTo>
                  <a:pt x="843" y="388"/>
                  <a:pt x="834" y="397"/>
                  <a:pt x="834" y="409"/>
                </a:cubicBezTo>
                <a:cubicBezTo>
                  <a:pt x="834" y="421"/>
                  <a:pt x="843" y="431"/>
                  <a:pt x="855" y="431"/>
                </a:cubicBezTo>
                <a:cubicBezTo>
                  <a:pt x="1592" y="431"/>
                  <a:pt x="1592" y="431"/>
                  <a:pt x="1592" y="431"/>
                </a:cubicBezTo>
                <a:cubicBezTo>
                  <a:pt x="1596" y="431"/>
                  <a:pt x="1599" y="434"/>
                  <a:pt x="1599" y="438"/>
                </a:cubicBezTo>
                <a:cubicBezTo>
                  <a:pt x="1599" y="442"/>
                  <a:pt x="1596" y="445"/>
                  <a:pt x="1592" y="445"/>
                </a:cubicBezTo>
                <a:cubicBezTo>
                  <a:pt x="1039" y="445"/>
                  <a:pt x="1039" y="445"/>
                  <a:pt x="1039" y="445"/>
                </a:cubicBezTo>
                <a:cubicBezTo>
                  <a:pt x="1027" y="445"/>
                  <a:pt x="1017" y="455"/>
                  <a:pt x="1017" y="467"/>
                </a:cubicBezTo>
                <a:cubicBezTo>
                  <a:pt x="1017" y="479"/>
                  <a:pt x="1027" y="489"/>
                  <a:pt x="1039" y="489"/>
                </a:cubicBezTo>
                <a:cubicBezTo>
                  <a:pt x="1553" y="489"/>
                  <a:pt x="1553" y="489"/>
                  <a:pt x="1553" y="489"/>
                </a:cubicBezTo>
                <a:cubicBezTo>
                  <a:pt x="1557" y="489"/>
                  <a:pt x="1560" y="492"/>
                  <a:pt x="1560" y="496"/>
                </a:cubicBezTo>
                <a:cubicBezTo>
                  <a:pt x="1560" y="500"/>
                  <a:pt x="1557" y="503"/>
                  <a:pt x="1553" y="503"/>
                </a:cubicBezTo>
                <a:cubicBezTo>
                  <a:pt x="1039" y="503"/>
                  <a:pt x="1039" y="503"/>
                  <a:pt x="1039" y="503"/>
                </a:cubicBezTo>
                <a:cubicBezTo>
                  <a:pt x="1027" y="503"/>
                  <a:pt x="1017" y="513"/>
                  <a:pt x="1017" y="525"/>
                </a:cubicBezTo>
                <a:cubicBezTo>
                  <a:pt x="1017" y="537"/>
                  <a:pt x="1027" y="546"/>
                  <a:pt x="1039" y="546"/>
                </a:cubicBezTo>
                <a:cubicBezTo>
                  <a:pt x="1528" y="546"/>
                  <a:pt x="1528" y="546"/>
                  <a:pt x="1528" y="546"/>
                </a:cubicBezTo>
                <a:cubicBezTo>
                  <a:pt x="1532" y="546"/>
                  <a:pt x="1536" y="550"/>
                  <a:pt x="1536" y="554"/>
                </a:cubicBezTo>
                <a:cubicBezTo>
                  <a:pt x="1536" y="558"/>
                  <a:pt x="1532" y="561"/>
                  <a:pt x="1528" y="561"/>
                </a:cubicBezTo>
                <a:cubicBezTo>
                  <a:pt x="1019" y="561"/>
                  <a:pt x="1019" y="561"/>
                  <a:pt x="1019" y="561"/>
                </a:cubicBezTo>
                <a:cubicBezTo>
                  <a:pt x="1007" y="561"/>
                  <a:pt x="997" y="571"/>
                  <a:pt x="997" y="583"/>
                </a:cubicBezTo>
                <a:cubicBezTo>
                  <a:pt x="997" y="595"/>
                  <a:pt x="1007" y="604"/>
                  <a:pt x="1019" y="604"/>
                </a:cubicBezTo>
                <a:cubicBezTo>
                  <a:pt x="1526" y="604"/>
                  <a:pt x="1526" y="604"/>
                  <a:pt x="1526" y="604"/>
                </a:cubicBezTo>
                <a:cubicBezTo>
                  <a:pt x="1530" y="604"/>
                  <a:pt x="1534" y="607"/>
                  <a:pt x="1534" y="612"/>
                </a:cubicBezTo>
                <a:cubicBezTo>
                  <a:pt x="1534" y="616"/>
                  <a:pt x="1530" y="619"/>
                  <a:pt x="1526" y="619"/>
                </a:cubicBezTo>
                <a:cubicBezTo>
                  <a:pt x="1068" y="619"/>
                  <a:pt x="1068" y="619"/>
                  <a:pt x="1068" y="619"/>
                </a:cubicBezTo>
                <a:cubicBezTo>
                  <a:pt x="1056" y="619"/>
                  <a:pt x="1046" y="629"/>
                  <a:pt x="1046" y="640"/>
                </a:cubicBezTo>
                <a:cubicBezTo>
                  <a:pt x="1046" y="652"/>
                  <a:pt x="1056" y="662"/>
                  <a:pt x="1068" y="662"/>
                </a:cubicBezTo>
                <a:cubicBezTo>
                  <a:pt x="1436" y="662"/>
                  <a:pt x="1436" y="662"/>
                  <a:pt x="1436" y="662"/>
                </a:cubicBezTo>
                <a:cubicBezTo>
                  <a:pt x="1440" y="662"/>
                  <a:pt x="1443" y="665"/>
                  <a:pt x="1443" y="669"/>
                </a:cubicBezTo>
                <a:cubicBezTo>
                  <a:pt x="1443" y="673"/>
                  <a:pt x="1440" y="677"/>
                  <a:pt x="1436" y="677"/>
                </a:cubicBezTo>
                <a:cubicBezTo>
                  <a:pt x="1287" y="677"/>
                  <a:pt x="1287" y="677"/>
                  <a:pt x="1287" y="677"/>
                </a:cubicBezTo>
                <a:cubicBezTo>
                  <a:pt x="1276" y="677"/>
                  <a:pt x="1266" y="686"/>
                  <a:pt x="1266" y="698"/>
                </a:cubicBezTo>
                <a:cubicBezTo>
                  <a:pt x="1266" y="710"/>
                  <a:pt x="1276" y="720"/>
                  <a:pt x="1287" y="720"/>
                </a:cubicBezTo>
                <a:cubicBezTo>
                  <a:pt x="1454" y="720"/>
                  <a:pt x="1454" y="720"/>
                  <a:pt x="1454" y="720"/>
                </a:cubicBezTo>
                <a:cubicBezTo>
                  <a:pt x="1458" y="720"/>
                  <a:pt x="1461" y="723"/>
                  <a:pt x="1461" y="727"/>
                </a:cubicBezTo>
                <a:cubicBezTo>
                  <a:pt x="1461" y="731"/>
                  <a:pt x="1458" y="734"/>
                  <a:pt x="1454" y="734"/>
                </a:cubicBezTo>
                <a:cubicBezTo>
                  <a:pt x="1321" y="734"/>
                  <a:pt x="1321" y="734"/>
                  <a:pt x="1321" y="734"/>
                </a:cubicBezTo>
                <a:cubicBezTo>
                  <a:pt x="1309" y="734"/>
                  <a:pt x="1300" y="744"/>
                  <a:pt x="1300" y="756"/>
                </a:cubicBezTo>
                <a:cubicBezTo>
                  <a:pt x="1300" y="768"/>
                  <a:pt x="1309" y="778"/>
                  <a:pt x="1321" y="778"/>
                </a:cubicBezTo>
                <a:cubicBezTo>
                  <a:pt x="1549" y="778"/>
                  <a:pt x="1549" y="778"/>
                  <a:pt x="1549" y="778"/>
                </a:cubicBezTo>
                <a:cubicBezTo>
                  <a:pt x="1553" y="778"/>
                  <a:pt x="1556" y="781"/>
                  <a:pt x="1556" y="785"/>
                </a:cubicBezTo>
                <a:cubicBezTo>
                  <a:pt x="1556" y="789"/>
                  <a:pt x="1553" y="792"/>
                  <a:pt x="1549" y="792"/>
                </a:cubicBezTo>
                <a:cubicBezTo>
                  <a:pt x="1455" y="792"/>
                  <a:pt x="1455" y="792"/>
                  <a:pt x="1455" y="792"/>
                </a:cubicBezTo>
                <a:cubicBezTo>
                  <a:pt x="1443" y="792"/>
                  <a:pt x="1434" y="802"/>
                  <a:pt x="1434" y="814"/>
                </a:cubicBezTo>
                <a:cubicBezTo>
                  <a:pt x="1434" y="826"/>
                  <a:pt x="1443" y="835"/>
                  <a:pt x="1455" y="835"/>
                </a:cubicBezTo>
                <a:cubicBezTo>
                  <a:pt x="1623" y="835"/>
                  <a:pt x="1623" y="835"/>
                  <a:pt x="1623" y="835"/>
                </a:cubicBezTo>
                <a:cubicBezTo>
                  <a:pt x="1635" y="835"/>
                  <a:pt x="1645" y="826"/>
                  <a:pt x="1645" y="814"/>
                </a:cubicBezTo>
                <a:cubicBezTo>
                  <a:pt x="1645" y="802"/>
                  <a:pt x="1635" y="792"/>
                  <a:pt x="1623" y="792"/>
                </a:cubicBezTo>
                <a:cubicBezTo>
                  <a:pt x="1607" y="792"/>
                  <a:pt x="1607" y="792"/>
                  <a:pt x="1607" y="792"/>
                </a:cubicBezTo>
                <a:cubicBezTo>
                  <a:pt x="1603" y="792"/>
                  <a:pt x="1600" y="789"/>
                  <a:pt x="1600" y="785"/>
                </a:cubicBezTo>
                <a:cubicBezTo>
                  <a:pt x="1600" y="781"/>
                  <a:pt x="1603" y="778"/>
                  <a:pt x="1607" y="778"/>
                </a:cubicBezTo>
                <a:cubicBezTo>
                  <a:pt x="1683" y="778"/>
                  <a:pt x="1683" y="778"/>
                  <a:pt x="1683" y="778"/>
                </a:cubicBezTo>
                <a:cubicBezTo>
                  <a:pt x="1687" y="778"/>
                  <a:pt x="1690" y="781"/>
                  <a:pt x="1690" y="785"/>
                </a:cubicBezTo>
                <a:cubicBezTo>
                  <a:pt x="1690" y="789"/>
                  <a:pt x="1687" y="792"/>
                  <a:pt x="1683" y="792"/>
                </a:cubicBezTo>
                <a:cubicBezTo>
                  <a:pt x="1673" y="792"/>
                  <a:pt x="1673" y="792"/>
                  <a:pt x="1673" y="792"/>
                </a:cubicBezTo>
                <a:cubicBezTo>
                  <a:pt x="1662" y="792"/>
                  <a:pt x="1652" y="802"/>
                  <a:pt x="1652" y="814"/>
                </a:cubicBezTo>
                <a:cubicBezTo>
                  <a:pt x="1652" y="826"/>
                  <a:pt x="1662" y="835"/>
                  <a:pt x="1673" y="835"/>
                </a:cubicBezTo>
                <a:cubicBezTo>
                  <a:pt x="1681" y="835"/>
                  <a:pt x="1681" y="835"/>
                  <a:pt x="1681" y="835"/>
                </a:cubicBezTo>
                <a:cubicBezTo>
                  <a:pt x="1693" y="835"/>
                  <a:pt x="1703" y="845"/>
                  <a:pt x="1703" y="857"/>
                </a:cubicBezTo>
                <a:cubicBezTo>
                  <a:pt x="1703" y="869"/>
                  <a:pt x="1693" y="879"/>
                  <a:pt x="1681" y="879"/>
                </a:cubicBezTo>
                <a:cubicBezTo>
                  <a:pt x="1550" y="879"/>
                  <a:pt x="1550" y="879"/>
                  <a:pt x="1550" y="879"/>
                </a:cubicBezTo>
                <a:cubicBezTo>
                  <a:pt x="1538" y="879"/>
                  <a:pt x="1529" y="889"/>
                  <a:pt x="1529" y="901"/>
                </a:cubicBezTo>
                <a:cubicBezTo>
                  <a:pt x="1529" y="913"/>
                  <a:pt x="1538" y="922"/>
                  <a:pt x="1550" y="922"/>
                </a:cubicBezTo>
                <a:cubicBezTo>
                  <a:pt x="1697" y="922"/>
                  <a:pt x="1697" y="922"/>
                  <a:pt x="1697" y="922"/>
                </a:cubicBezTo>
                <a:cubicBezTo>
                  <a:pt x="1701" y="922"/>
                  <a:pt x="1704" y="925"/>
                  <a:pt x="1704" y="929"/>
                </a:cubicBezTo>
                <a:cubicBezTo>
                  <a:pt x="1704" y="934"/>
                  <a:pt x="1701" y="937"/>
                  <a:pt x="1697" y="937"/>
                </a:cubicBezTo>
                <a:cubicBezTo>
                  <a:pt x="1504" y="937"/>
                  <a:pt x="1504" y="937"/>
                  <a:pt x="1504" y="937"/>
                </a:cubicBezTo>
                <a:cubicBezTo>
                  <a:pt x="1492" y="937"/>
                  <a:pt x="1482" y="946"/>
                  <a:pt x="1482" y="958"/>
                </a:cubicBezTo>
                <a:cubicBezTo>
                  <a:pt x="1482" y="970"/>
                  <a:pt x="1492" y="980"/>
                  <a:pt x="1504" y="980"/>
                </a:cubicBezTo>
                <a:cubicBezTo>
                  <a:pt x="1712" y="980"/>
                  <a:pt x="1712" y="980"/>
                  <a:pt x="1712" y="980"/>
                </a:cubicBezTo>
                <a:cubicBezTo>
                  <a:pt x="1716" y="980"/>
                  <a:pt x="1719" y="983"/>
                  <a:pt x="1719" y="987"/>
                </a:cubicBezTo>
                <a:cubicBezTo>
                  <a:pt x="1719" y="991"/>
                  <a:pt x="1716" y="995"/>
                  <a:pt x="1712" y="995"/>
                </a:cubicBezTo>
                <a:cubicBezTo>
                  <a:pt x="1505" y="995"/>
                  <a:pt x="1505" y="995"/>
                  <a:pt x="1505" y="995"/>
                </a:cubicBezTo>
                <a:cubicBezTo>
                  <a:pt x="1494" y="995"/>
                  <a:pt x="1484" y="1004"/>
                  <a:pt x="1484" y="1016"/>
                </a:cubicBezTo>
                <a:cubicBezTo>
                  <a:pt x="1484" y="1028"/>
                  <a:pt x="1494" y="1038"/>
                  <a:pt x="1505" y="1038"/>
                </a:cubicBezTo>
                <a:cubicBezTo>
                  <a:pt x="1693" y="1038"/>
                  <a:pt x="1693" y="1038"/>
                  <a:pt x="1693" y="1038"/>
                </a:cubicBezTo>
                <a:cubicBezTo>
                  <a:pt x="1697" y="1038"/>
                  <a:pt x="1701" y="1041"/>
                  <a:pt x="1701" y="1045"/>
                </a:cubicBezTo>
                <a:cubicBezTo>
                  <a:pt x="1701" y="1049"/>
                  <a:pt x="1697" y="1052"/>
                  <a:pt x="1693" y="1052"/>
                </a:cubicBezTo>
                <a:cubicBezTo>
                  <a:pt x="1635" y="1052"/>
                  <a:pt x="1635" y="1052"/>
                  <a:pt x="1635" y="1052"/>
                </a:cubicBezTo>
                <a:cubicBezTo>
                  <a:pt x="1623" y="1052"/>
                  <a:pt x="1613" y="1062"/>
                  <a:pt x="1613" y="1074"/>
                </a:cubicBezTo>
                <a:cubicBezTo>
                  <a:pt x="1613" y="1086"/>
                  <a:pt x="1623" y="1096"/>
                  <a:pt x="1635" y="1096"/>
                </a:cubicBezTo>
                <a:cubicBezTo>
                  <a:pt x="1658" y="1096"/>
                  <a:pt x="1658" y="1096"/>
                  <a:pt x="1658" y="1096"/>
                </a:cubicBezTo>
                <a:cubicBezTo>
                  <a:pt x="1662" y="1096"/>
                  <a:pt x="1665" y="1099"/>
                  <a:pt x="1665" y="1103"/>
                </a:cubicBezTo>
                <a:cubicBezTo>
                  <a:pt x="1665" y="1107"/>
                  <a:pt x="1662" y="1110"/>
                  <a:pt x="1658" y="1110"/>
                </a:cubicBezTo>
                <a:cubicBezTo>
                  <a:pt x="1650" y="1110"/>
                  <a:pt x="1650" y="1110"/>
                  <a:pt x="1650" y="1110"/>
                </a:cubicBezTo>
                <a:cubicBezTo>
                  <a:pt x="1630" y="1110"/>
                  <a:pt x="1614" y="1126"/>
                  <a:pt x="1614" y="1146"/>
                </a:cubicBezTo>
                <a:cubicBezTo>
                  <a:pt x="1614" y="1166"/>
                  <a:pt x="1630" y="1182"/>
                  <a:pt x="1650" y="1182"/>
                </a:cubicBezTo>
                <a:cubicBezTo>
                  <a:pt x="1789" y="1182"/>
                  <a:pt x="1789" y="1182"/>
                  <a:pt x="1789" y="1182"/>
                </a:cubicBezTo>
                <a:cubicBezTo>
                  <a:pt x="1801" y="1182"/>
                  <a:pt x="1811" y="1173"/>
                  <a:pt x="1811" y="1161"/>
                </a:cubicBezTo>
                <a:cubicBezTo>
                  <a:pt x="1811" y="1149"/>
                  <a:pt x="1801" y="1139"/>
                  <a:pt x="1789" y="1139"/>
                </a:cubicBezTo>
                <a:cubicBezTo>
                  <a:pt x="1766" y="1139"/>
                  <a:pt x="1766" y="1139"/>
                  <a:pt x="1766" y="1139"/>
                </a:cubicBezTo>
                <a:cubicBezTo>
                  <a:pt x="1762" y="1139"/>
                  <a:pt x="1759" y="1136"/>
                  <a:pt x="1759" y="1132"/>
                </a:cubicBezTo>
                <a:cubicBezTo>
                  <a:pt x="1759" y="1128"/>
                  <a:pt x="1762" y="1125"/>
                  <a:pt x="1766" y="1125"/>
                </a:cubicBezTo>
                <a:cubicBezTo>
                  <a:pt x="1824" y="1125"/>
                  <a:pt x="1824" y="1125"/>
                  <a:pt x="1824" y="1125"/>
                </a:cubicBezTo>
                <a:cubicBezTo>
                  <a:pt x="1836" y="1125"/>
                  <a:pt x="1846" y="1115"/>
                  <a:pt x="1846" y="1103"/>
                </a:cubicBezTo>
                <a:cubicBezTo>
                  <a:pt x="1846" y="1091"/>
                  <a:pt x="1836" y="1081"/>
                  <a:pt x="1824" y="1081"/>
                </a:cubicBezTo>
                <a:cubicBezTo>
                  <a:pt x="1797" y="1081"/>
                  <a:pt x="1797" y="1081"/>
                  <a:pt x="1797" y="1081"/>
                </a:cubicBezTo>
                <a:cubicBezTo>
                  <a:pt x="1793" y="1081"/>
                  <a:pt x="1790" y="1078"/>
                  <a:pt x="1790" y="1074"/>
                </a:cubicBezTo>
                <a:cubicBezTo>
                  <a:pt x="1790" y="1070"/>
                  <a:pt x="1793" y="1067"/>
                  <a:pt x="1797" y="1067"/>
                </a:cubicBezTo>
                <a:cubicBezTo>
                  <a:pt x="1843" y="1067"/>
                  <a:pt x="1843" y="1067"/>
                  <a:pt x="1843" y="1067"/>
                </a:cubicBezTo>
                <a:cubicBezTo>
                  <a:pt x="1855" y="1067"/>
                  <a:pt x="1864" y="1057"/>
                  <a:pt x="1864" y="1045"/>
                </a:cubicBezTo>
                <a:cubicBezTo>
                  <a:pt x="1864" y="1033"/>
                  <a:pt x="1855" y="1024"/>
                  <a:pt x="1843" y="1024"/>
                </a:cubicBezTo>
                <a:cubicBezTo>
                  <a:pt x="1791" y="1023"/>
                  <a:pt x="1791" y="1023"/>
                  <a:pt x="1791" y="1023"/>
                </a:cubicBezTo>
                <a:cubicBezTo>
                  <a:pt x="1787" y="1023"/>
                  <a:pt x="1784" y="1020"/>
                  <a:pt x="1784" y="1016"/>
                </a:cubicBezTo>
                <a:cubicBezTo>
                  <a:pt x="1784" y="1012"/>
                  <a:pt x="1787" y="1009"/>
                  <a:pt x="1791" y="1009"/>
                </a:cubicBezTo>
                <a:cubicBezTo>
                  <a:pt x="1876" y="1009"/>
                  <a:pt x="1876" y="1009"/>
                  <a:pt x="1876" y="1009"/>
                </a:cubicBezTo>
                <a:cubicBezTo>
                  <a:pt x="1945" y="1009"/>
                  <a:pt x="2002" y="955"/>
                  <a:pt x="2008" y="887"/>
                </a:cubicBezTo>
                <a:cubicBezTo>
                  <a:pt x="2015" y="884"/>
                  <a:pt x="2020" y="878"/>
                  <a:pt x="2020" y="870"/>
                </a:cubicBezTo>
                <a:cubicBezTo>
                  <a:pt x="2020" y="860"/>
                  <a:pt x="2011" y="851"/>
                  <a:pt x="2001" y="851"/>
                </a:cubicBezTo>
                <a:close/>
                <a:moveTo>
                  <a:pt x="868" y="358"/>
                </a:moveTo>
                <a:cubicBezTo>
                  <a:pt x="766" y="358"/>
                  <a:pt x="766" y="358"/>
                  <a:pt x="766" y="358"/>
                </a:cubicBezTo>
                <a:cubicBezTo>
                  <a:pt x="754" y="358"/>
                  <a:pt x="744" y="368"/>
                  <a:pt x="744" y="380"/>
                </a:cubicBezTo>
                <a:cubicBezTo>
                  <a:pt x="744" y="392"/>
                  <a:pt x="754" y="402"/>
                  <a:pt x="766" y="402"/>
                </a:cubicBezTo>
                <a:cubicBezTo>
                  <a:pt x="804" y="402"/>
                  <a:pt x="804" y="402"/>
                  <a:pt x="804" y="402"/>
                </a:cubicBezTo>
                <a:cubicBezTo>
                  <a:pt x="809" y="402"/>
                  <a:pt x="812" y="405"/>
                  <a:pt x="812" y="409"/>
                </a:cubicBezTo>
                <a:cubicBezTo>
                  <a:pt x="812" y="413"/>
                  <a:pt x="809" y="416"/>
                  <a:pt x="804" y="416"/>
                </a:cubicBezTo>
                <a:cubicBezTo>
                  <a:pt x="768" y="416"/>
                  <a:pt x="768" y="416"/>
                  <a:pt x="768" y="416"/>
                </a:cubicBezTo>
                <a:cubicBezTo>
                  <a:pt x="756" y="416"/>
                  <a:pt x="747" y="426"/>
                  <a:pt x="747" y="438"/>
                </a:cubicBezTo>
                <a:cubicBezTo>
                  <a:pt x="747" y="450"/>
                  <a:pt x="756" y="459"/>
                  <a:pt x="768" y="459"/>
                </a:cubicBezTo>
                <a:cubicBezTo>
                  <a:pt x="969" y="459"/>
                  <a:pt x="969" y="459"/>
                  <a:pt x="969" y="459"/>
                </a:cubicBezTo>
                <a:cubicBezTo>
                  <a:pt x="973" y="459"/>
                  <a:pt x="977" y="463"/>
                  <a:pt x="977" y="467"/>
                </a:cubicBezTo>
                <a:cubicBezTo>
                  <a:pt x="977" y="471"/>
                  <a:pt x="973" y="474"/>
                  <a:pt x="969" y="474"/>
                </a:cubicBezTo>
                <a:cubicBezTo>
                  <a:pt x="846" y="474"/>
                  <a:pt x="846" y="474"/>
                  <a:pt x="846" y="474"/>
                </a:cubicBezTo>
                <a:cubicBezTo>
                  <a:pt x="834" y="474"/>
                  <a:pt x="824" y="484"/>
                  <a:pt x="824" y="496"/>
                </a:cubicBezTo>
                <a:cubicBezTo>
                  <a:pt x="824" y="507"/>
                  <a:pt x="834" y="517"/>
                  <a:pt x="846" y="517"/>
                </a:cubicBezTo>
                <a:cubicBezTo>
                  <a:pt x="972" y="517"/>
                  <a:pt x="972" y="517"/>
                  <a:pt x="972" y="517"/>
                </a:cubicBezTo>
                <a:cubicBezTo>
                  <a:pt x="976" y="517"/>
                  <a:pt x="979" y="520"/>
                  <a:pt x="979" y="524"/>
                </a:cubicBezTo>
                <a:cubicBezTo>
                  <a:pt x="979" y="529"/>
                  <a:pt x="976" y="532"/>
                  <a:pt x="972" y="532"/>
                </a:cubicBezTo>
                <a:cubicBezTo>
                  <a:pt x="805" y="532"/>
                  <a:pt x="805" y="532"/>
                  <a:pt x="805" y="532"/>
                </a:cubicBezTo>
                <a:cubicBezTo>
                  <a:pt x="793" y="532"/>
                  <a:pt x="783" y="541"/>
                  <a:pt x="783" y="553"/>
                </a:cubicBezTo>
                <a:cubicBezTo>
                  <a:pt x="783" y="565"/>
                  <a:pt x="793" y="575"/>
                  <a:pt x="805" y="575"/>
                </a:cubicBezTo>
                <a:cubicBezTo>
                  <a:pt x="860" y="575"/>
                  <a:pt x="860" y="575"/>
                  <a:pt x="860" y="575"/>
                </a:cubicBezTo>
                <a:cubicBezTo>
                  <a:pt x="864" y="575"/>
                  <a:pt x="867" y="578"/>
                  <a:pt x="867" y="582"/>
                </a:cubicBezTo>
                <a:cubicBezTo>
                  <a:pt x="867" y="586"/>
                  <a:pt x="864" y="590"/>
                  <a:pt x="860" y="590"/>
                </a:cubicBezTo>
                <a:cubicBezTo>
                  <a:pt x="805" y="590"/>
                  <a:pt x="805" y="590"/>
                  <a:pt x="805" y="590"/>
                </a:cubicBezTo>
                <a:cubicBezTo>
                  <a:pt x="793" y="590"/>
                  <a:pt x="783" y="599"/>
                  <a:pt x="783" y="611"/>
                </a:cubicBezTo>
                <a:cubicBezTo>
                  <a:pt x="783" y="623"/>
                  <a:pt x="793" y="633"/>
                  <a:pt x="805" y="633"/>
                </a:cubicBezTo>
                <a:cubicBezTo>
                  <a:pt x="1011" y="633"/>
                  <a:pt x="1011" y="633"/>
                  <a:pt x="1011" y="633"/>
                </a:cubicBezTo>
                <a:cubicBezTo>
                  <a:pt x="1015" y="633"/>
                  <a:pt x="1018" y="636"/>
                  <a:pt x="1018" y="640"/>
                </a:cubicBezTo>
                <a:cubicBezTo>
                  <a:pt x="1018" y="644"/>
                  <a:pt x="1015" y="647"/>
                  <a:pt x="1011" y="647"/>
                </a:cubicBezTo>
                <a:cubicBezTo>
                  <a:pt x="763" y="647"/>
                  <a:pt x="763" y="647"/>
                  <a:pt x="763" y="647"/>
                </a:cubicBezTo>
                <a:cubicBezTo>
                  <a:pt x="751" y="647"/>
                  <a:pt x="741" y="657"/>
                  <a:pt x="741" y="669"/>
                </a:cubicBezTo>
                <a:cubicBezTo>
                  <a:pt x="741" y="681"/>
                  <a:pt x="751" y="691"/>
                  <a:pt x="763" y="691"/>
                </a:cubicBezTo>
                <a:cubicBezTo>
                  <a:pt x="1046" y="691"/>
                  <a:pt x="1046" y="691"/>
                  <a:pt x="1046" y="691"/>
                </a:cubicBezTo>
                <a:cubicBezTo>
                  <a:pt x="1050" y="691"/>
                  <a:pt x="1054" y="694"/>
                  <a:pt x="1054" y="698"/>
                </a:cubicBezTo>
                <a:cubicBezTo>
                  <a:pt x="1054" y="702"/>
                  <a:pt x="1050" y="705"/>
                  <a:pt x="1046" y="705"/>
                </a:cubicBezTo>
                <a:cubicBezTo>
                  <a:pt x="791" y="705"/>
                  <a:pt x="791" y="705"/>
                  <a:pt x="791" y="705"/>
                </a:cubicBezTo>
                <a:cubicBezTo>
                  <a:pt x="779" y="705"/>
                  <a:pt x="770" y="715"/>
                  <a:pt x="770" y="727"/>
                </a:cubicBezTo>
                <a:cubicBezTo>
                  <a:pt x="770" y="739"/>
                  <a:pt x="779" y="748"/>
                  <a:pt x="791" y="748"/>
                </a:cubicBezTo>
                <a:cubicBezTo>
                  <a:pt x="1104" y="748"/>
                  <a:pt x="1104" y="748"/>
                  <a:pt x="1104" y="748"/>
                </a:cubicBezTo>
                <a:cubicBezTo>
                  <a:pt x="1108" y="748"/>
                  <a:pt x="1111" y="752"/>
                  <a:pt x="1111" y="756"/>
                </a:cubicBezTo>
                <a:cubicBezTo>
                  <a:pt x="1111" y="760"/>
                  <a:pt x="1108" y="763"/>
                  <a:pt x="1104" y="763"/>
                </a:cubicBezTo>
                <a:cubicBezTo>
                  <a:pt x="905" y="763"/>
                  <a:pt x="905" y="763"/>
                  <a:pt x="905" y="763"/>
                </a:cubicBezTo>
                <a:cubicBezTo>
                  <a:pt x="893" y="763"/>
                  <a:pt x="883" y="773"/>
                  <a:pt x="883" y="785"/>
                </a:cubicBezTo>
                <a:cubicBezTo>
                  <a:pt x="883" y="797"/>
                  <a:pt x="893" y="806"/>
                  <a:pt x="905" y="806"/>
                </a:cubicBezTo>
                <a:cubicBezTo>
                  <a:pt x="1049" y="806"/>
                  <a:pt x="1049" y="806"/>
                  <a:pt x="1049" y="806"/>
                </a:cubicBezTo>
                <a:cubicBezTo>
                  <a:pt x="1053" y="806"/>
                  <a:pt x="1057" y="810"/>
                  <a:pt x="1057" y="814"/>
                </a:cubicBezTo>
                <a:cubicBezTo>
                  <a:pt x="1057" y="818"/>
                  <a:pt x="1053" y="821"/>
                  <a:pt x="1049" y="821"/>
                </a:cubicBezTo>
                <a:cubicBezTo>
                  <a:pt x="914" y="821"/>
                  <a:pt x="914" y="821"/>
                  <a:pt x="914" y="821"/>
                </a:cubicBezTo>
                <a:cubicBezTo>
                  <a:pt x="902" y="821"/>
                  <a:pt x="892" y="831"/>
                  <a:pt x="892" y="842"/>
                </a:cubicBezTo>
                <a:cubicBezTo>
                  <a:pt x="892" y="854"/>
                  <a:pt x="902" y="864"/>
                  <a:pt x="914" y="864"/>
                </a:cubicBezTo>
                <a:cubicBezTo>
                  <a:pt x="1053" y="864"/>
                  <a:pt x="1053" y="864"/>
                  <a:pt x="1053" y="864"/>
                </a:cubicBezTo>
                <a:cubicBezTo>
                  <a:pt x="1057" y="864"/>
                  <a:pt x="1061" y="867"/>
                  <a:pt x="1061" y="871"/>
                </a:cubicBezTo>
                <a:cubicBezTo>
                  <a:pt x="1061" y="875"/>
                  <a:pt x="1057" y="879"/>
                  <a:pt x="1053" y="879"/>
                </a:cubicBezTo>
                <a:cubicBezTo>
                  <a:pt x="919" y="879"/>
                  <a:pt x="919" y="879"/>
                  <a:pt x="919" y="879"/>
                </a:cubicBezTo>
                <a:cubicBezTo>
                  <a:pt x="907" y="879"/>
                  <a:pt x="898" y="888"/>
                  <a:pt x="898" y="900"/>
                </a:cubicBezTo>
                <a:cubicBezTo>
                  <a:pt x="898" y="912"/>
                  <a:pt x="907" y="922"/>
                  <a:pt x="919" y="922"/>
                </a:cubicBezTo>
                <a:cubicBezTo>
                  <a:pt x="1017" y="922"/>
                  <a:pt x="1017" y="922"/>
                  <a:pt x="1017" y="922"/>
                </a:cubicBezTo>
                <a:cubicBezTo>
                  <a:pt x="1021" y="922"/>
                  <a:pt x="1024" y="925"/>
                  <a:pt x="1024" y="929"/>
                </a:cubicBezTo>
                <a:cubicBezTo>
                  <a:pt x="1024" y="933"/>
                  <a:pt x="1021" y="936"/>
                  <a:pt x="1017" y="936"/>
                </a:cubicBezTo>
                <a:cubicBezTo>
                  <a:pt x="941" y="936"/>
                  <a:pt x="941" y="936"/>
                  <a:pt x="941" y="936"/>
                </a:cubicBezTo>
                <a:cubicBezTo>
                  <a:pt x="929" y="936"/>
                  <a:pt x="919" y="946"/>
                  <a:pt x="919" y="958"/>
                </a:cubicBezTo>
                <a:cubicBezTo>
                  <a:pt x="919" y="970"/>
                  <a:pt x="929" y="980"/>
                  <a:pt x="941" y="980"/>
                </a:cubicBezTo>
                <a:cubicBezTo>
                  <a:pt x="979" y="980"/>
                  <a:pt x="979" y="980"/>
                  <a:pt x="979" y="980"/>
                </a:cubicBezTo>
                <a:cubicBezTo>
                  <a:pt x="983" y="980"/>
                  <a:pt x="986" y="983"/>
                  <a:pt x="986" y="987"/>
                </a:cubicBezTo>
                <a:cubicBezTo>
                  <a:pt x="986" y="991"/>
                  <a:pt x="983" y="994"/>
                  <a:pt x="979" y="994"/>
                </a:cubicBezTo>
                <a:cubicBezTo>
                  <a:pt x="976" y="994"/>
                  <a:pt x="976" y="994"/>
                  <a:pt x="976" y="994"/>
                </a:cubicBezTo>
                <a:cubicBezTo>
                  <a:pt x="956" y="994"/>
                  <a:pt x="940" y="1010"/>
                  <a:pt x="940" y="1030"/>
                </a:cubicBezTo>
                <a:cubicBezTo>
                  <a:pt x="940" y="1050"/>
                  <a:pt x="956" y="1066"/>
                  <a:pt x="976" y="1066"/>
                </a:cubicBezTo>
                <a:cubicBezTo>
                  <a:pt x="1017" y="1066"/>
                  <a:pt x="1017" y="1066"/>
                  <a:pt x="1017" y="1066"/>
                </a:cubicBezTo>
                <a:cubicBezTo>
                  <a:pt x="1029" y="1066"/>
                  <a:pt x="1039" y="1076"/>
                  <a:pt x="1039" y="1088"/>
                </a:cubicBezTo>
                <a:cubicBezTo>
                  <a:pt x="1039" y="1100"/>
                  <a:pt x="1029" y="1110"/>
                  <a:pt x="1017" y="1110"/>
                </a:cubicBezTo>
                <a:cubicBezTo>
                  <a:pt x="443" y="1110"/>
                  <a:pt x="443" y="1110"/>
                  <a:pt x="443" y="1110"/>
                </a:cubicBezTo>
                <a:cubicBezTo>
                  <a:pt x="439" y="1110"/>
                  <a:pt x="436" y="1107"/>
                  <a:pt x="436" y="1103"/>
                </a:cubicBezTo>
                <a:cubicBezTo>
                  <a:pt x="436" y="1099"/>
                  <a:pt x="439" y="1095"/>
                  <a:pt x="443" y="1095"/>
                </a:cubicBezTo>
                <a:cubicBezTo>
                  <a:pt x="472" y="1095"/>
                  <a:pt x="472" y="1095"/>
                  <a:pt x="472" y="1095"/>
                </a:cubicBezTo>
                <a:cubicBezTo>
                  <a:pt x="484" y="1095"/>
                  <a:pt x="493" y="1086"/>
                  <a:pt x="493" y="1074"/>
                </a:cubicBezTo>
                <a:cubicBezTo>
                  <a:pt x="493" y="1062"/>
                  <a:pt x="484" y="1052"/>
                  <a:pt x="472" y="1052"/>
                </a:cubicBezTo>
                <a:cubicBezTo>
                  <a:pt x="443" y="1052"/>
                  <a:pt x="443" y="1052"/>
                  <a:pt x="443" y="1052"/>
                </a:cubicBezTo>
                <a:cubicBezTo>
                  <a:pt x="439" y="1052"/>
                  <a:pt x="436" y="1049"/>
                  <a:pt x="436" y="1045"/>
                </a:cubicBezTo>
                <a:cubicBezTo>
                  <a:pt x="436" y="1041"/>
                  <a:pt x="439" y="1037"/>
                  <a:pt x="443" y="1037"/>
                </a:cubicBezTo>
                <a:cubicBezTo>
                  <a:pt x="495" y="1037"/>
                  <a:pt x="495" y="1037"/>
                  <a:pt x="495" y="1037"/>
                </a:cubicBezTo>
                <a:cubicBezTo>
                  <a:pt x="507" y="1037"/>
                  <a:pt x="517" y="1028"/>
                  <a:pt x="517" y="1016"/>
                </a:cubicBezTo>
                <a:cubicBezTo>
                  <a:pt x="517" y="1004"/>
                  <a:pt x="507" y="994"/>
                  <a:pt x="495" y="994"/>
                </a:cubicBezTo>
                <a:cubicBezTo>
                  <a:pt x="438" y="994"/>
                  <a:pt x="438" y="994"/>
                  <a:pt x="438" y="994"/>
                </a:cubicBezTo>
                <a:cubicBezTo>
                  <a:pt x="434" y="994"/>
                  <a:pt x="431" y="991"/>
                  <a:pt x="431" y="987"/>
                </a:cubicBezTo>
                <a:cubicBezTo>
                  <a:pt x="431" y="983"/>
                  <a:pt x="434" y="980"/>
                  <a:pt x="438" y="980"/>
                </a:cubicBezTo>
                <a:cubicBezTo>
                  <a:pt x="551" y="980"/>
                  <a:pt x="551" y="980"/>
                  <a:pt x="551" y="980"/>
                </a:cubicBezTo>
                <a:cubicBezTo>
                  <a:pt x="563" y="980"/>
                  <a:pt x="572" y="970"/>
                  <a:pt x="572" y="958"/>
                </a:cubicBezTo>
                <a:cubicBezTo>
                  <a:pt x="572" y="946"/>
                  <a:pt x="563" y="936"/>
                  <a:pt x="551" y="936"/>
                </a:cubicBezTo>
                <a:cubicBezTo>
                  <a:pt x="446" y="936"/>
                  <a:pt x="446" y="936"/>
                  <a:pt x="446" y="936"/>
                </a:cubicBezTo>
                <a:cubicBezTo>
                  <a:pt x="442" y="936"/>
                  <a:pt x="439" y="933"/>
                  <a:pt x="439" y="929"/>
                </a:cubicBezTo>
                <a:cubicBezTo>
                  <a:pt x="439" y="925"/>
                  <a:pt x="442" y="922"/>
                  <a:pt x="446" y="922"/>
                </a:cubicBezTo>
                <a:cubicBezTo>
                  <a:pt x="593" y="922"/>
                  <a:pt x="593" y="922"/>
                  <a:pt x="593" y="922"/>
                </a:cubicBezTo>
                <a:cubicBezTo>
                  <a:pt x="605" y="922"/>
                  <a:pt x="614" y="912"/>
                  <a:pt x="614" y="900"/>
                </a:cubicBezTo>
                <a:cubicBezTo>
                  <a:pt x="614" y="888"/>
                  <a:pt x="605" y="879"/>
                  <a:pt x="593" y="879"/>
                </a:cubicBezTo>
                <a:cubicBezTo>
                  <a:pt x="417" y="879"/>
                  <a:pt x="417" y="879"/>
                  <a:pt x="417" y="879"/>
                </a:cubicBezTo>
                <a:cubicBezTo>
                  <a:pt x="413" y="879"/>
                  <a:pt x="410" y="875"/>
                  <a:pt x="410" y="871"/>
                </a:cubicBezTo>
                <a:cubicBezTo>
                  <a:pt x="410" y="867"/>
                  <a:pt x="413" y="864"/>
                  <a:pt x="417" y="864"/>
                </a:cubicBezTo>
                <a:cubicBezTo>
                  <a:pt x="607" y="864"/>
                  <a:pt x="607" y="864"/>
                  <a:pt x="607" y="864"/>
                </a:cubicBezTo>
                <a:cubicBezTo>
                  <a:pt x="619" y="864"/>
                  <a:pt x="629" y="854"/>
                  <a:pt x="629" y="842"/>
                </a:cubicBezTo>
                <a:cubicBezTo>
                  <a:pt x="629" y="831"/>
                  <a:pt x="619" y="821"/>
                  <a:pt x="607" y="821"/>
                </a:cubicBezTo>
                <a:cubicBezTo>
                  <a:pt x="377" y="821"/>
                  <a:pt x="377" y="821"/>
                  <a:pt x="377" y="821"/>
                </a:cubicBezTo>
                <a:cubicBezTo>
                  <a:pt x="373" y="821"/>
                  <a:pt x="370" y="818"/>
                  <a:pt x="370" y="814"/>
                </a:cubicBezTo>
                <a:cubicBezTo>
                  <a:pt x="370" y="810"/>
                  <a:pt x="373" y="806"/>
                  <a:pt x="377" y="806"/>
                </a:cubicBezTo>
                <a:cubicBezTo>
                  <a:pt x="529" y="806"/>
                  <a:pt x="529" y="806"/>
                  <a:pt x="529" y="806"/>
                </a:cubicBezTo>
                <a:cubicBezTo>
                  <a:pt x="541" y="806"/>
                  <a:pt x="551" y="797"/>
                  <a:pt x="551" y="785"/>
                </a:cubicBezTo>
                <a:cubicBezTo>
                  <a:pt x="551" y="773"/>
                  <a:pt x="541" y="763"/>
                  <a:pt x="529" y="763"/>
                </a:cubicBezTo>
                <a:cubicBezTo>
                  <a:pt x="337" y="763"/>
                  <a:pt x="337" y="763"/>
                  <a:pt x="337" y="763"/>
                </a:cubicBezTo>
                <a:cubicBezTo>
                  <a:pt x="333" y="763"/>
                  <a:pt x="330" y="760"/>
                  <a:pt x="330" y="756"/>
                </a:cubicBezTo>
                <a:cubicBezTo>
                  <a:pt x="330" y="752"/>
                  <a:pt x="333" y="748"/>
                  <a:pt x="337" y="748"/>
                </a:cubicBezTo>
                <a:cubicBezTo>
                  <a:pt x="353" y="748"/>
                  <a:pt x="353" y="748"/>
                  <a:pt x="353" y="748"/>
                </a:cubicBezTo>
                <a:cubicBezTo>
                  <a:pt x="365" y="748"/>
                  <a:pt x="375" y="739"/>
                  <a:pt x="375" y="727"/>
                </a:cubicBezTo>
                <a:cubicBezTo>
                  <a:pt x="375" y="715"/>
                  <a:pt x="365" y="705"/>
                  <a:pt x="353" y="705"/>
                </a:cubicBezTo>
                <a:cubicBezTo>
                  <a:pt x="273" y="705"/>
                  <a:pt x="273" y="705"/>
                  <a:pt x="273" y="705"/>
                </a:cubicBezTo>
                <a:cubicBezTo>
                  <a:pt x="269" y="705"/>
                  <a:pt x="266" y="702"/>
                  <a:pt x="266" y="698"/>
                </a:cubicBezTo>
                <a:cubicBezTo>
                  <a:pt x="266" y="694"/>
                  <a:pt x="269" y="691"/>
                  <a:pt x="273" y="691"/>
                </a:cubicBezTo>
                <a:cubicBezTo>
                  <a:pt x="276" y="691"/>
                  <a:pt x="276" y="691"/>
                  <a:pt x="276" y="691"/>
                </a:cubicBezTo>
                <a:cubicBezTo>
                  <a:pt x="288" y="691"/>
                  <a:pt x="297" y="681"/>
                  <a:pt x="297" y="669"/>
                </a:cubicBezTo>
                <a:cubicBezTo>
                  <a:pt x="297" y="657"/>
                  <a:pt x="288" y="647"/>
                  <a:pt x="276" y="647"/>
                </a:cubicBezTo>
                <a:cubicBezTo>
                  <a:pt x="236" y="647"/>
                  <a:pt x="236" y="647"/>
                  <a:pt x="236" y="647"/>
                </a:cubicBezTo>
                <a:cubicBezTo>
                  <a:pt x="232" y="647"/>
                  <a:pt x="229" y="644"/>
                  <a:pt x="229" y="640"/>
                </a:cubicBezTo>
                <a:cubicBezTo>
                  <a:pt x="229" y="636"/>
                  <a:pt x="232" y="633"/>
                  <a:pt x="236" y="633"/>
                </a:cubicBezTo>
                <a:cubicBezTo>
                  <a:pt x="266" y="633"/>
                  <a:pt x="266" y="633"/>
                  <a:pt x="266" y="633"/>
                </a:cubicBezTo>
                <a:cubicBezTo>
                  <a:pt x="278" y="633"/>
                  <a:pt x="288" y="623"/>
                  <a:pt x="288" y="611"/>
                </a:cubicBezTo>
                <a:cubicBezTo>
                  <a:pt x="288" y="599"/>
                  <a:pt x="278" y="590"/>
                  <a:pt x="266" y="590"/>
                </a:cubicBezTo>
                <a:cubicBezTo>
                  <a:pt x="190" y="590"/>
                  <a:pt x="190" y="590"/>
                  <a:pt x="190" y="590"/>
                </a:cubicBezTo>
                <a:cubicBezTo>
                  <a:pt x="186" y="590"/>
                  <a:pt x="182" y="586"/>
                  <a:pt x="182" y="582"/>
                </a:cubicBezTo>
                <a:cubicBezTo>
                  <a:pt x="182" y="578"/>
                  <a:pt x="186" y="575"/>
                  <a:pt x="190" y="575"/>
                </a:cubicBezTo>
                <a:cubicBezTo>
                  <a:pt x="381" y="575"/>
                  <a:pt x="381" y="575"/>
                  <a:pt x="381" y="575"/>
                </a:cubicBezTo>
                <a:cubicBezTo>
                  <a:pt x="393" y="575"/>
                  <a:pt x="402" y="565"/>
                  <a:pt x="402" y="553"/>
                </a:cubicBezTo>
                <a:cubicBezTo>
                  <a:pt x="402" y="541"/>
                  <a:pt x="393" y="532"/>
                  <a:pt x="381" y="532"/>
                </a:cubicBezTo>
                <a:cubicBezTo>
                  <a:pt x="162" y="532"/>
                  <a:pt x="162" y="532"/>
                  <a:pt x="162" y="532"/>
                </a:cubicBezTo>
                <a:cubicBezTo>
                  <a:pt x="158" y="532"/>
                  <a:pt x="154" y="529"/>
                  <a:pt x="154" y="524"/>
                </a:cubicBezTo>
                <a:cubicBezTo>
                  <a:pt x="154" y="520"/>
                  <a:pt x="158" y="517"/>
                  <a:pt x="162" y="517"/>
                </a:cubicBezTo>
                <a:cubicBezTo>
                  <a:pt x="433" y="517"/>
                  <a:pt x="433" y="517"/>
                  <a:pt x="433" y="517"/>
                </a:cubicBezTo>
                <a:cubicBezTo>
                  <a:pt x="445" y="517"/>
                  <a:pt x="454" y="507"/>
                  <a:pt x="454" y="496"/>
                </a:cubicBezTo>
                <a:cubicBezTo>
                  <a:pt x="454" y="484"/>
                  <a:pt x="445" y="474"/>
                  <a:pt x="433" y="474"/>
                </a:cubicBezTo>
                <a:cubicBezTo>
                  <a:pt x="180" y="474"/>
                  <a:pt x="180" y="474"/>
                  <a:pt x="180" y="474"/>
                </a:cubicBezTo>
                <a:cubicBezTo>
                  <a:pt x="176" y="474"/>
                  <a:pt x="173" y="471"/>
                  <a:pt x="173" y="467"/>
                </a:cubicBezTo>
                <a:cubicBezTo>
                  <a:pt x="173" y="463"/>
                  <a:pt x="176" y="459"/>
                  <a:pt x="180" y="459"/>
                </a:cubicBezTo>
                <a:cubicBezTo>
                  <a:pt x="518" y="459"/>
                  <a:pt x="518" y="459"/>
                  <a:pt x="518" y="459"/>
                </a:cubicBezTo>
                <a:cubicBezTo>
                  <a:pt x="530" y="459"/>
                  <a:pt x="540" y="450"/>
                  <a:pt x="540" y="438"/>
                </a:cubicBezTo>
                <a:cubicBezTo>
                  <a:pt x="540" y="426"/>
                  <a:pt x="530" y="416"/>
                  <a:pt x="518" y="416"/>
                </a:cubicBezTo>
                <a:cubicBezTo>
                  <a:pt x="164" y="416"/>
                  <a:pt x="164" y="416"/>
                  <a:pt x="164" y="416"/>
                </a:cubicBezTo>
                <a:cubicBezTo>
                  <a:pt x="160" y="416"/>
                  <a:pt x="156" y="413"/>
                  <a:pt x="156" y="409"/>
                </a:cubicBezTo>
                <a:cubicBezTo>
                  <a:pt x="156" y="405"/>
                  <a:pt x="160" y="402"/>
                  <a:pt x="164" y="402"/>
                </a:cubicBezTo>
                <a:cubicBezTo>
                  <a:pt x="522" y="402"/>
                  <a:pt x="522" y="402"/>
                  <a:pt x="522" y="402"/>
                </a:cubicBezTo>
                <a:cubicBezTo>
                  <a:pt x="534" y="402"/>
                  <a:pt x="544" y="392"/>
                  <a:pt x="544" y="380"/>
                </a:cubicBezTo>
                <a:cubicBezTo>
                  <a:pt x="544" y="378"/>
                  <a:pt x="543" y="375"/>
                  <a:pt x="543" y="373"/>
                </a:cubicBezTo>
                <a:cubicBezTo>
                  <a:pt x="625" y="373"/>
                  <a:pt x="625" y="373"/>
                  <a:pt x="625" y="373"/>
                </a:cubicBezTo>
                <a:cubicBezTo>
                  <a:pt x="636" y="373"/>
                  <a:pt x="646" y="363"/>
                  <a:pt x="646" y="351"/>
                </a:cubicBezTo>
                <a:cubicBezTo>
                  <a:pt x="646" y="339"/>
                  <a:pt x="636" y="330"/>
                  <a:pt x="625" y="330"/>
                </a:cubicBezTo>
                <a:cubicBezTo>
                  <a:pt x="601" y="330"/>
                  <a:pt x="601" y="330"/>
                  <a:pt x="601" y="330"/>
                </a:cubicBezTo>
                <a:cubicBezTo>
                  <a:pt x="597" y="330"/>
                  <a:pt x="594" y="326"/>
                  <a:pt x="594" y="322"/>
                </a:cubicBezTo>
                <a:cubicBezTo>
                  <a:pt x="594" y="318"/>
                  <a:pt x="597" y="315"/>
                  <a:pt x="601" y="315"/>
                </a:cubicBezTo>
                <a:cubicBezTo>
                  <a:pt x="721" y="315"/>
                  <a:pt x="721" y="315"/>
                  <a:pt x="721" y="315"/>
                </a:cubicBezTo>
                <a:cubicBezTo>
                  <a:pt x="733" y="315"/>
                  <a:pt x="743" y="305"/>
                  <a:pt x="743" y="294"/>
                </a:cubicBezTo>
                <a:cubicBezTo>
                  <a:pt x="743" y="282"/>
                  <a:pt x="733" y="272"/>
                  <a:pt x="721" y="272"/>
                </a:cubicBezTo>
                <a:cubicBezTo>
                  <a:pt x="600" y="272"/>
                  <a:pt x="600" y="272"/>
                  <a:pt x="600" y="272"/>
                </a:cubicBezTo>
                <a:cubicBezTo>
                  <a:pt x="596" y="272"/>
                  <a:pt x="593" y="269"/>
                  <a:pt x="593" y="265"/>
                </a:cubicBezTo>
                <a:cubicBezTo>
                  <a:pt x="593" y="261"/>
                  <a:pt x="596" y="257"/>
                  <a:pt x="600" y="257"/>
                </a:cubicBezTo>
                <a:cubicBezTo>
                  <a:pt x="734" y="257"/>
                  <a:pt x="734" y="257"/>
                  <a:pt x="734" y="257"/>
                </a:cubicBezTo>
                <a:cubicBezTo>
                  <a:pt x="746" y="257"/>
                  <a:pt x="756" y="248"/>
                  <a:pt x="756" y="236"/>
                </a:cubicBezTo>
                <a:cubicBezTo>
                  <a:pt x="756" y="224"/>
                  <a:pt x="746" y="214"/>
                  <a:pt x="734" y="214"/>
                </a:cubicBezTo>
                <a:cubicBezTo>
                  <a:pt x="581" y="214"/>
                  <a:pt x="581" y="214"/>
                  <a:pt x="581" y="214"/>
                </a:cubicBezTo>
                <a:cubicBezTo>
                  <a:pt x="577" y="214"/>
                  <a:pt x="573" y="211"/>
                  <a:pt x="573" y="207"/>
                </a:cubicBezTo>
                <a:cubicBezTo>
                  <a:pt x="573" y="203"/>
                  <a:pt x="577" y="200"/>
                  <a:pt x="581" y="200"/>
                </a:cubicBezTo>
                <a:cubicBezTo>
                  <a:pt x="749" y="200"/>
                  <a:pt x="749" y="200"/>
                  <a:pt x="749" y="200"/>
                </a:cubicBezTo>
                <a:cubicBezTo>
                  <a:pt x="760" y="200"/>
                  <a:pt x="770" y="190"/>
                  <a:pt x="770" y="178"/>
                </a:cubicBezTo>
                <a:cubicBezTo>
                  <a:pt x="770" y="166"/>
                  <a:pt x="760" y="156"/>
                  <a:pt x="749" y="156"/>
                </a:cubicBezTo>
                <a:cubicBezTo>
                  <a:pt x="561" y="156"/>
                  <a:pt x="561" y="156"/>
                  <a:pt x="561" y="156"/>
                </a:cubicBezTo>
                <a:cubicBezTo>
                  <a:pt x="557" y="156"/>
                  <a:pt x="554" y="153"/>
                  <a:pt x="554" y="149"/>
                </a:cubicBezTo>
                <a:cubicBezTo>
                  <a:pt x="554" y="145"/>
                  <a:pt x="557" y="142"/>
                  <a:pt x="561" y="142"/>
                </a:cubicBezTo>
                <a:cubicBezTo>
                  <a:pt x="754" y="142"/>
                  <a:pt x="754" y="142"/>
                  <a:pt x="754" y="142"/>
                </a:cubicBezTo>
                <a:cubicBezTo>
                  <a:pt x="766" y="142"/>
                  <a:pt x="776" y="132"/>
                  <a:pt x="776" y="120"/>
                </a:cubicBezTo>
                <a:cubicBezTo>
                  <a:pt x="776" y="108"/>
                  <a:pt x="766" y="99"/>
                  <a:pt x="754" y="99"/>
                </a:cubicBezTo>
                <a:cubicBezTo>
                  <a:pt x="622" y="99"/>
                  <a:pt x="622" y="99"/>
                  <a:pt x="622" y="99"/>
                </a:cubicBezTo>
                <a:cubicBezTo>
                  <a:pt x="618" y="99"/>
                  <a:pt x="614" y="95"/>
                  <a:pt x="614" y="91"/>
                </a:cubicBezTo>
                <a:cubicBezTo>
                  <a:pt x="614" y="87"/>
                  <a:pt x="618" y="84"/>
                  <a:pt x="622" y="84"/>
                </a:cubicBezTo>
                <a:cubicBezTo>
                  <a:pt x="1237" y="84"/>
                  <a:pt x="1237" y="84"/>
                  <a:pt x="1237" y="84"/>
                </a:cubicBezTo>
                <a:cubicBezTo>
                  <a:pt x="1241" y="84"/>
                  <a:pt x="1244" y="87"/>
                  <a:pt x="1244" y="91"/>
                </a:cubicBezTo>
                <a:cubicBezTo>
                  <a:pt x="1244" y="95"/>
                  <a:pt x="1241" y="99"/>
                  <a:pt x="1237" y="99"/>
                </a:cubicBezTo>
                <a:cubicBezTo>
                  <a:pt x="1225" y="99"/>
                  <a:pt x="1225" y="99"/>
                  <a:pt x="1225" y="99"/>
                </a:cubicBezTo>
                <a:cubicBezTo>
                  <a:pt x="1213" y="99"/>
                  <a:pt x="1203" y="108"/>
                  <a:pt x="1203" y="120"/>
                </a:cubicBezTo>
                <a:cubicBezTo>
                  <a:pt x="1203" y="132"/>
                  <a:pt x="1213" y="142"/>
                  <a:pt x="1225" y="142"/>
                </a:cubicBezTo>
                <a:cubicBezTo>
                  <a:pt x="1693" y="142"/>
                  <a:pt x="1693" y="142"/>
                  <a:pt x="1693" y="142"/>
                </a:cubicBezTo>
                <a:cubicBezTo>
                  <a:pt x="1697" y="142"/>
                  <a:pt x="1701" y="145"/>
                  <a:pt x="1701" y="149"/>
                </a:cubicBezTo>
                <a:cubicBezTo>
                  <a:pt x="1701" y="153"/>
                  <a:pt x="1697" y="156"/>
                  <a:pt x="1693" y="156"/>
                </a:cubicBezTo>
                <a:cubicBezTo>
                  <a:pt x="1075" y="156"/>
                  <a:pt x="1075" y="156"/>
                  <a:pt x="1075" y="156"/>
                </a:cubicBezTo>
                <a:cubicBezTo>
                  <a:pt x="1063" y="156"/>
                  <a:pt x="1054" y="166"/>
                  <a:pt x="1054" y="178"/>
                </a:cubicBezTo>
                <a:cubicBezTo>
                  <a:pt x="1054" y="190"/>
                  <a:pt x="1063" y="200"/>
                  <a:pt x="1075" y="200"/>
                </a:cubicBezTo>
                <a:cubicBezTo>
                  <a:pt x="1686" y="200"/>
                  <a:pt x="1686" y="200"/>
                  <a:pt x="1686" y="200"/>
                </a:cubicBezTo>
                <a:cubicBezTo>
                  <a:pt x="1690" y="200"/>
                  <a:pt x="1693" y="203"/>
                  <a:pt x="1693" y="207"/>
                </a:cubicBezTo>
                <a:cubicBezTo>
                  <a:pt x="1693" y="211"/>
                  <a:pt x="1690" y="214"/>
                  <a:pt x="1686" y="214"/>
                </a:cubicBezTo>
                <a:cubicBezTo>
                  <a:pt x="1145" y="214"/>
                  <a:pt x="1145" y="214"/>
                  <a:pt x="1145" y="214"/>
                </a:cubicBezTo>
                <a:cubicBezTo>
                  <a:pt x="1133" y="214"/>
                  <a:pt x="1123" y="224"/>
                  <a:pt x="1123" y="236"/>
                </a:cubicBezTo>
                <a:cubicBezTo>
                  <a:pt x="1123" y="248"/>
                  <a:pt x="1133" y="257"/>
                  <a:pt x="1145" y="257"/>
                </a:cubicBezTo>
                <a:cubicBezTo>
                  <a:pt x="1683" y="257"/>
                  <a:pt x="1683" y="257"/>
                  <a:pt x="1683" y="257"/>
                </a:cubicBezTo>
                <a:cubicBezTo>
                  <a:pt x="1687" y="257"/>
                  <a:pt x="1691" y="261"/>
                  <a:pt x="1691" y="265"/>
                </a:cubicBezTo>
                <a:cubicBezTo>
                  <a:pt x="1691" y="269"/>
                  <a:pt x="1687" y="272"/>
                  <a:pt x="1683" y="272"/>
                </a:cubicBezTo>
                <a:cubicBezTo>
                  <a:pt x="940" y="272"/>
                  <a:pt x="940" y="272"/>
                  <a:pt x="940" y="272"/>
                </a:cubicBezTo>
                <a:cubicBezTo>
                  <a:pt x="929" y="272"/>
                  <a:pt x="919" y="282"/>
                  <a:pt x="919" y="294"/>
                </a:cubicBezTo>
                <a:cubicBezTo>
                  <a:pt x="919" y="305"/>
                  <a:pt x="929" y="315"/>
                  <a:pt x="940" y="315"/>
                </a:cubicBezTo>
                <a:cubicBezTo>
                  <a:pt x="1553" y="315"/>
                  <a:pt x="1553" y="315"/>
                  <a:pt x="1553" y="315"/>
                </a:cubicBezTo>
                <a:cubicBezTo>
                  <a:pt x="1557" y="315"/>
                  <a:pt x="1561" y="318"/>
                  <a:pt x="1561" y="322"/>
                </a:cubicBezTo>
                <a:cubicBezTo>
                  <a:pt x="1561" y="326"/>
                  <a:pt x="1557" y="330"/>
                  <a:pt x="1553" y="330"/>
                </a:cubicBezTo>
                <a:cubicBezTo>
                  <a:pt x="888" y="330"/>
                  <a:pt x="888" y="330"/>
                  <a:pt x="888" y="330"/>
                </a:cubicBezTo>
                <a:cubicBezTo>
                  <a:pt x="876" y="330"/>
                  <a:pt x="867" y="339"/>
                  <a:pt x="867" y="351"/>
                </a:cubicBezTo>
                <a:cubicBezTo>
                  <a:pt x="867" y="354"/>
                  <a:pt x="867" y="356"/>
                  <a:pt x="868" y="358"/>
                </a:cubicBezTo>
                <a:close/>
              </a:path>
            </a:pathLst>
          </a:custGeom>
          <a:solidFill>
            <a:srgbClr val="FFFFFF"/>
          </a:solidFill>
          <a:ln>
            <a:noFill/>
          </a:ln>
        </p:spPr>
        <p:txBody>
          <a:bodyPr vert="horz" wrap="square" lIns="67893" tIns="33945" rIns="67893" bIns="33945" numCol="1" anchor="t" anchorCtr="0" compatLnSpc="1">
            <a:prstTxWarp prst="textNoShape">
              <a:avLst/>
            </a:prstTxWarp>
          </a:bodyPr>
          <a:lstStyle/>
          <a:p>
            <a:endParaRPr lang="en-US" sz="1114"/>
          </a:p>
        </p:txBody>
      </p:sp>
      <p:pic>
        <p:nvPicPr>
          <p:cNvPr id="10" name="MS logo white - EMF" descr="Microsoft logo white text version">
            <a:extLst>
              <a:ext uri="{FF2B5EF4-FFF2-40B4-BE49-F238E27FC236}">
                <a16:creationId xmlns:a16="http://schemas.microsoft.com/office/drawing/2014/main" id="{CD4582AC-B535-4CE4-8C99-CF1AAEEE84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02209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Title Slide Photo_Option">
    <p:bg>
      <p:bgPr>
        <a:solidFill>
          <a:srgbClr val="0070C0"/>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5878286" cy="6858000"/>
          </a:xfrm>
          <a:prstGeom prst="rect">
            <a:avLst/>
          </a:prstGeom>
          <a:solidFill>
            <a:srgbClr val="002050">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5784" tIns="108626" rIns="135784" bIns="108626" numCol="1" spcCol="0" rtlCol="0" fromWordArt="0" anchor="t" anchorCtr="0" forceAA="0" compatLnSpc="1">
            <a:prstTxWarp prst="textNoShape">
              <a:avLst/>
            </a:prstTxWarp>
            <a:noAutofit/>
          </a:bodyPr>
          <a:lstStyle/>
          <a:p>
            <a:pPr algn="ctr" defTabSz="692461" fontAlgn="base">
              <a:lnSpc>
                <a:spcPct val="90000"/>
              </a:lnSpc>
              <a:spcBef>
                <a:spcPct val="0"/>
              </a:spcBef>
              <a:spcAft>
                <a:spcPct val="0"/>
              </a:spcAft>
            </a:pPr>
            <a:endParaRPr lang="en-US" sz="1782">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618569" y="2084189"/>
            <a:ext cx="5486400" cy="1793104"/>
          </a:xfrm>
          <a:noFill/>
        </p:spPr>
        <p:txBody>
          <a:bodyPr lIns="146304" tIns="91440" rIns="146304" bIns="91440" anchor="t" anchorCtr="0"/>
          <a:lstStyle>
            <a:lvl1pPr>
              <a:defRPr sz="4010" spc="-75" baseline="0">
                <a:gradFill>
                  <a:gsLst>
                    <a:gs pos="86111">
                      <a:schemeClr val="tx1"/>
                    </a:gs>
                    <a:gs pos="76250">
                      <a:schemeClr val="tx1"/>
                    </a:gs>
                  </a:gsLst>
                  <a:lin ang="5400000" scaled="0"/>
                </a:gradFill>
                <a:latin typeface="Segoe UI" panose="020B0502040204020203" pitchFamily="34" charset="0"/>
                <a:cs typeface="Segoe UI" panose="020B0502040204020203" pitchFamily="34" charset="0"/>
              </a:defRPr>
            </a:lvl1pPr>
          </a:lstStyle>
          <a:p>
            <a:r>
              <a:rPr lang="en-US"/>
              <a:t>Presentation title</a:t>
            </a:r>
          </a:p>
        </p:txBody>
      </p:sp>
      <p:sp>
        <p:nvSpPr>
          <p:cNvPr id="13" name="Freeform 6"/>
          <p:cNvSpPr>
            <a:spLocks noEditPoints="1"/>
          </p:cNvSpPr>
          <p:nvPr userDrawn="1"/>
        </p:nvSpPr>
        <p:spPr bwMode="auto">
          <a:xfrm>
            <a:off x="5973487" y="2103611"/>
            <a:ext cx="6096001" cy="3566769"/>
          </a:xfrm>
          <a:custGeom>
            <a:avLst/>
            <a:gdLst>
              <a:gd name="T0" fmla="*/ 1776 w 2020"/>
              <a:gd name="T1" fmla="*/ 1074 h 1182"/>
              <a:gd name="T2" fmla="*/ 1629 w 2020"/>
              <a:gd name="T3" fmla="*/ 1146 h 1182"/>
              <a:gd name="T4" fmla="*/ 1498 w 2020"/>
              <a:gd name="T5" fmla="*/ 1016 h 1182"/>
              <a:gd name="T6" fmla="*/ 1543 w 2020"/>
              <a:gd name="T7" fmla="*/ 901 h 1182"/>
              <a:gd name="T8" fmla="*/ 1585 w 2020"/>
              <a:gd name="T9" fmla="*/ 785 h 1182"/>
              <a:gd name="T10" fmla="*/ 1314 w 2020"/>
              <a:gd name="T11" fmla="*/ 756 h 1182"/>
              <a:gd name="T12" fmla="*/ 1061 w 2020"/>
              <a:gd name="T13" fmla="*/ 640 h 1182"/>
              <a:gd name="T14" fmla="*/ 1032 w 2020"/>
              <a:gd name="T15" fmla="*/ 525 h 1182"/>
              <a:gd name="T16" fmla="*/ 848 w 2020"/>
              <a:gd name="T17" fmla="*/ 409 h 1182"/>
              <a:gd name="T18" fmla="*/ 1553 w 2020"/>
              <a:gd name="T19" fmla="*/ 301 h 1182"/>
              <a:gd name="T20" fmla="*/ 1686 w 2020"/>
              <a:gd name="T21" fmla="*/ 185 h 1182"/>
              <a:gd name="T22" fmla="*/ 1237 w 2020"/>
              <a:gd name="T23" fmla="*/ 70 h 1182"/>
              <a:gd name="T24" fmla="*/ 749 w 2020"/>
              <a:gd name="T25" fmla="*/ 185 h 1182"/>
              <a:gd name="T26" fmla="*/ 721 w 2020"/>
              <a:gd name="T27" fmla="*/ 301 h 1182"/>
              <a:gd name="T28" fmla="*/ 366 w 2020"/>
              <a:gd name="T29" fmla="*/ 344 h 1182"/>
              <a:gd name="T30" fmla="*/ 237 w 2020"/>
              <a:gd name="T31" fmla="*/ 228 h 1182"/>
              <a:gd name="T32" fmla="*/ 318 w 2020"/>
              <a:gd name="T33" fmla="*/ 38 h 1182"/>
              <a:gd name="T34" fmla="*/ 353 w 2020"/>
              <a:gd name="T35" fmla="*/ 264 h 1182"/>
              <a:gd name="T36" fmla="*/ 497 w 2020"/>
              <a:gd name="T37" fmla="*/ 373 h 1182"/>
              <a:gd name="T38" fmla="*/ 180 w 2020"/>
              <a:gd name="T39" fmla="*/ 488 h 1182"/>
              <a:gd name="T40" fmla="*/ 190 w 2020"/>
              <a:gd name="T41" fmla="*/ 604 h 1182"/>
              <a:gd name="T42" fmla="*/ 273 w 2020"/>
              <a:gd name="T43" fmla="*/ 720 h 1182"/>
              <a:gd name="T44" fmla="*/ 377 w 2020"/>
              <a:gd name="T45" fmla="*/ 835 h 1182"/>
              <a:gd name="T46" fmla="*/ 446 w 2020"/>
              <a:gd name="T47" fmla="*/ 951 h 1182"/>
              <a:gd name="T48" fmla="*/ 443 w 2020"/>
              <a:gd name="T49" fmla="*/ 1066 h 1182"/>
              <a:gd name="T50" fmla="*/ 955 w 2020"/>
              <a:gd name="T51" fmla="*/ 1030 h 1182"/>
              <a:gd name="T52" fmla="*/ 912 w 2020"/>
              <a:gd name="T53" fmla="*/ 900 h 1182"/>
              <a:gd name="T54" fmla="*/ 898 w 2020"/>
              <a:gd name="T55" fmla="*/ 785 h 1182"/>
              <a:gd name="T56" fmla="*/ 755 w 2020"/>
              <a:gd name="T57" fmla="*/ 669 h 1182"/>
              <a:gd name="T58" fmla="*/ 798 w 2020"/>
              <a:gd name="T59" fmla="*/ 553 h 1182"/>
              <a:gd name="T60" fmla="*/ 761 w 2020"/>
              <a:gd name="T61" fmla="*/ 438 h 1182"/>
              <a:gd name="T62" fmla="*/ 1592 w 2020"/>
              <a:gd name="T63" fmla="*/ 388 h 1182"/>
              <a:gd name="T64" fmla="*/ 1553 w 2020"/>
              <a:gd name="T65" fmla="*/ 503 h 1182"/>
              <a:gd name="T66" fmla="*/ 1526 w 2020"/>
              <a:gd name="T67" fmla="*/ 619 h 1182"/>
              <a:gd name="T68" fmla="*/ 1454 w 2020"/>
              <a:gd name="T69" fmla="*/ 734 h 1182"/>
              <a:gd name="T70" fmla="*/ 1623 w 2020"/>
              <a:gd name="T71" fmla="*/ 792 h 1182"/>
              <a:gd name="T72" fmla="*/ 1681 w 2020"/>
              <a:gd name="T73" fmla="*/ 879 h 1182"/>
              <a:gd name="T74" fmla="*/ 1712 w 2020"/>
              <a:gd name="T75" fmla="*/ 995 h 1182"/>
              <a:gd name="T76" fmla="*/ 1658 w 2020"/>
              <a:gd name="T77" fmla="*/ 1110 h 1182"/>
              <a:gd name="T78" fmla="*/ 1824 w 2020"/>
              <a:gd name="T79" fmla="*/ 1081 h 1182"/>
              <a:gd name="T80" fmla="*/ 2020 w 2020"/>
              <a:gd name="T81" fmla="*/ 870 h 1182"/>
              <a:gd name="T82" fmla="*/ 969 w 2020"/>
              <a:gd name="T83" fmla="*/ 459 h 1182"/>
              <a:gd name="T84" fmla="*/ 860 w 2020"/>
              <a:gd name="T85" fmla="*/ 575 h 1182"/>
              <a:gd name="T86" fmla="*/ 1046 w 2020"/>
              <a:gd name="T87" fmla="*/ 691 h 1182"/>
              <a:gd name="T88" fmla="*/ 1049 w 2020"/>
              <a:gd name="T89" fmla="*/ 806 h 1182"/>
              <a:gd name="T90" fmla="*/ 1017 w 2020"/>
              <a:gd name="T91" fmla="*/ 922 h 1182"/>
              <a:gd name="T92" fmla="*/ 1017 w 2020"/>
              <a:gd name="T93" fmla="*/ 1066 h 1182"/>
              <a:gd name="T94" fmla="*/ 495 w 2020"/>
              <a:gd name="T95" fmla="*/ 1037 h 1182"/>
              <a:gd name="T96" fmla="*/ 593 w 2020"/>
              <a:gd name="T97" fmla="*/ 922 h 1182"/>
              <a:gd name="T98" fmla="*/ 529 w 2020"/>
              <a:gd name="T99" fmla="*/ 806 h 1182"/>
              <a:gd name="T100" fmla="*/ 276 w 2020"/>
              <a:gd name="T101" fmla="*/ 691 h 1182"/>
              <a:gd name="T102" fmla="*/ 381 w 2020"/>
              <a:gd name="T103" fmla="*/ 575 h 1182"/>
              <a:gd name="T104" fmla="*/ 518 w 2020"/>
              <a:gd name="T105" fmla="*/ 459 h 1182"/>
              <a:gd name="T106" fmla="*/ 601 w 2020"/>
              <a:gd name="T107" fmla="*/ 330 h 1182"/>
              <a:gd name="T108" fmla="*/ 581 w 2020"/>
              <a:gd name="T109" fmla="*/ 214 h 1182"/>
              <a:gd name="T110" fmla="*/ 622 w 2020"/>
              <a:gd name="T111" fmla="*/ 99 h 1182"/>
              <a:gd name="T112" fmla="*/ 1075 w 2020"/>
              <a:gd name="T113" fmla="*/ 156 h 1182"/>
              <a:gd name="T114" fmla="*/ 940 w 2020"/>
              <a:gd name="T115" fmla="*/ 272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0" h="1182">
                <a:moveTo>
                  <a:pt x="2001" y="851"/>
                </a:moveTo>
                <a:cubicBezTo>
                  <a:pt x="1990" y="851"/>
                  <a:pt x="1982" y="860"/>
                  <a:pt x="1982" y="870"/>
                </a:cubicBezTo>
                <a:cubicBezTo>
                  <a:pt x="1982" y="878"/>
                  <a:pt x="1987" y="885"/>
                  <a:pt x="1994" y="887"/>
                </a:cubicBezTo>
                <a:cubicBezTo>
                  <a:pt x="1988" y="947"/>
                  <a:pt x="1938" y="995"/>
                  <a:pt x="1876" y="995"/>
                </a:cubicBezTo>
                <a:cubicBezTo>
                  <a:pt x="1791" y="995"/>
                  <a:pt x="1791" y="995"/>
                  <a:pt x="1791" y="995"/>
                </a:cubicBezTo>
                <a:cubicBezTo>
                  <a:pt x="1779" y="995"/>
                  <a:pt x="1770" y="1004"/>
                  <a:pt x="1770" y="1016"/>
                </a:cubicBezTo>
                <a:cubicBezTo>
                  <a:pt x="1770" y="1028"/>
                  <a:pt x="1779" y="1038"/>
                  <a:pt x="1791" y="1038"/>
                </a:cubicBezTo>
                <a:cubicBezTo>
                  <a:pt x="1843" y="1038"/>
                  <a:pt x="1843" y="1038"/>
                  <a:pt x="1843" y="1038"/>
                </a:cubicBezTo>
                <a:cubicBezTo>
                  <a:pt x="1847" y="1038"/>
                  <a:pt x="1850" y="1041"/>
                  <a:pt x="1850" y="1045"/>
                </a:cubicBezTo>
                <a:cubicBezTo>
                  <a:pt x="1850" y="1049"/>
                  <a:pt x="1847" y="1052"/>
                  <a:pt x="1843" y="1052"/>
                </a:cubicBezTo>
                <a:cubicBezTo>
                  <a:pt x="1797" y="1052"/>
                  <a:pt x="1797" y="1052"/>
                  <a:pt x="1797" y="1052"/>
                </a:cubicBezTo>
                <a:cubicBezTo>
                  <a:pt x="1785" y="1052"/>
                  <a:pt x="1776" y="1062"/>
                  <a:pt x="1776" y="1074"/>
                </a:cubicBezTo>
                <a:cubicBezTo>
                  <a:pt x="1776" y="1086"/>
                  <a:pt x="1785" y="1096"/>
                  <a:pt x="1797" y="1096"/>
                </a:cubicBezTo>
                <a:cubicBezTo>
                  <a:pt x="1824" y="1096"/>
                  <a:pt x="1824" y="1096"/>
                  <a:pt x="1824" y="1096"/>
                </a:cubicBezTo>
                <a:cubicBezTo>
                  <a:pt x="1828" y="1096"/>
                  <a:pt x="1832" y="1099"/>
                  <a:pt x="1832" y="1103"/>
                </a:cubicBezTo>
                <a:cubicBezTo>
                  <a:pt x="1832" y="1107"/>
                  <a:pt x="1828" y="1110"/>
                  <a:pt x="1824" y="1110"/>
                </a:cubicBezTo>
                <a:cubicBezTo>
                  <a:pt x="1766" y="1110"/>
                  <a:pt x="1766" y="1110"/>
                  <a:pt x="1766" y="1110"/>
                </a:cubicBezTo>
                <a:cubicBezTo>
                  <a:pt x="1754" y="1110"/>
                  <a:pt x="1744" y="1120"/>
                  <a:pt x="1744" y="1132"/>
                </a:cubicBezTo>
                <a:cubicBezTo>
                  <a:pt x="1744" y="1144"/>
                  <a:pt x="1754" y="1153"/>
                  <a:pt x="1766" y="1153"/>
                </a:cubicBezTo>
                <a:cubicBezTo>
                  <a:pt x="1789" y="1153"/>
                  <a:pt x="1789" y="1153"/>
                  <a:pt x="1789" y="1153"/>
                </a:cubicBezTo>
                <a:cubicBezTo>
                  <a:pt x="1793" y="1153"/>
                  <a:pt x="1797" y="1157"/>
                  <a:pt x="1797" y="1161"/>
                </a:cubicBezTo>
                <a:cubicBezTo>
                  <a:pt x="1797" y="1165"/>
                  <a:pt x="1793" y="1168"/>
                  <a:pt x="1789" y="1168"/>
                </a:cubicBezTo>
                <a:cubicBezTo>
                  <a:pt x="1650" y="1168"/>
                  <a:pt x="1650" y="1168"/>
                  <a:pt x="1650" y="1168"/>
                </a:cubicBezTo>
                <a:cubicBezTo>
                  <a:pt x="1638" y="1168"/>
                  <a:pt x="1629" y="1158"/>
                  <a:pt x="1629" y="1146"/>
                </a:cubicBezTo>
                <a:cubicBezTo>
                  <a:pt x="1629" y="1134"/>
                  <a:pt x="1638" y="1125"/>
                  <a:pt x="1650" y="1125"/>
                </a:cubicBezTo>
                <a:cubicBezTo>
                  <a:pt x="1658" y="1125"/>
                  <a:pt x="1658" y="1125"/>
                  <a:pt x="1658" y="1125"/>
                </a:cubicBezTo>
                <a:cubicBezTo>
                  <a:pt x="1670" y="1125"/>
                  <a:pt x="1680" y="1115"/>
                  <a:pt x="1680" y="1103"/>
                </a:cubicBezTo>
                <a:cubicBezTo>
                  <a:pt x="1680" y="1091"/>
                  <a:pt x="1670" y="1081"/>
                  <a:pt x="1658" y="1081"/>
                </a:cubicBezTo>
                <a:cubicBezTo>
                  <a:pt x="1635" y="1081"/>
                  <a:pt x="1635" y="1081"/>
                  <a:pt x="1635" y="1081"/>
                </a:cubicBezTo>
                <a:cubicBezTo>
                  <a:pt x="1631" y="1081"/>
                  <a:pt x="1628" y="1078"/>
                  <a:pt x="1628" y="1074"/>
                </a:cubicBezTo>
                <a:cubicBezTo>
                  <a:pt x="1628" y="1070"/>
                  <a:pt x="1631" y="1067"/>
                  <a:pt x="1635" y="1067"/>
                </a:cubicBezTo>
                <a:cubicBezTo>
                  <a:pt x="1693" y="1067"/>
                  <a:pt x="1693" y="1067"/>
                  <a:pt x="1693" y="1067"/>
                </a:cubicBezTo>
                <a:cubicBezTo>
                  <a:pt x="1705" y="1067"/>
                  <a:pt x="1715" y="1057"/>
                  <a:pt x="1715" y="1045"/>
                </a:cubicBezTo>
                <a:cubicBezTo>
                  <a:pt x="1715" y="1033"/>
                  <a:pt x="1705" y="1024"/>
                  <a:pt x="1693" y="1024"/>
                </a:cubicBezTo>
                <a:cubicBezTo>
                  <a:pt x="1505" y="1024"/>
                  <a:pt x="1505" y="1024"/>
                  <a:pt x="1505" y="1024"/>
                </a:cubicBezTo>
                <a:cubicBezTo>
                  <a:pt x="1501" y="1024"/>
                  <a:pt x="1498" y="1020"/>
                  <a:pt x="1498" y="1016"/>
                </a:cubicBezTo>
                <a:cubicBezTo>
                  <a:pt x="1498" y="1012"/>
                  <a:pt x="1501" y="1009"/>
                  <a:pt x="1505" y="1009"/>
                </a:cubicBezTo>
                <a:cubicBezTo>
                  <a:pt x="1712" y="1009"/>
                  <a:pt x="1712" y="1009"/>
                  <a:pt x="1712" y="1009"/>
                </a:cubicBezTo>
                <a:cubicBezTo>
                  <a:pt x="1724" y="1009"/>
                  <a:pt x="1733" y="999"/>
                  <a:pt x="1733" y="987"/>
                </a:cubicBezTo>
                <a:cubicBezTo>
                  <a:pt x="1733" y="975"/>
                  <a:pt x="1724" y="966"/>
                  <a:pt x="1712" y="966"/>
                </a:cubicBezTo>
                <a:cubicBezTo>
                  <a:pt x="1504" y="966"/>
                  <a:pt x="1504" y="966"/>
                  <a:pt x="1504" y="966"/>
                </a:cubicBezTo>
                <a:cubicBezTo>
                  <a:pt x="1500" y="966"/>
                  <a:pt x="1496" y="962"/>
                  <a:pt x="1496" y="958"/>
                </a:cubicBezTo>
                <a:cubicBezTo>
                  <a:pt x="1496" y="954"/>
                  <a:pt x="1500" y="951"/>
                  <a:pt x="1504" y="951"/>
                </a:cubicBezTo>
                <a:cubicBezTo>
                  <a:pt x="1697" y="951"/>
                  <a:pt x="1697" y="951"/>
                  <a:pt x="1697" y="951"/>
                </a:cubicBezTo>
                <a:cubicBezTo>
                  <a:pt x="1709" y="951"/>
                  <a:pt x="1718" y="941"/>
                  <a:pt x="1718" y="929"/>
                </a:cubicBezTo>
                <a:cubicBezTo>
                  <a:pt x="1718" y="918"/>
                  <a:pt x="1709" y="908"/>
                  <a:pt x="1697" y="908"/>
                </a:cubicBezTo>
                <a:cubicBezTo>
                  <a:pt x="1550" y="908"/>
                  <a:pt x="1550" y="908"/>
                  <a:pt x="1550" y="908"/>
                </a:cubicBezTo>
                <a:cubicBezTo>
                  <a:pt x="1546" y="908"/>
                  <a:pt x="1543" y="905"/>
                  <a:pt x="1543" y="901"/>
                </a:cubicBezTo>
                <a:cubicBezTo>
                  <a:pt x="1543" y="897"/>
                  <a:pt x="1546" y="893"/>
                  <a:pt x="1550" y="893"/>
                </a:cubicBezTo>
                <a:cubicBezTo>
                  <a:pt x="1681" y="893"/>
                  <a:pt x="1681" y="893"/>
                  <a:pt x="1681" y="893"/>
                </a:cubicBezTo>
                <a:cubicBezTo>
                  <a:pt x="1701" y="893"/>
                  <a:pt x="1718" y="877"/>
                  <a:pt x="1718" y="857"/>
                </a:cubicBezTo>
                <a:cubicBezTo>
                  <a:pt x="1718" y="837"/>
                  <a:pt x="1701" y="821"/>
                  <a:pt x="1681" y="821"/>
                </a:cubicBezTo>
                <a:cubicBezTo>
                  <a:pt x="1673" y="821"/>
                  <a:pt x="1673" y="821"/>
                  <a:pt x="1673" y="821"/>
                </a:cubicBezTo>
                <a:cubicBezTo>
                  <a:pt x="1669" y="821"/>
                  <a:pt x="1666" y="818"/>
                  <a:pt x="1666" y="814"/>
                </a:cubicBezTo>
                <a:cubicBezTo>
                  <a:pt x="1666" y="810"/>
                  <a:pt x="1669" y="807"/>
                  <a:pt x="1673" y="807"/>
                </a:cubicBezTo>
                <a:cubicBezTo>
                  <a:pt x="1683" y="807"/>
                  <a:pt x="1683" y="807"/>
                  <a:pt x="1683" y="807"/>
                </a:cubicBezTo>
                <a:cubicBezTo>
                  <a:pt x="1694" y="807"/>
                  <a:pt x="1704" y="797"/>
                  <a:pt x="1704" y="785"/>
                </a:cubicBezTo>
                <a:cubicBezTo>
                  <a:pt x="1704" y="773"/>
                  <a:pt x="1694" y="763"/>
                  <a:pt x="1683" y="763"/>
                </a:cubicBezTo>
                <a:cubicBezTo>
                  <a:pt x="1607" y="763"/>
                  <a:pt x="1607" y="763"/>
                  <a:pt x="1607" y="763"/>
                </a:cubicBezTo>
                <a:cubicBezTo>
                  <a:pt x="1595" y="763"/>
                  <a:pt x="1585" y="773"/>
                  <a:pt x="1585" y="785"/>
                </a:cubicBezTo>
                <a:cubicBezTo>
                  <a:pt x="1585" y="797"/>
                  <a:pt x="1595" y="807"/>
                  <a:pt x="1607" y="807"/>
                </a:cubicBezTo>
                <a:cubicBezTo>
                  <a:pt x="1623" y="807"/>
                  <a:pt x="1623" y="807"/>
                  <a:pt x="1623" y="807"/>
                </a:cubicBezTo>
                <a:cubicBezTo>
                  <a:pt x="1627" y="807"/>
                  <a:pt x="1631" y="810"/>
                  <a:pt x="1631" y="814"/>
                </a:cubicBezTo>
                <a:cubicBezTo>
                  <a:pt x="1631" y="818"/>
                  <a:pt x="1627" y="821"/>
                  <a:pt x="1623" y="821"/>
                </a:cubicBezTo>
                <a:cubicBezTo>
                  <a:pt x="1455" y="821"/>
                  <a:pt x="1455" y="821"/>
                  <a:pt x="1455" y="821"/>
                </a:cubicBezTo>
                <a:cubicBezTo>
                  <a:pt x="1451" y="821"/>
                  <a:pt x="1448" y="818"/>
                  <a:pt x="1448" y="814"/>
                </a:cubicBezTo>
                <a:cubicBezTo>
                  <a:pt x="1448" y="810"/>
                  <a:pt x="1451" y="807"/>
                  <a:pt x="1455" y="807"/>
                </a:cubicBezTo>
                <a:cubicBezTo>
                  <a:pt x="1549" y="807"/>
                  <a:pt x="1549" y="807"/>
                  <a:pt x="1549" y="807"/>
                </a:cubicBezTo>
                <a:cubicBezTo>
                  <a:pt x="1561" y="807"/>
                  <a:pt x="1571" y="797"/>
                  <a:pt x="1571" y="785"/>
                </a:cubicBezTo>
                <a:cubicBezTo>
                  <a:pt x="1571" y="773"/>
                  <a:pt x="1561" y="763"/>
                  <a:pt x="1549" y="763"/>
                </a:cubicBezTo>
                <a:cubicBezTo>
                  <a:pt x="1321" y="763"/>
                  <a:pt x="1321" y="763"/>
                  <a:pt x="1321" y="763"/>
                </a:cubicBezTo>
                <a:cubicBezTo>
                  <a:pt x="1317" y="763"/>
                  <a:pt x="1314" y="760"/>
                  <a:pt x="1314" y="756"/>
                </a:cubicBezTo>
                <a:cubicBezTo>
                  <a:pt x="1314" y="752"/>
                  <a:pt x="1317" y="749"/>
                  <a:pt x="1321" y="749"/>
                </a:cubicBezTo>
                <a:cubicBezTo>
                  <a:pt x="1454" y="749"/>
                  <a:pt x="1454" y="749"/>
                  <a:pt x="1454" y="749"/>
                </a:cubicBezTo>
                <a:cubicBezTo>
                  <a:pt x="1466" y="749"/>
                  <a:pt x="1475" y="739"/>
                  <a:pt x="1475" y="727"/>
                </a:cubicBezTo>
                <a:cubicBezTo>
                  <a:pt x="1475" y="715"/>
                  <a:pt x="1466" y="706"/>
                  <a:pt x="1454" y="706"/>
                </a:cubicBezTo>
                <a:cubicBezTo>
                  <a:pt x="1287" y="706"/>
                  <a:pt x="1287" y="706"/>
                  <a:pt x="1287" y="706"/>
                </a:cubicBezTo>
                <a:cubicBezTo>
                  <a:pt x="1283" y="706"/>
                  <a:pt x="1280" y="702"/>
                  <a:pt x="1280" y="698"/>
                </a:cubicBezTo>
                <a:cubicBezTo>
                  <a:pt x="1280" y="694"/>
                  <a:pt x="1283" y="691"/>
                  <a:pt x="1287" y="691"/>
                </a:cubicBezTo>
                <a:cubicBezTo>
                  <a:pt x="1436" y="691"/>
                  <a:pt x="1436" y="691"/>
                  <a:pt x="1436" y="691"/>
                </a:cubicBezTo>
                <a:cubicBezTo>
                  <a:pt x="1448" y="691"/>
                  <a:pt x="1458" y="681"/>
                  <a:pt x="1458" y="669"/>
                </a:cubicBezTo>
                <a:cubicBezTo>
                  <a:pt x="1458" y="657"/>
                  <a:pt x="1448" y="648"/>
                  <a:pt x="1436" y="648"/>
                </a:cubicBezTo>
                <a:cubicBezTo>
                  <a:pt x="1068" y="648"/>
                  <a:pt x="1068" y="648"/>
                  <a:pt x="1068" y="648"/>
                </a:cubicBezTo>
                <a:cubicBezTo>
                  <a:pt x="1064" y="648"/>
                  <a:pt x="1061" y="644"/>
                  <a:pt x="1061" y="640"/>
                </a:cubicBezTo>
                <a:cubicBezTo>
                  <a:pt x="1061" y="636"/>
                  <a:pt x="1064" y="633"/>
                  <a:pt x="1068" y="633"/>
                </a:cubicBezTo>
                <a:cubicBezTo>
                  <a:pt x="1526" y="633"/>
                  <a:pt x="1526" y="633"/>
                  <a:pt x="1526" y="633"/>
                </a:cubicBezTo>
                <a:cubicBezTo>
                  <a:pt x="1538" y="633"/>
                  <a:pt x="1548" y="623"/>
                  <a:pt x="1548" y="612"/>
                </a:cubicBezTo>
                <a:cubicBezTo>
                  <a:pt x="1548" y="600"/>
                  <a:pt x="1538" y="590"/>
                  <a:pt x="1526" y="590"/>
                </a:cubicBezTo>
                <a:cubicBezTo>
                  <a:pt x="1019" y="590"/>
                  <a:pt x="1019" y="590"/>
                  <a:pt x="1019" y="590"/>
                </a:cubicBezTo>
                <a:cubicBezTo>
                  <a:pt x="1015" y="590"/>
                  <a:pt x="1012" y="587"/>
                  <a:pt x="1012" y="583"/>
                </a:cubicBezTo>
                <a:cubicBezTo>
                  <a:pt x="1012" y="579"/>
                  <a:pt x="1015" y="575"/>
                  <a:pt x="1019" y="575"/>
                </a:cubicBezTo>
                <a:cubicBezTo>
                  <a:pt x="1528" y="575"/>
                  <a:pt x="1528" y="575"/>
                  <a:pt x="1528" y="575"/>
                </a:cubicBezTo>
                <a:cubicBezTo>
                  <a:pt x="1540" y="575"/>
                  <a:pt x="1550" y="566"/>
                  <a:pt x="1550" y="554"/>
                </a:cubicBezTo>
                <a:cubicBezTo>
                  <a:pt x="1550" y="542"/>
                  <a:pt x="1540" y="532"/>
                  <a:pt x="1528" y="532"/>
                </a:cubicBezTo>
                <a:cubicBezTo>
                  <a:pt x="1039" y="532"/>
                  <a:pt x="1039" y="532"/>
                  <a:pt x="1039" y="532"/>
                </a:cubicBezTo>
                <a:cubicBezTo>
                  <a:pt x="1035" y="532"/>
                  <a:pt x="1032" y="529"/>
                  <a:pt x="1032" y="525"/>
                </a:cubicBezTo>
                <a:cubicBezTo>
                  <a:pt x="1032" y="521"/>
                  <a:pt x="1035" y="518"/>
                  <a:pt x="1039" y="518"/>
                </a:cubicBezTo>
                <a:cubicBezTo>
                  <a:pt x="1553" y="518"/>
                  <a:pt x="1553" y="518"/>
                  <a:pt x="1553" y="518"/>
                </a:cubicBezTo>
                <a:cubicBezTo>
                  <a:pt x="1564" y="518"/>
                  <a:pt x="1574" y="508"/>
                  <a:pt x="1574" y="496"/>
                </a:cubicBezTo>
                <a:cubicBezTo>
                  <a:pt x="1574" y="484"/>
                  <a:pt x="1564" y="474"/>
                  <a:pt x="1553" y="474"/>
                </a:cubicBezTo>
                <a:cubicBezTo>
                  <a:pt x="1039" y="474"/>
                  <a:pt x="1039" y="474"/>
                  <a:pt x="1039" y="474"/>
                </a:cubicBezTo>
                <a:cubicBezTo>
                  <a:pt x="1035" y="474"/>
                  <a:pt x="1032" y="471"/>
                  <a:pt x="1032" y="467"/>
                </a:cubicBezTo>
                <a:cubicBezTo>
                  <a:pt x="1032" y="463"/>
                  <a:pt x="1035" y="460"/>
                  <a:pt x="1039" y="460"/>
                </a:cubicBezTo>
                <a:cubicBezTo>
                  <a:pt x="1592" y="460"/>
                  <a:pt x="1592" y="460"/>
                  <a:pt x="1592" y="460"/>
                </a:cubicBezTo>
                <a:cubicBezTo>
                  <a:pt x="1603" y="460"/>
                  <a:pt x="1613" y="450"/>
                  <a:pt x="1613" y="438"/>
                </a:cubicBezTo>
                <a:cubicBezTo>
                  <a:pt x="1613" y="426"/>
                  <a:pt x="1603" y="416"/>
                  <a:pt x="1592" y="416"/>
                </a:cubicBezTo>
                <a:cubicBezTo>
                  <a:pt x="855" y="416"/>
                  <a:pt x="855" y="416"/>
                  <a:pt x="855" y="416"/>
                </a:cubicBezTo>
                <a:cubicBezTo>
                  <a:pt x="851" y="416"/>
                  <a:pt x="848" y="413"/>
                  <a:pt x="848" y="409"/>
                </a:cubicBezTo>
                <a:cubicBezTo>
                  <a:pt x="848" y="405"/>
                  <a:pt x="851" y="402"/>
                  <a:pt x="855" y="402"/>
                </a:cubicBezTo>
                <a:cubicBezTo>
                  <a:pt x="1592" y="402"/>
                  <a:pt x="1592" y="402"/>
                  <a:pt x="1592" y="402"/>
                </a:cubicBezTo>
                <a:cubicBezTo>
                  <a:pt x="1603" y="402"/>
                  <a:pt x="1613" y="392"/>
                  <a:pt x="1613" y="380"/>
                </a:cubicBezTo>
                <a:cubicBezTo>
                  <a:pt x="1613" y="368"/>
                  <a:pt x="1603" y="359"/>
                  <a:pt x="1592" y="359"/>
                </a:cubicBezTo>
                <a:cubicBezTo>
                  <a:pt x="902" y="359"/>
                  <a:pt x="902" y="359"/>
                  <a:pt x="902" y="359"/>
                </a:cubicBezTo>
                <a:cubicBezTo>
                  <a:pt x="902" y="358"/>
                  <a:pt x="902" y="358"/>
                  <a:pt x="902" y="358"/>
                </a:cubicBezTo>
                <a:cubicBezTo>
                  <a:pt x="886" y="358"/>
                  <a:pt x="886" y="358"/>
                  <a:pt x="886" y="358"/>
                </a:cubicBezTo>
                <a:cubicBezTo>
                  <a:pt x="883" y="357"/>
                  <a:pt x="881" y="355"/>
                  <a:pt x="881" y="351"/>
                </a:cubicBezTo>
                <a:cubicBezTo>
                  <a:pt x="881" y="347"/>
                  <a:pt x="884" y="344"/>
                  <a:pt x="888" y="344"/>
                </a:cubicBezTo>
                <a:cubicBezTo>
                  <a:pt x="1553" y="344"/>
                  <a:pt x="1553" y="344"/>
                  <a:pt x="1553" y="344"/>
                </a:cubicBezTo>
                <a:cubicBezTo>
                  <a:pt x="1565" y="344"/>
                  <a:pt x="1575" y="334"/>
                  <a:pt x="1575" y="322"/>
                </a:cubicBezTo>
                <a:cubicBezTo>
                  <a:pt x="1575" y="311"/>
                  <a:pt x="1565" y="301"/>
                  <a:pt x="1553" y="301"/>
                </a:cubicBezTo>
                <a:cubicBezTo>
                  <a:pt x="940" y="301"/>
                  <a:pt x="940" y="301"/>
                  <a:pt x="940" y="301"/>
                </a:cubicBezTo>
                <a:cubicBezTo>
                  <a:pt x="936" y="301"/>
                  <a:pt x="933" y="298"/>
                  <a:pt x="933" y="294"/>
                </a:cubicBezTo>
                <a:cubicBezTo>
                  <a:pt x="933" y="290"/>
                  <a:pt x="936" y="286"/>
                  <a:pt x="940" y="286"/>
                </a:cubicBezTo>
                <a:cubicBezTo>
                  <a:pt x="1683" y="286"/>
                  <a:pt x="1683" y="286"/>
                  <a:pt x="1683" y="286"/>
                </a:cubicBezTo>
                <a:cubicBezTo>
                  <a:pt x="1695" y="286"/>
                  <a:pt x="1705" y="277"/>
                  <a:pt x="1705" y="265"/>
                </a:cubicBezTo>
                <a:cubicBezTo>
                  <a:pt x="1705" y="253"/>
                  <a:pt x="1695" y="243"/>
                  <a:pt x="1683" y="243"/>
                </a:cubicBezTo>
                <a:cubicBezTo>
                  <a:pt x="1145" y="243"/>
                  <a:pt x="1145" y="243"/>
                  <a:pt x="1145" y="243"/>
                </a:cubicBezTo>
                <a:cubicBezTo>
                  <a:pt x="1141" y="243"/>
                  <a:pt x="1137" y="240"/>
                  <a:pt x="1137" y="236"/>
                </a:cubicBezTo>
                <a:cubicBezTo>
                  <a:pt x="1137" y="232"/>
                  <a:pt x="1141" y="228"/>
                  <a:pt x="1145" y="228"/>
                </a:cubicBezTo>
                <a:cubicBezTo>
                  <a:pt x="1686" y="228"/>
                  <a:pt x="1686" y="228"/>
                  <a:pt x="1686" y="228"/>
                </a:cubicBezTo>
                <a:cubicBezTo>
                  <a:pt x="1698" y="228"/>
                  <a:pt x="1708" y="219"/>
                  <a:pt x="1708" y="207"/>
                </a:cubicBezTo>
                <a:cubicBezTo>
                  <a:pt x="1708" y="195"/>
                  <a:pt x="1698" y="185"/>
                  <a:pt x="1686" y="185"/>
                </a:cubicBezTo>
                <a:cubicBezTo>
                  <a:pt x="1075" y="185"/>
                  <a:pt x="1075" y="185"/>
                  <a:pt x="1075" y="185"/>
                </a:cubicBezTo>
                <a:cubicBezTo>
                  <a:pt x="1071" y="185"/>
                  <a:pt x="1068" y="182"/>
                  <a:pt x="1068" y="178"/>
                </a:cubicBezTo>
                <a:cubicBezTo>
                  <a:pt x="1068" y="174"/>
                  <a:pt x="1071" y="171"/>
                  <a:pt x="1075" y="171"/>
                </a:cubicBezTo>
                <a:cubicBezTo>
                  <a:pt x="1693" y="171"/>
                  <a:pt x="1693" y="171"/>
                  <a:pt x="1693" y="171"/>
                </a:cubicBezTo>
                <a:cubicBezTo>
                  <a:pt x="1705" y="171"/>
                  <a:pt x="1715" y="161"/>
                  <a:pt x="1715" y="149"/>
                </a:cubicBezTo>
                <a:cubicBezTo>
                  <a:pt x="1715" y="137"/>
                  <a:pt x="1705" y="127"/>
                  <a:pt x="1693" y="127"/>
                </a:cubicBezTo>
                <a:cubicBezTo>
                  <a:pt x="1225" y="127"/>
                  <a:pt x="1225" y="127"/>
                  <a:pt x="1225" y="127"/>
                </a:cubicBezTo>
                <a:cubicBezTo>
                  <a:pt x="1221" y="127"/>
                  <a:pt x="1218" y="124"/>
                  <a:pt x="1218" y="120"/>
                </a:cubicBezTo>
                <a:cubicBezTo>
                  <a:pt x="1218" y="116"/>
                  <a:pt x="1221" y="113"/>
                  <a:pt x="1225" y="113"/>
                </a:cubicBezTo>
                <a:cubicBezTo>
                  <a:pt x="1237" y="113"/>
                  <a:pt x="1237" y="113"/>
                  <a:pt x="1237" y="113"/>
                </a:cubicBezTo>
                <a:cubicBezTo>
                  <a:pt x="1249" y="113"/>
                  <a:pt x="1258" y="103"/>
                  <a:pt x="1258" y="91"/>
                </a:cubicBezTo>
                <a:cubicBezTo>
                  <a:pt x="1258" y="79"/>
                  <a:pt x="1249" y="70"/>
                  <a:pt x="1237" y="70"/>
                </a:cubicBezTo>
                <a:cubicBezTo>
                  <a:pt x="622" y="70"/>
                  <a:pt x="622" y="70"/>
                  <a:pt x="622" y="70"/>
                </a:cubicBezTo>
                <a:cubicBezTo>
                  <a:pt x="610" y="70"/>
                  <a:pt x="600" y="79"/>
                  <a:pt x="600" y="91"/>
                </a:cubicBezTo>
                <a:cubicBezTo>
                  <a:pt x="600" y="103"/>
                  <a:pt x="610" y="113"/>
                  <a:pt x="622" y="113"/>
                </a:cubicBezTo>
                <a:cubicBezTo>
                  <a:pt x="754" y="113"/>
                  <a:pt x="754" y="113"/>
                  <a:pt x="754" y="113"/>
                </a:cubicBezTo>
                <a:cubicBezTo>
                  <a:pt x="758" y="113"/>
                  <a:pt x="762" y="116"/>
                  <a:pt x="762" y="120"/>
                </a:cubicBezTo>
                <a:cubicBezTo>
                  <a:pt x="762" y="124"/>
                  <a:pt x="758" y="127"/>
                  <a:pt x="754" y="127"/>
                </a:cubicBezTo>
                <a:cubicBezTo>
                  <a:pt x="561" y="127"/>
                  <a:pt x="561" y="127"/>
                  <a:pt x="561" y="127"/>
                </a:cubicBezTo>
                <a:cubicBezTo>
                  <a:pt x="549" y="127"/>
                  <a:pt x="540" y="137"/>
                  <a:pt x="540" y="149"/>
                </a:cubicBezTo>
                <a:cubicBezTo>
                  <a:pt x="540" y="161"/>
                  <a:pt x="549" y="171"/>
                  <a:pt x="561" y="171"/>
                </a:cubicBezTo>
                <a:cubicBezTo>
                  <a:pt x="749" y="171"/>
                  <a:pt x="749" y="171"/>
                  <a:pt x="749" y="171"/>
                </a:cubicBezTo>
                <a:cubicBezTo>
                  <a:pt x="753" y="171"/>
                  <a:pt x="756" y="174"/>
                  <a:pt x="756" y="178"/>
                </a:cubicBezTo>
                <a:cubicBezTo>
                  <a:pt x="756" y="182"/>
                  <a:pt x="753" y="185"/>
                  <a:pt x="749" y="185"/>
                </a:cubicBezTo>
                <a:cubicBezTo>
                  <a:pt x="581" y="185"/>
                  <a:pt x="581" y="185"/>
                  <a:pt x="581" y="185"/>
                </a:cubicBezTo>
                <a:cubicBezTo>
                  <a:pt x="569" y="185"/>
                  <a:pt x="559" y="195"/>
                  <a:pt x="559" y="207"/>
                </a:cubicBezTo>
                <a:cubicBezTo>
                  <a:pt x="559" y="219"/>
                  <a:pt x="569" y="228"/>
                  <a:pt x="581" y="228"/>
                </a:cubicBezTo>
                <a:cubicBezTo>
                  <a:pt x="734" y="228"/>
                  <a:pt x="734" y="228"/>
                  <a:pt x="734" y="228"/>
                </a:cubicBezTo>
                <a:cubicBezTo>
                  <a:pt x="738" y="228"/>
                  <a:pt x="741" y="232"/>
                  <a:pt x="741" y="236"/>
                </a:cubicBezTo>
                <a:cubicBezTo>
                  <a:pt x="741" y="240"/>
                  <a:pt x="738" y="243"/>
                  <a:pt x="734" y="243"/>
                </a:cubicBezTo>
                <a:cubicBezTo>
                  <a:pt x="600" y="243"/>
                  <a:pt x="600" y="243"/>
                  <a:pt x="600" y="243"/>
                </a:cubicBezTo>
                <a:cubicBezTo>
                  <a:pt x="588" y="243"/>
                  <a:pt x="579" y="253"/>
                  <a:pt x="579" y="265"/>
                </a:cubicBezTo>
                <a:cubicBezTo>
                  <a:pt x="579" y="277"/>
                  <a:pt x="588" y="286"/>
                  <a:pt x="600" y="286"/>
                </a:cubicBezTo>
                <a:cubicBezTo>
                  <a:pt x="721" y="286"/>
                  <a:pt x="721" y="286"/>
                  <a:pt x="721" y="286"/>
                </a:cubicBezTo>
                <a:cubicBezTo>
                  <a:pt x="725" y="286"/>
                  <a:pt x="728" y="290"/>
                  <a:pt x="728" y="294"/>
                </a:cubicBezTo>
                <a:cubicBezTo>
                  <a:pt x="728" y="298"/>
                  <a:pt x="725" y="301"/>
                  <a:pt x="721" y="301"/>
                </a:cubicBezTo>
                <a:cubicBezTo>
                  <a:pt x="601" y="301"/>
                  <a:pt x="601" y="301"/>
                  <a:pt x="601" y="301"/>
                </a:cubicBezTo>
                <a:cubicBezTo>
                  <a:pt x="590" y="301"/>
                  <a:pt x="580" y="311"/>
                  <a:pt x="580" y="322"/>
                </a:cubicBezTo>
                <a:cubicBezTo>
                  <a:pt x="580" y="334"/>
                  <a:pt x="590" y="344"/>
                  <a:pt x="601" y="344"/>
                </a:cubicBezTo>
                <a:cubicBezTo>
                  <a:pt x="625" y="344"/>
                  <a:pt x="625" y="344"/>
                  <a:pt x="625" y="344"/>
                </a:cubicBezTo>
                <a:cubicBezTo>
                  <a:pt x="629" y="344"/>
                  <a:pt x="632" y="347"/>
                  <a:pt x="632" y="351"/>
                </a:cubicBezTo>
                <a:cubicBezTo>
                  <a:pt x="632" y="355"/>
                  <a:pt x="629" y="359"/>
                  <a:pt x="625" y="359"/>
                </a:cubicBezTo>
                <a:cubicBezTo>
                  <a:pt x="526" y="359"/>
                  <a:pt x="526" y="359"/>
                  <a:pt x="526" y="359"/>
                </a:cubicBezTo>
                <a:cubicBezTo>
                  <a:pt x="525" y="358"/>
                  <a:pt x="523" y="358"/>
                  <a:pt x="522" y="358"/>
                </a:cubicBezTo>
                <a:cubicBezTo>
                  <a:pt x="157" y="358"/>
                  <a:pt x="157" y="358"/>
                  <a:pt x="157" y="358"/>
                </a:cubicBezTo>
                <a:cubicBezTo>
                  <a:pt x="153" y="358"/>
                  <a:pt x="149" y="355"/>
                  <a:pt x="149" y="351"/>
                </a:cubicBezTo>
                <a:cubicBezTo>
                  <a:pt x="149" y="347"/>
                  <a:pt x="153" y="344"/>
                  <a:pt x="157" y="344"/>
                </a:cubicBezTo>
                <a:cubicBezTo>
                  <a:pt x="366" y="344"/>
                  <a:pt x="366" y="344"/>
                  <a:pt x="366" y="344"/>
                </a:cubicBezTo>
                <a:cubicBezTo>
                  <a:pt x="378" y="344"/>
                  <a:pt x="388" y="334"/>
                  <a:pt x="388" y="322"/>
                </a:cubicBezTo>
                <a:cubicBezTo>
                  <a:pt x="388" y="310"/>
                  <a:pt x="378" y="301"/>
                  <a:pt x="366" y="301"/>
                </a:cubicBezTo>
                <a:cubicBezTo>
                  <a:pt x="22" y="301"/>
                  <a:pt x="22" y="301"/>
                  <a:pt x="22" y="301"/>
                </a:cubicBezTo>
                <a:cubicBezTo>
                  <a:pt x="18" y="301"/>
                  <a:pt x="15" y="297"/>
                  <a:pt x="15" y="293"/>
                </a:cubicBezTo>
                <a:cubicBezTo>
                  <a:pt x="15" y="289"/>
                  <a:pt x="18" y="286"/>
                  <a:pt x="22" y="286"/>
                </a:cubicBezTo>
                <a:cubicBezTo>
                  <a:pt x="346" y="286"/>
                  <a:pt x="346" y="286"/>
                  <a:pt x="346" y="286"/>
                </a:cubicBezTo>
                <a:cubicBezTo>
                  <a:pt x="358" y="286"/>
                  <a:pt x="367" y="276"/>
                  <a:pt x="367" y="264"/>
                </a:cubicBezTo>
                <a:cubicBezTo>
                  <a:pt x="367" y="252"/>
                  <a:pt x="358" y="243"/>
                  <a:pt x="346" y="243"/>
                </a:cubicBezTo>
                <a:cubicBezTo>
                  <a:pt x="59" y="243"/>
                  <a:pt x="59" y="243"/>
                  <a:pt x="59" y="243"/>
                </a:cubicBezTo>
                <a:cubicBezTo>
                  <a:pt x="55" y="243"/>
                  <a:pt x="52" y="239"/>
                  <a:pt x="52" y="235"/>
                </a:cubicBezTo>
                <a:cubicBezTo>
                  <a:pt x="52" y="231"/>
                  <a:pt x="55" y="228"/>
                  <a:pt x="59" y="228"/>
                </a:cubicBezTo>
                <a:cubicBezTo>
                  <a:pt x="237" y="228"/>
                  <a:pt x="237" y="228"/>
                  <a:pt x="237" y="228"/>
                </a:cubicBezTo>
                <a:cubicBezTo>
                  <a:pt x="249" y="228"/>
                  <a:pt x="258" y="218"/>
                  <a:pt x="258" y="207"/>
                </a:cubicBezTo>
                <a:cubicBezTo>
                  <a:pt x="258" y="195"/>
                  <a:pt x="249" y="185"/>
                  <a:pt x="237" y="185"/>
                </a:cubicBezTo>
                <a:cubicBezTo>
                  <a:pt x="72" y="185"/>
                  <a:pt x="72" y="185"/>
                  <a:pt x="72" y="185"/>
                </a:cubicBezTo>
                <a:cubicBezTo>
                  <a:pt x="68" y="185"/>
                  <a:pt x="64" y="182"/>
                  <a:pt x="64" y="178"/>
                </a:cubicBezTo>
                <a:cubicBezTo>
                  <a:pt x="64" y="174"/>
                  <a:pt x="68" y="170"/>
                  <a:pt x="72" y="170"/>
                </a:cubicBezTo>
                <a:cubicBezTo>
                  <a:pt x="200" y="170"/>
                  <a:pt x="200" y="170"/>
                  <a:pt x="200" y="170"/>
                </a:cubicBezTo>
                <a:cubicBezTo>
                  <a:pt x="273" y="170"/>
                  <a:pt x="333" y="111"/>
                  <a:pt x="333" y="38"/>
                </a:cubicBezTo>
                <a:cubicBezTo>
                  <a:pt x="344" y="38"/>
                  <a:pt x="344" y="38"/>
                  <a:pt x="344" y="38"/>
                </a:cubicBezTo>
                <a:cubicBezTo>
                  <a:pt x="344" y="0"/>
                  <a:pt x="344" y="0"/>
                  <a:pt x="344" y="0"/>
                </a:cubicBezTo>
                <a:cubicBezTo>
                  <a:pt x="306" y="0"/>
                  <a:pt x="306" y="0"/>
                  <a:pt x="306" y="0"/>
                </a:cubicBezTo>
                <a:cubicBezTo>
                  <a:pt x="306" y="38"/>
                  <a:pt x="306" y="38"/>
                  <a:pt x="306" y="38"/>
                </a:cubicBezTo>
                <a:cubicBezTo>
                  <a:pt x="318" y="38"/>
                  <a:pt x="318" y="38"/>
                  <a:pt x="318" y="38"/>
                </a:cubicBezTo>
                <a:cubicBezTo>
                  <a:pt x="318" y="103"/>
                  <a:pt x="265" y="156"/>
                  <a:pt x="200" y="156"/>
                </a:cubicBezTo>
                <a:cubicBezTo>
                  <a:pt x="72" y="156"/>
                  <a:pt x="72" y="156"/>
                  <a:pt x="72" y="156"/>
                </a:cubicBezTo>
                <a:cubicBezTo>
                  <a:pt x="60" y="156"/>
                  <a:pt x="50" y="166"/>
                  <a:pt x="50" y="178"/>
                </a:cubicBezTo>
                <a:cubicBezTo>
                  <a:pt x="50" y="190"/>
                  <a:pt x="60" y="199"/>
                  <a:pt x="72" y="199"/>
                </a:cubicBezTo>
                <a:cubicBezTo>
                  <a:pt x="237" y="199"/>
                  <a:pt x="237" y="199"/>
                  <a:pt x="237" y="199"/>
                </a:cubicBezTo>
                <a:cubicBezTo>
                  <a:pt x="241" y="199"/>
                  <a:pt x="244" y="202"/>
                  <a:pt x="244" y="207"/>
                </a:cubicBezTo>
                <a:cubicBezTo>
                  <a:pt x="244" y="211"/>
                  <a:pt x="241" y="214"/>
                  <a:pt x="237" y="214"/>
                </a:cubicBezTo>
                <a:cubicBezTo>
                  <a:pt x="59" y="214"/>
                  <a:pt x="59" y="214"/>
                  <a:pt x="59" y="214"/>
                </a:cubicBezTo>
                <a:cubicBezTo>
                  <a:pt x="47" y="214"/>
                  <a:pt x="37" y="224"/>
                  <a:pt x="37" y="235"/>
                </a:cubicBezTo>
                <a:cubicBezTo>
                  <a:pt x="37" y="247"/>
                  <a:pt x="47" y="257"/>
                  <a:pt x="59" y="257"/>
                </a:cubicBezTo>
                <a:cubicBezTo>
                  <a:pt x="346" y="257"/>
                  <a:pt x="346" y="257"/>
                  <a:pt x="346" y="257"/>
                </a:cubicBezTo>
                <a:cubicBezTo>
                  <a:pt x="350" y="257"/>
                  <a:pt x="353" y="260"/>
                  <a:pt x="353" y="264"/>
                </a:cubicBezTo>
                <a:cubicBezTo>
                  <a:pt x="353" y="268"/>
                  <a:pt x="350" y="272"/>
                  <a:pt x="346" y="272"/>
                </a:cubicBezTo>
                <a:cubicBezTo>
                  <a:pt x="22" y="272"/>
                  <a:pt x="22" y="272"/>
                  <a:pt x="22" y="272"/>
                </a:cubicBezTo>
                <a:cubicBezTo>
                  <a:pt x="10" y="272"/>
                  <a:pt x="0" y="281"/>
                  <a:pt x="0" y="293"/>
                </a:cubicBezTo>
                <a:cubicBezTo>
                  <a:pt x="0" y="305"/>
                  <a:pt x="10" y="315"/>
                  <a:pt x="22" y="315"/>
                </a:cubicBezTo>
                <a:cubicBezTo>
                  <a:pt x="366" y="315"/>
                  <a:pt x="366" y="315"/>
                  <a:pt x="366" y="315"/>
                </a:cubicBezTo>
                <a:cubicBezTo>
                  <a:pt x="370" y="315"/>
                  <a:pt x="374" y="318"/>
                  <a:pt x="374" y="322"/>
                </a:cubicBezTo>
                <a:cubicBezTo>
                  <a:pt x="374" y="326"/>
                  <a:pt x="370" y="329"/>
                  <a:pt x="366" y="329"/>
                </a:cubicBezTo>
                <a:cubicBezTo>
                  <a:pt x="157" y="329"/>
                  <a:pt x="157" y="329"/>
                  <a:pt x="157" y="329"/>
                </a:cubicBezTo>
                <a:cubicBezTo>
                  <a:pt x="145" y="329"/>
                  <a:pt x="135" y="339"/>
                  <a:pt x="135" y="351"/>
                </a:cubicBezTo>
                <a:cubicBezTo>
                  <a:pt x="135" y="363"/>
                  <a:pt x="145" y="373"/>
                  <a:pt x="157" y="373"/>
                </a:cubicBezTo>
                <a:cubicBezTo>
                  <a:pt x="497" y="373"/>
                  <a:pt x="497" y="373"/>
                  <a:pt x="497" y="373"/>
                </a:cubicBezTo>
                <a:cubicBezTo>
                  <a:pt x="497" y="373"/>
                  <a:pt x="497" y="373"/>
                  <a:pt x="497" y="373"/>
                </a:cubicBezTo>
                <a:cubicBezTo>
                  <a:pt x="524" y="373"/>
                  <a:pt x="524" y="373"/>
                  <a:pt x="524" y="373"/>
                </a:cubicBezTo>
                <a:cubicBezTo>
                  <a:pt x="527" y="374"/>
                  <a:pt x="530" y="377"/>
                  <a:pt x="530" y="380"/>
                </a:cubicBezTo>
                <a:cubicBezTo>
                  <a:pt x="530" y="384"/>
                  <a:pt x="526" y="387"/>
                  <a:pt x="522" y="387"/>
                </a:cubicBezTo>
                <a:cubicBezTo>
                  <a:pt x="164" y="387"/>
                  <a:pt x="164" y="387"/>
                  <a:pt x="164" y="387"/>
                </a:cubicBezTo>
                <a:cubicBezTo>
                  <a:pt x="152" y="387"/>
                  <a:pt x="142" y="397"/>
                  <a:pt x="142" y="409"/>
                </a:cubicBezTo>
                <a:cubicBezTo>
                  <a:pt x="142" y="421"/>
                  <a:pt x="152" y="430"/>
                  <a:pt x="164" y="430"/>
                </a:cubicBezTo>
                <a:cubicBezTo>
                  <a:pt x="518" y="430"/>
                  <a:pt x="518" y="430"/>
                  <a:pt x="518" y="430"/>
                </a:cubicBezTo>
                <a:cubicBezTo>
                  <a:pt x="522" y="430"/>
                  <a:pt x="525" y="434"/>
                  <a:pt x="525" y="438"/>
                </a:cubicBezTo>
                <a:cubicBezTo>
                  <a:pt x="525" y="442"/>
                  <a:pt x="522" y="445"/>
                  <a:pt x="518" y="445"/>
                </a:cubicBezTo>
                <a:cubicBezTo>
                  <a:pt x="180" y="445"/>
                  <a:pt x="180" y="445"/>
                  <a:pt x="180" y="445"/>
                </a:cubicBezTo>
                <a:cubicBezTo>
                  <a:pt x="168" y="445"/>
                  <a:pt x="158" y="455"/>
                  <a:pt x="158" y="467"/>
                </a:cubicBezTo>
                <a:cubicBezTo>
                  <a:pt x="158" y="479"/>
                  <a:pt x="168" y="488"/>
                  <a:pt x="180" y="488"/>
                </a:cubicBezTo>
                <a:cubicBezTo>
                  <a:pt x="433" y="488"/>
                  <a:pt x="433" y="488"/>
                  <a:pt x="433" y="488"/>
                </a:cubicBezTo>
                <a:cubicBezTo>
                  <a:pt x="437" y="488"/>
                  <a:pt x="440" y="492"/>
                  <a:pt x="440" y="496"/>
                </a:cubicBezTo>
                <a:cubicBezTo>
                  <a:pt x="440" y="500"/>
                  <a:pt x="437" y="503"/>
                  <a:pt x="433" y="503"/>
                </a:cubicBezTo>
                <a:cubicBezTo>
                  <a:pt x="162" y="503"/>
                  <a:pt x="162" y="503"/>
                  <a:pt x="162" y="503"/>
                </a:cubicBezTo>
                <a:cubicBezTo>
                  <a:pt x="150" y="503"/>
                  <a:pt x="140" y="513"/>
                  <a:pt x="140" y="524"/>
                </a:cubicBezTo>
                <a:cubicBezTo>
                  <a:pt x="140" y="536"/>
                  <a:pt x="150" y="546"/>
                  <a:pt x="162" y="546"/>
                </a:cubicBezTo>
                <a:cubicBezTo>
                  <a:pt x="381" y="546"/>
                  <a:pt x="381" y="546"/>
                  <a:pt x="381" y="546"/>
                </a:cubicBezTo>
                <a:cubicBezTo>
                  <a:pt x="385" y="546"/>
                  <a:pt x="388" y="549"/>
                  <a:pt x="388" y="553"/>
                </a:cubicBezTo>
                <a:cubicBezTo>
                  <a:pt x="388" y="557"/>
                  <a:pt x="385" y="561"/>
                  <a:pt x="381" y="561"/>
                </a:cubicBezTo>
                <a:cubicBezTo>
                  <a:pt x="190" y="561"/>
                  <a:pt x="190" y="561"/>
                  <a:pt x="190" y="561"/>
                </a:cubicBezTo>
                <a:cubicBezTo>
                  <a:pt x="178" y="561"/>
                  <a:pt x="168" y="570"/>
                  <a:pt x="168" y="582"/>
                </a:cubicBezTo>
                <a:cubicBezTo>
                  <a:pt x="168" y="594"/>
                  <a:pt x="178" y="604"/>
                  <a:pt x="190" y="604"/>
                </a:cubicBezTo>
                <a:cubicBezTo>
                  <a:pt x="266" y="604"/>
                  <a:pt x="266" y="604"/>
                  <a:pt x="266" y="604"/>
                </a:cubicBezTo>
                <a:cubicBezTo>
                  <a:pt x="270" y="604"/>
                  <a:pt x="273" y="607"/>
                  <a:pt x="273" y="611"/>
                </a:cubicBezTo>
                <a:cubicBezTo>
                  <a:pt x="273" y="615"/>
                  <a:pt x="270" y="619"/>
                  <a:pt x="266" y="619"/>
                </a:cubicBezTo>
                <a:cubicBezTo>
                  <a:pt x="236" y="619"/>
                  <a:pt x="236" y="619"/>
                  <a:pt x="236" y="619"/>
                </a:cubicBezTo>
                <a:cubicBezTo>
                  <a:pt x="224" y="619"/>
                  <a:pt x="215" y="628"/>
                  <a:pt x="215" y="640"/>
                </a:cubicBezTo>
                <a:cubicBezTo>
                  <a:pt x="215" y="652"/>
                  <a:pt x="224" y="662"/>
                  <a:pt x="236" y="662"/>
                </a:cubicBezTo>
                <a:cubicBezTo>
                  <a:pt x="276" y="662"/>
                  <a:pt x="276" y="662"/>
                  <a:pt x="276" y="662"/>
                </a:cubicBezTo>
                <a:cubicBezTo>
                  <a:pt x="280" y="662"/>
                  <a:pt x="283" y="665"/>
                  <a:pt x="283" y="669"/>
                </a:cubicBezTo>
                <a:cubicBezTo>
                  <a:pt x="283" y="673"/>
                  <a:pt x="280" y="676"/>
                  <a:pt x="276" y="676"/>
                </a:cubicBezTo>
                <a:cubicBezTo>
                  <a:pt x="273" y="676"/>
                  <a:pt x="273" y="676"/>
                  <a:pt x="273" y="676"/>
                </a:cubicBezTo>
                <a:cubicBezTo>
                  <a:pt x="261" y="676"/>
                  <a:pt x="252" y="686"/>
                  <a:pt x="252" y="698"/>
                </a:cubicBezTo>
                <a:cubicBezTo>
                  <a:pt x="252" y="710"/>
                  <a:pt x="261" y="720"/>
                  <a:pt x="273" y="720"/>
                </a:cubicBezTo>
                <a:cubicBezTo>
                  <a:pt x="353" y="720"/>
                  <a:pt x="353" y="720"/>
                  <a:pt x="353" y="720"/>
                </a:cubicBezTo>
                <a:cubicBezTo>
                  <a:pt x="357" y="720"/>
                  <a:pt x="360" y="723"/>
                  <a:pt x="360" y="727"/>
                </a:cubicBezTo>
                <a:cubicBezTo>
                  <a:pt x="360" y="731"/>
                  <a:pt x="357" y="734"/>
                  <a:pt x="353" y="734"/>
                </a:cubicBezTo>
                <a:cubicBezTo>
                  <a:pt x="337" y="734"/>
                  <a:pt x="337" y="734"/>
                  <a:pt x="337" y="734"/>
                </a:cubicBezTo>
                <a:cubicBezTo>
                  <a:pt x="325" y="734"/>
                  <a:pt x="316" y="744"/>
                  <a:pt x="316" y="756"/>
                </a:cubicBezTo>
                <a:cubicBezTo>
                  <a:pt x="316" y="768"/>
                  <a:pt x="325" y="777"/>
                  <a:pt x="337" y="777"/>
                </a:cubicBezTo>
                <a:cubicBezTo>
                  <a:pt x="529" y="777"/>
                  <a:pt x="529" y="777"/>
                  <a:pt x="529" y="777"/>
                </a:cubicBezTo>
                <a:cubicBezTo>
                  <a:pt x="533" y="777"/>
                  <a:pt x="537" y="781"/>
                  <a:pt x="537" y="785"/>
                </a:cubicBezTo>
                <a:cubicBezTo>
                  <a:pt x="537" y="789"/>
                  <a:pt x="533" y="792"/>
                  <a:pt x="529" y="792"/>
                </a:cubicBezTo>
                <a:cubicBezTo>
                  <a:pt x="377" y="792"/>
                  <a:pt x="377" y="792"/>
                  <a:pt x="377" y="792"/>
                </a:cubicBezTo>
                <a:cubicBezTo>
                  <a:pt x="365" y="792"/>
                  <a:pt x="356" y="802"/>
                  <a:pt x="356" y="814"/>
                </a:cubicBezTo>
                <a:cubicBezTo>
                  <a:pt x="356" y="825"/>
                  <a:pt x="365" y="835"/>
                  <a:pt x="377" y="835"/>
                </a:cubicBezTo>
                <a:cubicBezTo>
                  <a:pt x="607" y="835"/>
                  <a:pt x="607" y="835"/>
                  <a:pt x="607" y="835"/>
                </a:cubicBezTo>
                <a:cubicBezTo>
                  <a:pt x="611" y="835"/>
                  <a:pt x="615" y="838"/>
                  <a:pt x="615" y="842"/>
                </a:cubicBezTo>
                <a:cubicBezTo>
                  <a:pt x="615" y="846"/>
                  <a:pt x="611" y="850"/>
                  <a:pt x="607" y="850"/>
                </a:cubicBezTo>
                <a:cubicBezTo>
                  <a:pt x="417" y="850"/>
                  <a:pt x="417" y="850"/>
                  <a:pt x="417" y="850"/>
                </a:cubicBezTo>
                <a:cubicBezTo>
                  <a:pt x="405" y="850"/>
                  <a:pt x="396" y="859"/>
                  <a:pt x="396" y="871"/>
                </a:cubicBezTo>
                <a:cubicBezTo>
                  <a:pt x="396" y="883"/>
                  <a:pt x="405" y="893"/>
                  <a:pt x="417" y="893"/>
                </a:cubicBezTo>
                <a:cubicBezTo>
                  <a:pt x="593" y="893"/>
                  <a:pt x="593" y="893"/>
                  <a:pt x="593" y="893"/>
                </a:cubicBezTo>
                <a:cubicBezTo>
                  <a:pt x="597" y="893"/>
                  <a:pt x="600" y="896"/>
                  <a:pt x="600" y="900"/>
                </a:cubicBezTo>
                <a:cubicBezTo>
                  <a:pt x="600" y="904"/>
                  <a:pt x="597" y="908"/>
                  <a:pt x="593" y="908"/>
                </a:cubicBezTo>
                <a:cubicBezTo>
                  <a:pt x="446" y="908"/>
                  <a:pt x="446" y="908"/>
                  <a:pt x="446" y="908"/>
                </a:cubicBezTo>
                <a:cubicBezTo>
                  <a:pt x="434" y="908"/>
                  <a:pt x="425" y="917"/>
                  <a:pt x="425" y="929"/>
                </a:cubicBezTo>
                <a:cubicBezTo>
                  <a:pt x="425" y="941"/>
                  <a:pt x="434" y="951"/>
                  <a:pt x="446" y="951"/>
                </a:cubicBezTo>
                <a:cubicBezTo>
                  <a:pt x="551" y="951"/>
                  <a:pt x="551" y="951"/>
                  <a:pt x="551" y="951"/>
                </a:cubicBezTo>
                <a:cubicBezTo>
                  <a:pt x="555" y="951"/>
                  <a:pt x="558" y="954"/>
                  <a:pt x="558" y="958"/>
                </a:cubicBezTo>
                <a:cubicBezTo>
                  <a:pt x="558" y="962"/>
                  <a:pt x="555" y="965"/>
                  <a:pt x="551" y="965"/>
                </a:cubicBezTo>
                <a:cubicBezTo>
                  <a:pt x="438" y="965"/>
                  <a:pt x="438" y="965"/>
                  <a:pt x="438" y="965"/>
                </a:cubicBezTo>
                <a:cubicBezTo>
                  <a:pt x="426" y="965"/>
                  <a:pt x="417" y="975"/>
                  <a:pt x="417" y="987"/>
                </a:cubicBezTo>
                <a:cubicBezTo>
                  <a:pt x="417" y="999"/>
                  <a:pt x="426" y="1009"/>
                  <a:pt x="438" y="1009"/>
                </a:cubicBezTo>
                <a:cubicBezTo>
                  <a:pt x="495" y="1009"/>
                  <a:pt x="495" y="1009"/>
                  <a:pt x="495" y="1009"/>
                </a:cubicBezTo>
                <a:cubicBezTo>
                  <a:pt x="499" y="1009"/>
                  <a:pt x="502" y="1012"/>
                  <a:pt x="502" y="1016"/>
                </a:cubicBezTo>
                <a:cubicBezTo>
                  <a:pt x="502" y="1020"/>
                  <a:pt x="499" y="1023"/>
                  <a:pt x="495" y="1023"/>
                </a:cubicBezTo>
                <a:cubicBezTo>
                  <a:pt x="443" y="1023"/>
                  <a:pt x="443" y="1023"/>
                  <a:pt x="443" y="1023"/>
                </a:cubicBezTo>
                <a:cubicBezTo>
                  <a:pt x="431" y="1023"/>
                  <a:pt x="422" y="1033"/>
                  <a:pt x="422" y="1045"/>
                </a:cubicBezTo>
                <a:cubicBezTo>
                  <a:pt x="422" y="1057"/>
                  <a:pt x="431" y="1066"/>
                  <a:pt x="443" y="1066"/>
                </a:cubicBezTo>
                <a:cubicBezTo>
                  <a:pt x="472" y="1066"/>
                  <a:pt x="472" y="1066"/>
                  <a:pt x="472" y="1066"/>
                </a:cubicBezTo>
                <a:cubicBezTo>
                  <a:pt x="476" y="1066"/>
                  <a:pt x="479" y="1070"/>
                  <a:pt x="479" y="1074"/>
                </a:cubicBezTo>
                <a:cubicBezTo>
                  <a:pt x="479" y="1078"/>
                  <a:pt x="476" y="1081"/>
                  <a:pt x="472" y="1081"/>
                </a:cubicBezTo>
                <a:cubicBezTo>
                  <a:pt x="443" y="1081"/>
                  <a:pt x="443" y="1081"/>
                  <a:pt x="443" y="1081"/>
                </a:cubicBezTo>
                <a:cubicBezTo>
                  <a:pt x="431" y="1081"/>
                  <a:pt x="422" y="1091"/>
                  <a:pt x="422" y="1103"/>
                </a:cubicBezTo>
                <a:cubicBezTo>
                  <a:pt x="422" y="1115"/>
                  <a:pt x="431" y="1124"/>
                  <a:pt x="443" y="1124"/>
                </a:cubicBezTo>
                <a:cubicBezTo>
                  <a:pt x="462" y="1124"/>
                  <a:pt x="462" y="1124"/>
                  <a:pt x="462" y="1124"/>
                </a:cubicBezTo>
                <a:cubicBezTo>
                  <a:pt x="1017" y="1124"/>
                  <a:pt x="1017" y="1124"/>
                  <a:pt x="1017" y="1124"/>
                </a:cubicBezTo>
                <a:cubicBezTo>
                  <a:pt x="1037" y="1124"/>
                  <a:pt x="1053" y="1108"/>
                  <a:pt x="1053" y="1088"/>
                </a:cubicBezTo>
                <a:cubicBezTo>
                  <a:pt x="1053" y="1068"/>
                  <a:pt x="1037" y="1052"/>
                  <a:pt x="1017" y="1052"/>
                </a:cubicBezTo>
                <a:cubicBezTo>
                  <a:pt x="976" y="1052"/>
                  <a:pt x="976" y="1052"/>
                  <a:pt x="976" y="1052"/>
                </a:cubicBezTo>
                <a:cubicBezTo>
                  <a:pt x="964" y="1052"/>
                  <a:pt x="955" y="1042"/>
                  <a:pt x="955" y="1030"/>
                </a:cubicBezTo>
                <a:cubicBezTo>
                  <a:pt x="955" y="1018"/>
                  <a:pt x="964" y="1009"/>
                  <a:pt x="976" y="1009"/>
                </a:cubicBezTo>
                <a:cubicBezTo>
                  <a:pt x="979" y="1009"/>
                  <a:pt x="979" y="1009"/>
                  <a:pt x="979" y="1009"/>
                </a:cubicBezTo>
                <a:cubicBezTo>
                  <a:pt x="990" y="1009"/>
                  <a:pt x="1000" y="999"/>
                  <a:pt x="1000" y="987"/>
                </a:cubicBezTo>
                <a:cubicBezTo>
                  <a:pt x="1000" y="975"/>
                  <a:pt x="990" y="965"/>
                  <a:pt x="979" y="965"/>
                </a:cubicBezTo>
                <a:cubicBezTo>
                  <a:pt x="941" y="965"/>
                  <a:pt x="941" y="965"/>
                  <a:pt x="941" y="965"/>
                </a:cubicBezTo>
                <a:cubicBezTo>
                  <a:pt x="937" y="965"/>
                  <a:pt x="933" y="962"/>
                  <a:pt x="933" y="958"/>
                </a:cubicBezTo>
                <a:cubicBezTo>
                  <a:pt x="933" y="954"/>
                  <a:pt x="937" y="951"/>
                  <a:pt x="941" y="951"/>
                </a:cubicBezTo>
                <a:cubicBezTo>
                  <a:pt x="1017" y="951"/>
                  <a:pt x="1017" y="951"/>
                  <a:pt x="1017" y="951"/>
                </a:cubicBezTo>
                <a:cubicBezTo>
                  <a:pt x="1029" y="951"/>
                  <a:pt x="1039" y="941"/>
                  <a:pt x="1039" y="929"/>
                </a:cubicBezTo>
                <a:cubicBezTo>
                  <a:pt x="1039" y="917"/>
                  <a:pt x="1029" y="908"/>
                  <a:pt x="1017" y="908"/>
                </a:cubicBezTo>
                <a:cubicBezTo>
                  <a:pt x="919" y="908"/>
                  <a:pt x="919" y="908"/>
                  <a:pt x="919" y="908"/>
                </a:cubicBezTo>
                <a:cubicBezTo>
                  <a:pt x="915" y="908"/>
                  <a:pt x="912" y="904"/>
                  <a:pt x="912" y="900"/>
                </a:cubicBezTo>
                <a:cubicBezTo>
                  <a:pt x="912" y="896"/>
                  <a:pt x="915" y="893"/>
                  <a:pt x="919" y="893"/>
                </a:cubicBezTo>
                <a:cubicBezTo>
                  <a:pt x="1053" y="893"/>
                  <a:pt x="1053" y="893"/>
                  <a:pt x="1053" y="893"/>
                </a:cubicBezTo>
                <a:cubicBezTo>
                  <a:pt x="1065" y="893"/>
                  <a:pt x="1075" y="883"/>
                  <a:pt x="1075" y="871"/>
                </a:cubicBezTo>
                <a:cubicBezTo>
                  <a:pt x="1075" y="859"/>
                  <a:pt x="1065" y="850"/>
                  <a:pt x="1053" y="850"/>
                </a:cubicBezTo>
                <a:cubicBezTo>
                  <a:pt x="914" y="850"/>
                  <a:pt x="914" y="850"/>
                  <a:pt x="914" y="850"/>
                </a:cubicBezTo>
                <a:cubicBezTo>
                  <a:pt x="910" y="850"/>
                  <a:pt x="906" y="846"/>
                  <a:pt x="906" y="842"/>
                </a:cubicBezTo>
                <a:cubicBezTo>
                  <a:pt x="906" y="838"/>
                  <a:pt x="910" y="835"/>
                  <a:pt x="914" y="835"/>
                </a:cubicBezTo>
                <a:cubicBezTo>
                  <a:pt x="1049" y="835"/>
                  <a:pt x="1049" y="835"/>
                  <a:pt x="1049" y="835"/>
                </a:cubicBezTo>
                <a:cubicBezTo>
                  <a:pt x="1061" y="835"/>
                  <a:pt x="1071" y="825"/>
                  <a:pt x="1071" y="814"/>
                </a:cubicBezTo>
                <a:cubicBezTo>
                  <a:pt x="1071" y="802"/>
                  <a:pt x="1061" y="792"/>
                  <a:pt x="1049" y="792"/>
                </a:cubicBezTo>
                <a:cubicBezTo>
                  <a:pt x="905" y="792"/>
                  <a:pt x="905" y="792"/>
                  <a:pt x="905" y="792"/>
                </a:cubicBezTo>
                <a:cubicBezTo>
                  <a:pt x="901" y="792"/>
                  <a:pt x="898" y="789"/>
                  <a:pt x="898" y="785"/>
                </a:cubicBezTo>
                <a:cubicBezTo>
                  <a:pt x="898" y="781"/>
                  <a:pt x="901" y="777"/>
                  <a:pt x="905" y="777"/>
                </a:cubicBezTo>
                <a:cubicBezTo>
                  <a:pt x="1104" y="777"/>
                  <a:pt x="1104" y="777"/>
                  <a:pt x="1104" y="777"/>
                </a:cubicBezTo>
                <a:cubicBezTo>
                  <a:pt x="1116" y="777"/>
                  <a:pt x="1125" y="768"/>
                  <a:pt x="1125" y="756"/>
                </a:cubicBezTo>
                <a:cubicBezTo>
                  <a:pt x="1125" y="744"/>
                  <a:pt x="1116" y="734"/>
                  <a:pt x="1104" y="734"/>
                </a:cubicBezTo>
                <a:cubicBezTo>
                  <a:pt x="791" y="734"/>
                  <a:pt x="791" y="734"/>
                  <a:pt x="791" y="734"/>
                </a:cubicBezTo>
                <a:cubicBezTo>
                  <a:pt x="787" y="734"/>
                  <a:pt x="784" y="731"/>
                  <a:pt x="784" y="727"/>
                </a:cubicBezTo>
                <a:cubicBezTo>
                  <a:pt x="784" y="723"/>
                  <a:pt x="787" y="720"/>
                  <a:pt x="791" y="720"/>
                </a:cubicBezTo>
                <a:cubicBezTo>
                  <a:pt x="1046" y="720"/>
                  <a:pt x="1046" y="720"/>
                  <a:pt x="1046" y="720"/>
                </a:cubicBezTo>
                <a:cubicBezTo>
                  <a:pt x="1058" y="720"/>
                  <a:pt x="1068" y="710"/>
                  <a:pt x="1068" y="698"/>
                </a:cubicBezTo>
                <a:cubicBezTo>
                  <a:pt x="1068" y="686"/>
                  <a:pt x="1058" y="676"/>
                  <a:pt x="1046" y="676"/>
                </a:cubicBezTo>
                <a:cubicBezTo>
                  <a:pt x="763" y="676"/>
                  <a:pt x="763" y="676"/>
                  <a:pt x="763" y="676"/>
                </a:cubicBezTo>
                <a:cubicBezTo>
                  <a:pt x="759" y="676"/>
                  <a:pt x="755" y="673"/>
                  <a:pt x="755" y="669"/>
                </a:cubicBezTo>
                <a:cubicBezTo>
                  <a:pt x="755" y="665"/>
                  <a:pt x="759" y="662"/>
                  <a:pt x="763" y="662"/>
                </a:cubicBezTo>
                <a:cubicBezTo>
                  <a:pt x="1011" y="662"/>
                  <a:pt x="1011" y="662"/>
                  <a:pt x="1011" y="662"/>
                </a:cubicBezTo>
                <a:cubicBezTo>
                  <a:pt x="1022" y="662"/>
                  <a:pt x="1032" y="652"/>
                  <a:pt x="1032" y="640"/>
                </a:cubicBezTo>
                <a:cubicBezTo>
                  <a:pt x="1032" y="628"/>
                  <a:pt x="1022" y="619"/>
                  <a:pt x="1011" y="619"/>
                </a:cubicBezTo>
                <a:cubicBezTo>
                  <a:pt x="805" y="619"/>
                  <a:pt x="805" y="619"/>
                  <a:pt x="805" y="619"/>
                </a:cubicBezTo>
                <a:cubicBezTo>
                  <a:pt x="801" y="619"/>
                  <a:pt x="798" y="615"/>
                  <a:pt x="798" y="611"/>
                </a:cubicBezTo>
                <a:cubicBezTo>
                  <a:pt x="798" y="607"/>
                  <a:pt x="801" y="604"/>
                  <a:pt x="805" y="604"/>
                </a:cubicBezTo>
                <a:cubicBezTo>
                  <a:pt x="860" y="604"/>
                  <a:pt x="860" y="604"/>
                  <a:pt x="860" y="604"/>
                </a:cubicBezTo>
                <a:cubicBezTo>
                  <a:pt x="872" y="604"/>
                  <a:pt x="881" y="594"/>
                  <a:pt x="881" y="582"/>
                </a:cubicBezTo>
                <a:cubicBezTo>
                  <a:pt x="881" y="570"/>
                  <a:pt x="872" y="561"/>
                  <a:pt x="860" y="561"/>
                </a:cubicBezTo>
                <a:cubicBezTo>
                  <a:pt x="805" y="561"/>
                  <a:pt x="805" y="561"/>
                  <a:pt x="805" y="561"/>
                </a:cubicBezTo>
                <a:cubicBezTo>
                  <a:pt x="801" y="561"/>
                  <a:pt x="798" y="557"/>
                  <a:pt x="798" y="553"/>
                </a:cubicBezTo>
                <a:cubicBezTo>
                  <a:pt x="798" y="549"/>
                  <a:pt x="801" y="546"/>
                  <a:pt x="805" y="546"/>
                </a:cubicBezTo>
                <a:cubicBezTo>
                  <a:pt x="972" y="546"/>
                  <a:pt x="972" y="546"/>
                  <a:pt x="972" y="546"/>
                </a:cubicBezTo>
                <a:cubicBezTo>
                  <a:pt x="984" y="546"/>
                  <a:pt x="993" y="536"/>
                  <a:pt x="993" y="524"/>
                </a:cubicBezTo>
                <a:cubicBezTo>
                  <a:pt x="993" y="513"/>
                  <a:pt x="984" y="503"/>
                  <a:pt x="972" y="503"/>
                </a:cubicBezTo>
                <a:cubicBezTo>
                  <a:pt x="846" y="503"/>
                  <a:pt x="846" y="503"/>
                  <a:pt x="846" y="503"/>
                </a:cubicBezTo>
                <a:cubicBezTo>
                  <a:pt x="842" y="503"/>
                  <a:pt x="839" y="500"/>
                  <a:pt x="839" y="496"/>
                </a:cubicBezTo>
                <a:cubicBezTo>
                  <a:pt x="839" y="492"/>
                  <a:pt x="842" y="488"/>
                  <a:pt x="846" y="488"/>
                </a:cubicBezTo>
                <a:cubicBezTo>
                  <a:pt x="969" y="488"/>
                  <a:pt x="969" y="488"/>
                  <a:pt x="969" y="488"/>
                </a:cubicBezTo>
                <a:cubicBezTo>
                  <a:pt x="981" y="488"/>
                  <a:pt x="991" y="479"/>
                  <a:pt x="991" y="467"/>
                </a:cubicBezTo>
                <a:cubicBezTo>
                  <a:pt x="991" y="455"/>
                  <a:pt x="981" y="445"/>
                  <a:pt x="969" y="445"/>
                </a:cubicBezTo>
                <a:cubicBezTo>
                  <a:pt x="768" y="445"/>
                  <a:pt x="768" y="445"/>
                  <a:pt x="768" y="445"/>
                </a:cubicBezTo>
                <a:cubicBezTo>
                  <a:pt x="764" y="445"/>
                  <a:pt x="761" y="442"/>
                  <a:pt x="761" y="438"/>
                </a:cubicBezTo>
                <a:cubicBezTo>
                  <a:pt x="761" y="434"/>
                  <a:pt x="764" y="430"/>
                  <a:pt x="768" y="430"/>
                </a:cubicBezTo>
                <a:cubicBezTo>
                  <a:pt x="804" y="430"/>
                  <a:pt x="804" y="430"/>
                  <a:pt x="804" y="430"/>
                </a:cubicBezTo>
                <a:cubicBezTo>
                  <a:pt x="816" y="430"/>
                  <a:pt x="826" y="421"/>
                  <a:pt x="826" y="409"/>
                </a:cubicBezTo>
                <a:cubicBezTo>
                  <a:pt x="826" y="397"/>
                  <a:pt x="816" y="387"/>
                  <a:pt x="804" y="387"/>
                </a:cubicBezTo>
                <a:cubicBezTo>
                  <a:pt x="766" y="387"/>
                  <a:pt x="766" y="387"/>
                  <a:pt x="766" y="387"/>
                </a:cubicBezTo>
                <a:cubicBezTo>
                  <a:pt x="762" y="387"/>
                  <a:pt x="759" y="384"/>
                  <a:pt x="759" y="380"/>
                </a:cubicBezTo>
                <a:cubicBezTo>
                  <a:pt x="759" y="376"/>
                  <a:pt x="762" y="373"/>
                  <a:pt x="766" y="373"/>
                </a:cubicBezTo>
                <a:cubicBezTo>
                  <a:pt x="885" y="373"/>
                  <a:pt x="885" y="373"/>
                  <a:pt x="885" y="373"/>
                </a:cubicBezTo>
                <a:cubicBezTo>
                  <a:pt x="886" y="373"/>
                  <a:pt x="887" y="373"/>
                  <a:pt x="888" y="373"/>
                </a:cubicBezTo>
                <a:cubicBezTo>
                  <a:pt x="1592" y="373"/>
                  <a:pt x="1592" y="373"/>
                  <a:pt x="1592" y="373"/>
                </a:cubicBezTo>
                <a:cubicBezTo>
                  <a:pt x="1596" y="373"/>
                  <a:pt x="1599" y="376"/>
                  <a:pt x="1599" y="380"/>
                </a:cubicBezTo>
                <a:cubicBezTo>
                  <a:pt x="1599" y="384"/>
                  <a:pt x="1596" y="388"/>
                  <a:pt x="1592" y="388"/>
                </a:cubicBezTo>
                <a:cubicBezTo>
                  <a:pt x="855" y="388"/>
                  <a:pt x="855" y="388"/>
                  <a:pt x="855" y="388"/>
                </a:cubicBezTo>
                <a:cubicBezTo>
                  <a:pt x="843" y="388"/>
                  <a:pt x="834" y="397"/>
                  <a:pt x="834" y="409"/>
                </a:cubicBezTo>
                <a:cubicBezTo>
                  <a:pt x="834" y="421"/>
                  <a:pt x="843" y="431"/>
                  <a:pt x="855" y="431"/>
                </a:cubicBezTo>
                <a:cubicBezTo>
                  <a:pt x="1592" y="431"/>
                  <a:pt x="1592" y="431"/>
                  <a:pt x="1592" y="431"/>
                </a:cubicBezTo>
                <a:cubicBezTo>
                  <a:pt x="1596" y="431"/>
                  <a:pt x="1599" y="434"/>
                  <a:pt x="1599" y="438"/>
                </a:cubicBezTo>
                <a:cubicBezTo>
                  <a:pt x="1599" y="442"/>
                  <a:pt x="1596" y="445"/>
                  <a:pt x="1592" y="445"/>
                </a:cubicBezTo>
                <a:cubicBezTo>
                  <a:pt x="1039" y="445"/>
                  <a:pt x="1039" y="445"/>
                  <a:pt x="1039" y="445"/>
                </a:cubicBezTo>
                <a:cubicBezTo>
                  <a:pt x="1027" y="445"/>
                  <a:pt x="1017" y="455"/>
                  <a:pt x="1017" y="467"/>
                </a:cubicBezTo>
                <a:cubicBezTo>
                  <a:pt x="1017" y="479"/>
                  <a:pt x="1027" y="489"/>
                  <a:pt x="1039" y="489"/>
                </a:cubicBezTo>
                <a:cubicBezTo>
                  <a:pt x="1553" y="489"/>
                  <a:pt x="1553" y="489"/>
                  <a:pt x="1553" y="489"/>
                </a:cubicBezTo>
                <a:cubicBezTo>
                  <a:pt x="1557" y="489"/>
                  <a:pt x="1560" y="492"/>
                  <a:pt x="1560" y="496"/>
                </a:cubicBezTo>
                <a:cubicBezTo>
                  <a:pt x="1560" y="500"/>
                  <a:pt x="1557" y="503"/>
                  <a:pt x="1553" y="503"/>
                </a:cubicBezTo>
                <a:cubicBezTo>
                  <a:pt x="1039" y="503"/>
                  <a:pt x="1039" y="503"/>
                  <a:pt x="1039" y="503"/>
                </a:cubicBezTo>
                <a:cubicBezTo>
                  <a:pt x="1027" y="503"/>
                  <a:pt x="1017" y="513"/>
                  <a:pt x="1017" y="525"/>
                </a:cubicBezTo>
                <a:cubicBezTo>
                  <a:pt x="1017" y="537"/>
                  <a:pt x="1027" y="546"/>
                  <a:pt x="1039" y="546"/>
                </a:cubicBezTo>
                <a:cubicBezTo>
                  <a:pt x="1528" y="546"/>
                  <a:pt x="1528" y="546"/>
                  <a:pt x="1528" y="546"/>
                </a:cubicBezTo>
                <a:cubicBezTo>
                  <a:pt x="1532" y="546"/>
                  <a:pt x="1536" y="550"/>
                  <a:pt x="1536" y="554"/>
                </a:cubicBezTo>
                <a:cubicBezTo>
                  <a:pt x="1536" y="558"/>
                  <a:pt x="1532" y="561"/>
                  <a:pt x="1528" y="561"/>
                </a:cubicBezTo>
                <a:cubicBezTo>
                  <a:pt x="1019" y="561"/>
                  <a:pt x="1019" y="561"/>
                  <a:pt x="1019" y="561"/>
                </a:cubicBezTo>
                <a:cubicBezTo>
                  <a:pt x="1007" y="561"/>
                  <a:pt x="997" y="571"/>
                  <a:pt x="997" y="583"/>
                </a:cubicBezTo>
                <a:cubicBezTo>
                  <a:pt x="997" y="595"/>
                  <a:pt x="1007" y="604"/>
                  <a:pt x="1019" y="604"/>
                </a:cubicBezTo>
                <a:cubicBezTo>
                  <a:pt x="1526" y="604"/>
                  <a:pt x="1526" y="604"/>
                  <a:pt x="1526" y="604"/>
                </a:cubicBezTo>
                <a:cubicBezTo>
                  <a:pt x="1530" y="604"/>
                  <a:pt x="1534" y="607"/>
                  <a:pt x="1534" y="612"/>
                </a:cubicBezTo>
                <a:cubicBezTo>
                  <a:pt x="1534" y="616"/>
                  <a:pt x="1530" y="619"/>
                  <a:pt x="1526" y="619"/>
                </a:cubicBezTo>
                <a:cubicBezTo>
                  <a:pt x="1068" y="619"/>
                  <a:pt x="1068" y="619"/>
                  <a:pt x="1068" y="619"/>
                </a:cubicBezTo>
                <a:cubicBezTo>
                  <a:pt x="1056" y="619"/>
                  <a:pt x="1046" y="629"/>
                  <a:pt x="1046" y="640"/>
                </a:cubicBezTo>
                <a:cubicBezTo>
                  <a:pt x="1046" y="652"/>
                  <a:pt x="1056" y="662"/>
                  <a:pt x="1068" y="662"/>
                </a:cubicBezTo>
                <a:cubicBezTo>
                  <a:pt x="1436" y="662"/>
                  <a:pt x="1436" y="662"/>
                  <a:pt x="1436" y="662"/>
                </a:cubicBezTo>
                <a:cubicBezTo>
                  <a:pt x="1440" y="662"/>
                  <a:pt x="1443" y="665"/>
                  <a:pt x="1443" y="669"/>
                </a:cubicBezTo>
                <a:cubicBezTo>
                  <a:pt x="1443" y="673"/>
                  <a:pt x="1440" y="677"/>
                  <a:pt x="1436" y="677"/>
                </a:cubicBezTo>
                <a:cubicBezTo>
                  <a:pt x="1287" y="677"/>
                  <a:pt x="1287" y="677"/>
                  <a:pt x="1287" y="677"/>
                </a:cubicBezTo>
                <a:cubicBezTo>
                  <a:pt x="1276" y="677"/>
                  <a:pt x="1266" y="686"/>
                  <a:pt x="1266" y="698"/>
                </a:cubicBezTo>
                <a:cubicBezTo>
                  <a:pt x="1266" y="710"/>
                  <a:pt x="1276" y="720"/>
                  <a:pt x="1287" y="720"/>
                </a:cubicBezTo>
                <a:cubicBezTo>
                  <a:pt x="1454" y="720"/>
                  <a:pt x="1454" y="720"/>
                  <a:pt x="1454" y="720"/>
                </a:cubicBezTo>
                <a:cubicBezTo>
                  <a:pt x="1458" y="720"/>
                  <a:pt x="1461" y="723"/>
                  <a:pt x="1461" y="727"/>
                </a:cubicBezTo>
                <a:cubicBezTo>
                  <a:pt x="1461" y="731"/>
                  <a:pt x="1458" y="734"/>
                  <a:pt x="1454" y="734"/>
                </a:cubicBezTo>
                <a:cubicBezTo>
                  <a:pt x="1321" y="734"/>
                  <a:pt x="1321" y="734"/>
                  <a:pt x="1321" y="734"/>
                </a:cubicBezTo>
                <a:cubicBezTo>
                  <a:pt x="1309" y="734"/>
                  <a:pt x="1300" y="744"/>
                  <a:pt x="1300" y="756"/>
                </a:cubicBezTo>
                <a:cubicBezTo>
                  <a:pt x="1300" y="768"/>
                  <a:pt x="1309" y="778"/>
                  <a:pt x="1321" y="778"/>
                </a:cubicBezTo>
                <a:cubicBezTo>
                  <a:pt x="1549" y="778"/>
                  <a:pt x="1549" y="778"/>
                  <a:pt x="1549" y="778"/>
                </a:cubicBezTo>
                <a:cubicBezTo>
                  <a:pt x="1553" y="778"/>
                  <a:pt x="1556" y="781"/>
                  <a:pt x="1556" y="785"/>
                </a:cubicBezTo>
                <a:cubicBezTo>
                  <a:pt x="1556" y="789"/>
                  <a:pt x="1553" y="792"/>
                  <a:pt x="1549" y="792"/>
                </a:cubicBezTo>
                <a:cubicBezTo>
                  <a:pt x="1455" y="792"/>
                  <a:pt x="1455" y="792"/>
                  <a:pt x="1455" y="792"/>
                </a:cubicBezTo>
                <a:cubicBezTo>
                  <a:pt x="1443" y="792"/>
                  <a:pt x="1434" y="802"/>
                  <a:pt x="1434" y="814"/>
                </a:cubicBezTo>
                <a:cubicBezTo>
                  <a:pt x="1434" y="826"/>
                  <a:pt x="1443" y="835"/>
                  <a:pt x="1455" y="835"/>
                </a:cubicBezTo>
                <a:cubicBezTo>
                  <a:pt x="1623" y="835"/>
                  <a:pt x="1623" y="835"/>
                  <a:pt x="1623" y="835"/>
                </a:cubicBezTo>
                <a:cubicBezTo>
                  <a:pt x="1635" y="835"/>
                  <a:pt x="1645" y="826"/>
                  <a:pt x="1645" y="814"/>
                </a:cubicBezTo>
                <a:cubicBezTo>
                  <a:pt x="1645" y="802"/>
                  <a:pt x="1635" y="792"/>
                  <a:pt x="1623" y="792"/>
                </a:cubicBezTo>
                <a:cubicBezTo>
                  <a:pt x="1607" y="792"/>
                  <a:pt x="1607" y="792"/>
                  <a:pt x="1607" y="792"/>
                </a:cubicBezTo>
                <a:cubicBezTo>
                  <a:pt x="1603" y="792"/>
                  <a:pt x="1600" y="789"/>
                  <a:pt x="1600" y="785"/>
                </a:cubicBezTo>
                <a:cubicBezTo>
                  <a:pt x="1600" y="781"/>
                  <a:pt x="1603" y="778"/>
                  <a:pt x="1607" y="778"/>
                </a:cubicBezTo>
                <a:cubicBezTo>
                  <a:pt x="1683" y="778"/>
                  <a:pt x="1683" y="778"/>
                  <a:pt x="1683" y="778"/>
                </a:cubicBezTo>
                <a:cubicBezTo>
                  <a:pt x="1687" y="778"/>
                  <a:pt x="1690" y="781"/>
                  <a:pt x="1690" y="785"/>
                </a:cubicBezTo>
                <a:cubicBezTo>
                  <a:pt x="1690" y="789"/>
                  <a:pt x="1687" y="792"/>
                  <a:pt x="1683" y="792"/>
                </a:cubicBezTo>
                <a:cubicBezTo>
                  <a:pt x="1673" y="792"/>
                  <a:pt x="1673" y="792"/>
                  <a:pt x="1673" y="792"/>
                </a:cubicBezTo>
                <a:cubicBezTo>
                  <a:pt x="1662" y="792"/>
                  <a:pt x="1652" y="802"/>
                  <a:pt x="1652" y="814"/>
                </a:cubicBezTo>
                <a:cubicBezTo>
                  <a:pt x="1652" y="826"/>
                  <a:pt x="1662" y="835"/>
                  <a:pt x="1673" y="835"/>
                </a:cubicBezTo>
                <a:cubicBezTo>
                  <a:pt x="1681" y="835"/>
                  <a:pt x="1681" y="835"/>
                  <a:pt x="1681" y="835"/>
                </a:cubicBezTo>
                <a:cubicBezTo>
                  <a:pt x="1693" y="835"/>
                  <a:pt x="1703" y="845"/>
                  <a:pt x="1703" y="857"/>
                </a:cubicBezTo>
                <a:cubicBezTo>
                  <a:pt x="1703" y="869"/>
                  <a:pt x="1693" y="879"/>
                  <a:pt x="1681" y="879"/>
                </a:cubicBezTo>
                <a:cubicBezTo>
                  <a:pt x="1550" y="879"/>
                  <a:pt x="1550" y="879"/>
                  <a:pt x="1550" y="879"/>
                </a:cubicBezTo>
                <a:cubicBezTo>
                  <a:pt x="1538" y="879"/>
                  <a:pt x="1529" y="889"/>
                  <a:pt x="1529" y="901"/>
                </a:cubicBezTo>
                <a:cubicBezTo>
                  <a:pt x="1529" y="913"/>
                  <a:pt x="1538" y="922"/>
                  <a:pt x="1550" y="922"/>
                </a:cubicBezTo>
                <a:cubicBezTo>
                  <a:pt x="1697" y="922"/>
                  <a:pt x="1697" y="922"/>
                  <a:pt x="1697" y="922"/>
                </a:cubicBezTo>
                <a:cubicBezTo>
                  <a:pt x="1701" y="922"/>
                  <a:pt x="1704" y="925"/>
                  <a:pt x="1704" y="929"/>
                </a:cubicBezTo>
                <a:cubicBezTo>
                  <a:pt x="1704" y="934"/>
                  <a:pt x="1701" y="937"/>
                  <a:pt x="1697" y="937"/>
                </a:cubicBezTo>
                <a:cubicBezTo>
                  <a:pt x="1504" y="937"/>
                  <a:pt x="1504" y="937"/>
                  <a:pt x="1504" y="937"/>
                </a:cubicBezTo>
                <a:cubicBezTo>
                  <a:pt x="1492" y="937"/>
                  <a:pt x="1482" y="946"/>
                  <a:pt x="1482" y="958"/>
                </a:cubicBezTo>
                <a:cubicBezTo>
                  <a:pt x="1482" y="970"/>
                  <a:pt x="1492" y="980"/>
                  <a:pt x="1504" y="980"/>
                </a:cubicBezTo>
                <a:cubicBezTo>
                  <a:pt x="1712" y="980"/>
                  <a:pt x="1712" y="980"/>
                  <a:pt x="1712" y="980"/>
                </a:cubicBezTo>
                <a:cubicBezTo>
                  <a:pt x="1716" y="980"/>
                  <a:pt x="1719" y="983"/>
                  <a:pt x="1719" y="987"/>
                </a:cubicBezTo>
                <a:cubicBezTo>
                  <a:pt x="1719" y="991"/>
                  <a:pt x="1716" y="995"/>
                  <a:pt x="1712" y="995"/>
                </a:cubicBezTo>
                <a:cubicBezTo>
                  <a:pt x="1505" y="995"/>
                  <a:pt x="1505" y="995"/>
                  <a:pt x="1505" y="995"/>
                </a:cubicBezTo>
                <a:cubicBezTo>
                  <a:pt x="1494" y="995"/>
                  <a:pt x="1484" y="1004"/>
                  <a:pt x="1484" y="1016"/>
                </a:cubicBezTo>
                <a:cubicBezTo>
                  <a:pt x="1484" y="1028"/>
                  <a:pt x="1494" y="1038"/>
                  <a:pt x="1505" y="1038"/>
                </a:cubicBezTo>
                <a:cubicBezTo>
                  <a:pt x="1693" y="1038"/>
                  <a:pt x="1693" y="1038"/>
                  <a:pt x="1693" y="1038"/>
                </a:cubicBezTo>
                <a:cubicBezTo>
                  <a:pt x="1697" y="1038"/>
                  <a:pt x="1701" y="1041"/>
                  <a:pt x="1701" y="1045"/>
                </a:cubicBezTo>
                <a:cubicBezTo>
                  <a:pt x="1701" y="1049"/>
                  <a:pt x="1697" y="1052"/>
                  <a:pt x="1693" y="1052"/>
                </a:cubicBezTo>
                <a:cubicBezTo>
                  <a:pt x="1635" y="1052"/>
                  <a:pt x="1635" y="1052"/>
                  <a:pt x="1635" y="1052"/>
                </a:cubicBezTo>
                <a:cubicBezTo>
                  <a:pt x="1623" y="1052"/>
                  <a:pt x="1613" y="1062"/>
                  <a:pt x="1613" y="1074"/>
                </a:cubicBezTo>
                <a:cubicBezTo>
                  <a:pt x="1613" y="1086"/>
                  <a:pt x="1623" y="1096"/>
                  <a:pt x="1635" y="1096"/>
                </a:cubicBezTo>
                <a:cubicBezTo>
                  <a:pt x="1658" y="1096"/>
                  <a:pt x="1658" y="1096"/>
                  <a:pt x="1658" y="1096"/>
                </a:cubicBezTo>
                <a:cubicBezTo>
                  <a:pt x="1662" y="1096"/>
                  <a:pt x="1665" y="1099"/>
                  <a:pt x="1665" y="1103"/>
                </a:cubicBezTo>
                <a:cubicBezTo>
                  <a:pt x="1665" y="1107"/>
                  <a:pt x="1662" y="1110"/>
                  <a:pt x="1658" y="1110"/>
                </a:cubicBezTo>
                <a:cubicBezTo>
                  <a:pt x="1650" y="1110"/>
                  <a:pt x="1650" y="1110"/>
                  <a:pt x="1650" y="1110"/>
                </a:cubicBezTo>
                <a:cubicBezTo>
                  <a:pt x="1630" y="1110"/>
                  <a:pt x="1614" y="1126"/>
                  <a:pt x="1614" y="1146"/>
                </a:cubicBezTo>
                <a:cubicBezTo>
                  <a:pt x="1614" y="1166"/>
                  <a:pt x="1630" y="1182"/>
                  <a:pt x="1650" y="1182"/>
                </a:cubicBezTo>
                <a:cubicBezTo>
                  <a:pt x="1789" y="1182"/>
                  <a:pt x="1789" y="1182"/>
                  <a:pt x="1789" y="1182"/>
                </a:cubicBezTo>
                <a:cubicBezTo>
                  <a:pt x="1801" y="1182"/>
                  <a:pt x="1811" y="1173"/>
                  <a:pt x="1811" y="1161"/>
                </a:cubicBezTo>
                <a:cubicBezTo>
                  <a:pt x="1811" y="1149"/>
                  <a:pt x="1801" y="1139"/>
                  <a:pt x="1789" y="1139"/>
                </a:cubicBezTo>
                <a:cubicBezTo>
                  <a:pt x="1766" y="1139"/>
                  <a:pt x="1766" y="1139"/>
                  <a:pt x="1766" y="1139"/>
                </a:cubicBezTo>
                <a:cubicBezTo>
                  <a:pt x="1762" y="1139"/>
                  <a:pt x="1759" y="1136"/>
                  <a:pt x="1759" y="1132"/>
                </a:cubicBezTo>
                <a:cubicBezTo>
                  <a:pt x="1759" y="1128"/>
                  <a:pt x="1762" y="1125"/>
                  <a:pt x="1766" y="1125"/>
                </a:cubicBezTo>
                <a:cubicBezTo>
                  <a:pt x="1824" y="1125"/>
                  <a:pt x="1824" y="1125"/>
                  <a:pt x="1824" y="1125"/>
                </a:cubicBezTo>
                <a:cubicBezTo>
                  <a:pt x="1836" y="1125"/>
                  <a:pt x="1846" y="1115"/>
                  <a:pt x="1846" y="1103"/>
                </a:cubicBezTo>
                <a:cubicBezTo>
                  <a:pt x="1846" y="1091"/>
                  <a:pt x="1836" y="1081"/>
                  <a:pt x="1824" y="1081"/>
                </a:cubicBezTo>
                <a:cubicBezTo>
                  <a:pt x="1797" y="1081"/>
                  <a:pt x="1797" y="1081"/>
                  <a:pt x="1797" y="1081"/>
                </a:cubicBezTo>
                <a:cubicBezTo>
                  <a:pt x="1793" y="1081"/>
                  <a:pt x="1790" y="1078"/>
                  <a:pt x="1790" y="1074"/>
                </a:cubicBezTo>
                <a:cubicBezTo>
                  <a:pt x="1790" y="1070"/>
                  <a:pt x="1793" y="1067"/>
                  <a:pt x="1797" y="1067"/>
                </a:cubicBezTo>
                <a:cubicBezTo>
                  <a:pt x="1843" y="1067"/>
                  <a:pt x="1843" y="1067"/>
                  <a:pt x="1843" y="1067"/>
                </a:cubicBezTo>
                <a:cubicBezTo>
                  <a:pt x="1855" y="1067"/>
                  <a:pt x="1864" y="1057"/>
                  <a:pt x="1864" y="1045"/>
                </a:cubicBezTo>
                <a:cubicBezTo>
                  <a:pt x="1864" y="1033"/>
                  <a:pt x="1855" y="1024"/>
                  <a:pt x="1843" y="1024"/>
                </a:cubicBezTo>
                <a:cubicBezTo>
                  <a:pt x="1791" y="1023"/>
                  <a:pt x="1791" y="1023"/>
                  <a:pt x="1791" y="1023"/>
                </a:cubicBezTo>
                <a:cubicBezTo>
                  <a:pt x="1787" y="1023"/>
                  <a:pt x="1784" y="1020"/>
                  <a:pt x="1784" y="1016"/>
                </a:cubicBezTo>
                <a:cubicBezTo>
                  <a:pt x="1784" y="1012"/>
                  <a:pt x="1787" y="1009"/>
                  <a:pt x="1791" y="1009"/>
                </a:cubicBezTo>
                <a:cubicBezTo>
                  <a:pt x="1876" y="1009"/>
                  <a:pt x="1876" y="1009"/>
                  <a:pt x="1876" y="1009"/>
                </a:cubicBezTo>
                <a:cubicBezTo>
                  <a:pt x="1945" y="1009"/>
                  <a:pt x="2002" y="955"/>
                  <a:pt x="2008" y="887"/>
                </a:cubicBezTo>
                <a:cubicBezTo>
                  <a:pt x="2015" y="884"/>
                  <a:pt x="2020" y="878"/>
                  <a:pt x="2020" y="870"/>
                </a:cubicBezTo>
                <a:cubicBezTo>
                  <a:pt x="2020" y="860"/>
                  <a:pt x="2011" y="851"/>
                  <a:pt x="2001" y="851"/>
                </a:cubicBezTo>
                <a:close/>
                <a:moveTo>
                  <a:pt x="868" y="358"/>
                </a:moveTo>
                <a:cubicBezTo>
                  <a:pt x="766" y="358"/>
                  <a:pt x="766" y="358"/>
                  <a:pt x="766" y="358"/>
                </a:cubicBezTo>
                <a:cubicBezTo>
                  <a:pt x="754" y="358"/>
                  <a:pt x="744" y="368"/>
                  <a:pt x="744" y="380"/>
                </a:cubicBezTo>
                <a:cubicBezTo>
                  <a:pt x="744" y="392"/>
                  <a:pt x="754" y="402"/>
                  <a:pt x="766" y="402"/>
                </a:cubicBezTo>
                <a:cubicBezTo>
                  <a:pt x="804" y="402"/>
                  <a:pt x="804" y="402"/>
                  <a:pt x="804" y="402"/>
                </a:cubicBezTo>
                <a:cubicBezTo>
                  <a:pt x="809" y="402"/>
                  <a:pt x="812" y="405"/>
                  <a:pt x="812" y="409"/>
                </a:cubicBezTo>
                <a:cubicBezTo>
                  <a:pt x="812" y="413"/>
                  <a:pt x="809" y="416"/>
                  <a:pt x="804" y="416"/>
                </a:cubicBezTo>
                <a:cubicBezTo>
                  <a:pt x="768" y="416"/>
                  <a:pt x="768" y="416"/>
                  <a:pt x="768" y="416"/>
                </a:cubicBezTo>
                <a:cubicBezTo>
                  <a:pt x="756" y="416"/>
                  <a:pt x="747" y="426"/>
                  <a:pt x="747" y="438"/>
                </a:cubicBezTo>
                <a:cubicBezTo>
                  <a:pt x="747" y="450"/>
                  <a:pt x="756" y="459"/>
                  <a:pt x="768" y="459"/>
                </a:cubicBezTo>
                <a:cubicBezTo>
                  <a:pt x="969" y="459"/>
                  <a:pt x="969" y="459"/>
                  <a:pt x="969" y="459"/>
                </a:cubicBezTo>
                <a:cubicBezTo>
                  <a:pt x="973" y="459"/>
                  <a:pt x="977" y="463"/>
                  <a:pt x="977" y="467"/>
                </a:cubicBezTo>
                <a:cubicBezTo>
                  <a:pt x="977" y="471"/>
                  <a:pt x="973" y="474"/>
                  <a:pt x="969" y="474"/>
                </a:cubicBezTo>
                <a:cubicBezTo>
                  <a:pt x="846" y="474"/>
                  <a:pt x="846" y="474"/>
                  <a:pt x="846" y="474"/>
                </a:cubicBezTo>
                <a:cubicBezTo>
                  <a:pt x="834" y="474"/>
                  <a:pt x="824" y="484"/>
                  <a:pt x="824" y="496"/>
                </a:cubicBezTo>
                <a:cubicBezTo>
                  <a:pt x="824" y="507"/>
                  <a:pt x="834" y="517"/>
                  <a:pt x="846" y="517"/>
                </a:cubicBezTo>
                <a:cubicBezTo>
                  <a:pt x="972" y="517"/>
                  <a:pt x="972" y="517"/>
                  <a:pt x="972" y="517"/>
                </a:cubicBezTo>
                <a:cubicBezTo>
                  <a:pt x="976" y="517"/>
                  <a:pt x="979" y="520"/>
                  <a:pt x="979" y="524"/>
                </a:cubicBezTo>
                <a:cubicBezTo>
                  <a:pt x="979" y="529"/>
                  <a:pt x="976" y="532"/>
                  <a:pt x="972" y="532"/>
                </a:cubicBezTo>
                <a:cubicBezTo>
                  <a:pt x="805" y="532"/>
                  <a:pt x="805" y="532"/>
                  <a:pt x="805" y="532"/>
                </a:cubicBezTo>
                <a:cubicBezTo>
                  <a:pt x="793" y="532"/>
                  <a:pt x="783" y="541"/>
                  <a:pt x="783" y="553"/>
                </a:cubicBezTo>
                <a:cubicBezTo>
                  <a:pt x="783" y="565"/>
                  <a:pt x="793" y="575"/>
                  <a:pt x="805" y="575"/>
                </a:cubicBezTo>
                <a:cubicBezTo>
                  <a:pt x="860" y="575"/>
                  <a:pt x="860" y="575"/>
                  <a:pt x="860" y="575"/>
                </a:cubicBezTo>
                <a:cubicBezTo>
                  <a:pt x="864" y="575"/>
                  <a:pt x="867" y="578"/>
                  <a:pt x="867" y="582"/>
                </a:cubicBezTo>
                <a:cubicBezTo>
                  <a:pt x="867" y="586"/>
                  <a:pt x="864" y="590"/>
                  <a:pt x="860" y="590"/>
                </a:cubicBezTo>
                <a:cubicBezTo>
                  <a:pt x="805" y="590"/>
                  <a:pt x="805" y="590"/>
                  <a:pt x="805" y="590"/>
                </a:cubicBezTo>
                <a:cubicBezTo>
                  <a:pt x="793" y="590"/>
                  <a:pt x="783" y="599"/>
                  <a:pt x="783" y="611"/>
                </a:cubicBezTo>
                <a:cubicBezTo>
                  <a:pt x="783" y="623"/>
                  <a:pt x="793" y="633"/>
                  <a:pt x="805" y="633"/>
                </a:cubicBezTo>
                <a:cubicBezTo>
                  <a:pt x="1011" y="633"/>
                  <a:pt x="1011" y="633"/>
                  <a:pt x="1011" y="633"/>
                </a:cubicBezTo>
                <a:cubicBezTo>
                  <a:pt x="1015" y="633"/>
                  <a:pt x="1018" y="636"/>
                  <a:pt x="1018" y="640"/>
                </a:cubicBezTo>
                <a:cubicBezTo>
                  <a:pt x="1018" y="644"/>
                  <a:pt x="1015" y="647"/>
                  <a:pt x="1011" y="647"/>
                </a:cubicBezTo>
                <a:cubicBezTo>
                  <a:pt x="763" y="647"/>
                  <a:pt x="763" y="647"/>
                  <a:pt x="763" y="647"/>
                </a:cubicBezTo>
                <a:cubicBezTo>
                  <a:pt x="751" y="647"/>
                  <a:pt x="741" y="657"/>
                  <a:pt x="741" y="669"/>
                </a:cubicBezTo>
                <a:cubicBezTo>
                  <a:pt x="741" y="681"/>
                  <a:pt x="751" y="691"/>
                  <a:pt x="763" y="691"/>
                </a:cubicBezTo>
                <a:cubicBezTo>
                  <a:pt x="1046" y="691"/>
                  <a:pt x="1046" y="691"/>
                  <a:pt x="1046" y="691"/>
                </a:cubicBezTo>
                <a:cubicBezTo>
                  <a:pt x="1050" y="691"/>
                  <a:pt x="1054" y="694"/>
                  <a:pt x="1054" y="698"/>
                </a:cubicBezTo>
                <a:cubicBezTo>
                  <a:pt x="1054" y="702"/>
                  <a:pt x="1050" y="705"/>
                  <a:pt x="1046" y="705"/>
                </a:cubicBezTo>
                <a:cubicBezTo>
                  <a:pt x="791" y="705"/>
                  <a:pt x="791" y="705"/>
                  <a:pt x="791" y="705"/>
                </a:cubicBezTo>
                <a:cubicBezTo>
                  <a:pt x="779" y="705"/>
                  <a:pt x="770" y="715"/>
                  <a:pt x="770" y="727"/>
                </a:cubicBezTo>
                <a:cubicBezTo>
                  <a:pt x="770" y="739"/>
                  <a:pt x="779" y="748"/>
                  <a:pt x="791" y="748"/>
                </a:cubicBezTo>
                <a:cubicBezTo>
                  <a:pt x="1104" y="748"/>
                  <a:pt x="1104" y="748"/>
                  <a:pt x="1104" y="748"/>
                </a:cubicBezTo>
                <a:cubicBezTo>
                  <a:pt x="1108" y="748"/>
                  <a:pt x="1111" y="752"/>
                  <a:pt x="1111" y="756"/>
                </a:cubicBezTo>
                <a:cubicBezTo>
                  <a:pt x="1111" y="760"/>
                  <a:pt x="1108" y="763"/>
                  <a:pt x="1104" y="763"/>
                </a:cubicBezTo>
                <a:cubicBezTo>
                  <a:pt x="905" y="763"/>
                  <a:pt x="905" y="763"/>
                  <a:pt x="905" y="763"/>
                </a:cubicBezTo>
                <a:cubicBezTo>
                  <a:pt x="893" y="763"/>
                  <a:pt x="883" y="773"/>
                  <a:pt x="883" y="785"/>
                </a:cubicBezTo>
                <a:cubicBezTo>
                  <a:pt x="883" y="797"/>
                  <a:pt x="893" y="806"/>
                  <a:pt x="905" y="806"/>
                </a:cubicBezTo>
                <a:cubicBezTo>
                  <a:pt x="1049" y="806"/>
                  <a:pt x="1049" y="806"/>
                  <a:pt x="1049" y="806"/>
                </a:cubicBezTo>
                <a:cubicBezTo>
                  <a:pt x="1053" y="806"/>
                  <a:pt x="1057" y="810"/>
                  <a:pt x="1057" y="814"/>
                </a:cubicBezTo>
                <a:cubicBezTo>
                  <a:pt x="1057" y="818"/>
                  <a:pt x="1053" y="821"/>
                  <a:pt x="1049" y="821"/>
                </a:cubicBezTo>
                <a:cubicBezTo>
                  <a:pt x="914" y="821"/>
                  <a:pt x="914" y="821"/>
                  <a:pt x="914" y="821"/>
                </a:cubicBezTo>
                <a:cubicBezTo>
                  <a:pt x="902" y="821"/>
                  <a:pt x="892" y="831"/>
                  <a:pt x="892" y="842"/>
                </a:cubicBezTo>
                <a:cubicBezTo>
                  <a:pt x="892" y="854"/>
                  <a:pt x="902" y="864"/>
                  <a:pt x="914" y="864"/>
                </a:cubicBezTo>
                <a:cubicBezTo>
                  <a:pt x="1053" y="864"/>
                  <a:pt x="1053" y="864"/>
                  <a:pt x="1053" y="864"/>
                </a:cubicBezTo>
                <a:cubicBezTo>
                  <a:pt x="1057" y="864"/>
                  <a:pt x="1061" y="867"/>
                  <a:pt x="1061" y="871"/>
                </a:cubicBezTo>
                <a:cubicBezTo>
                  <a:pt x="1061" y="875"/>
                  <a:pt x="1057" y="879"/>
                  <a:pt x="1053" y="879"/>
                </a:cubicBezTo>
                <a:cubicBezTo>
                  <a:pt x="919" y="879"/>
                  <a:pt x="919" y="879"/>
                  <a:pt x="919" y="879"/>
                </a:cubicBezTo>
                <a:cubicBezTo>
                  <a:pt x="907" y="879"/>
                  <a:pt x="898" y="888"/>
                  <a:pt x="898" y="900"/>
                </a:cubicBezTo>
                <a:cubicBezTo>
                  <a:pt x="898" y="912"/>
                  <a:pt x="907" y="922"/>
                  <a:pt x="919" y="922"/>
                </a:cubicBezTo>
                <a:cubicBezTo>
                  <a:pt x="1017" y="922"/>
                  <a:pt x="1017" y="922"/>
                  <a:pt x="1017" y="922"/>
                </a:cubicBezTo>
                <a:cubicBezTo>
                  <a:pt x="1021" y="922"/>
                  <a:pt x="1024" y="925"/>
                  <a:pt x="1024" y="929"/>
                </a:cubicBezTo>
                <a:cubicBezTo>
                  <a:pt x="1024" y="933"/>
                  <a:pt x="1021" y="936"/>
                  <a:pt x="1017" y="936"/>
                </a:cubicBezTo>
                <a:cubicBezTo>
                  <a:pt x="941" y="936"/>
                  <a:pt x="941" y="936"/>
                  <a:pt x="941" y="936"/>
                </a:cubicBezTo>
                <a:cubicBezTo>
                  <a:pt x="929" y="936"/>
                  <a:pt x="919" y="946"/>
                  <a:pt x="919" y="958"/>
                </a:cubicBezTo>
                <a:cubicBezTo>
                  <a:pt x="919" y="970"/>
                  <a:pt x="929" y="980"/>
                  <a:pt x="941" y="980"/>
                </a:cubicBezTo>
                <a:cubicBezTo>
                  <a:pt x="979" y="980"/>
                  <a:pt x="979" y="980"/>
                  <a:pt x="979" y="980"/>
                </a:cubicBezTo>
                <a:cubicBezTo>
                  <a:pt x="983" y="980"/>
                  <a:pt x="986" y="983"/>
                  <a:pt x="986" y="987"/>
                </a:cubicBezTo>
                <a:cubicBezTo>
                  <a:pt x="986" y="991"/>
                  <a:pt x="983" y="994"/>
                  <a:pt x="979" y="994"/>
                </a:cubicBezTo>
                <a:cubicBezTo>
                  <a:pt x="976" y="994"/>
                  <a:pt x="976" y="994"/>
                  <a:pt x="976" y="994"/>
                </a:cubicBezTo>
                <a:cubicBezTo>
                  <a:pt x="956" y="994"/>
                  <a:pt x="940" y="1010"/>
                  <a:pt x="940" y="1030"/>
                </a:cubicBezTo>
                <a:cubicBezTo>
                  <a:pt x="940" y="1050"/>
                  <a:pt x="956" y="1066"/>
                  <a:pt x="976" y="1066"/>
                </a:cubicBezTo>
                <a:cubicBezTo>
                  <a:pt x="1017" y="1066"/>
                  <a:pt x="1017" y="1066"/>
                  <a:pt x="1017" y="1066"/>
                </a:cubicBezTo>
                <a:cubicBezTo>
                  <a:pt x="1029" y="1066"/>
                  <a:pt x="1039" y="1076"/>
                  <a:pt x="1039" y="1088"/>
                </a:cubicBezTo>
                <a:cubicBezTo>
                  <a:pt x="1039" y="1100"/>
                  <a:pt x="1029" y="1110"/>
                  <a:pt x="1017" y="1110"/>
                </a:cubicBezTo>
                <a:cubicBezTo>
                  <a:pt x="443" y="1110"/>
                  <a:pt x="443" y="1110"/>
                  <a:pt x="443" y="1110"/>
                </a:cubicBezTo>
                <a:cubicBezTo>
                  <a:pt x="439" y="1110"/>
                  <a:pt x="436" y="1107"/>
                  <a:pt x="436" y="1103"/>
                </a:cubicBezTo>
                <a:cubicBezTo>
                  <a:pt x="436" y="1099"/>
                  <a:pt x="439" y="1095"/>
                  <a:pt x="443" y="1095"/>
                </a:cubicBezTo>
                <a:cubicBezTo>
                  <a:pt x="472" y="1095"/>
                  <a:pt x="472" y="1095"/>
                  <a:pt x="472" y="1095"/>
                </a:cubicBezTo>
                <a:cubicBezTo>
                  <a:pt x="484" y="1095"/>
                  <a:pt x="493" y="1086"/>
                  <a:pt x="493" y="1074"/>
                </a:cubicBezTo>
                <a:cubicBezTo>
                  <a:pt x="493" y="1062"/>
                  <a:pt x="484" y="1052"/>
                  <a:pt x="472" y="1052"/>
                </a:cubicBezTo>
                <a:cubicBezTo>
                  <a:pt x="443" y="1052"/>
                  <a:pt x="443" y="1052"/>
                  <a:pt x="443" y="1052"/>
                </a:cubicBezTo>
                <a:cubicBezTo>
                  <a:pt x="439" y="1052"/>
                  <a:pt x="436" y="1049"/>
                  <a:pt x="436" y="1045"/>
                </a:cubicBezTo>
                <a:cubicBezTo>
                  <a:pt x="436" y="1041"/>
                  <a:pt x="439" y="1037"/>
                  <a:pt x="443" y="1037"/>
                </a:cubicBezTo>
                <a:cubicBezTo>
                  <a:pt x="495" y="1037"/>
                  <a:pt x="495" y="1037"/>
                  <a:pt x="495" y="1037"/>
                </a:cubicBezTo>
                <a:cubicBezTo>
                  <a:pt x="507" y="1037"/>
                  <a:pt x="517" y="1028"/>
                  <a:pt x="517" y="1016"/>
                </a:cubicBezTo>
                <a:cubicBezTo>
                  <a:pt x="517" y="1004"/>
                  <a:pt x="507" y="994"/>
                  <a:pt x="495" y="994"/>
                </a:cubicBezTo>
                <a:cubicBezTo>
                  <a:pt x="438" y="994"/>
                  <a:pt x="438" y="994"/>
                  <a:pt x="438" y="994"/>
                </a:cubicBezTo>
                <a:cubicBezTo>
                  <a:pt x="434" y="994"/>
                  <a:pt x="431" y="991"/>
                  <a:pt x="431" y="987"/>
                </a:cubicBezTo>
                <a:cubicBezTo>
                  <a:pt x="431" y="983"/>
                  <a:pt x="434" y="980"/>
                  <a:pt x="438" y="980"/>
                </a:cubicBezTo>
                <a:cubicBezTo>
                  <a:pt x="551" y="980"/>
                  <a:pt x="551" y="980"/>
                  <a:pt x="551" y="980"/>
                </a:cubicBezTo>
                <a:cubicBezTo>
                  <a:pt x="563" y="980"/>
                  <a:pt x="572" y="970"/>
                  <a:pt x="572" y="958"/>
                </a:cubicBezTo>
                <a:cubicBezTo>
                  <a:pt x="572" y="946"/>
                  <a:pt x="563" y="936"/>
                  <a:pt x="551" y="936"/>
                </a:cubicBezTo>
                <a:cubicBezTo>
                  <a:pt x="446" y="936"/>
                  <a:pt x="446" y="936"/>
                  <a:pt x="446" y="936"/>
                </a:cubicBezTo>
                <a:cubicBezTo>
                  <a:pt x="442" y="936"/>
                  <a:pt x="439" y="933"/>
                  <a:pt x="439" y="929"/>
                </a:cubicBezTo>
                <a:cubicBezTo>
                  <a:pt x="439" y="925"/>
                  <a:pt x="442" y="922"/>
                  <a:pt x="446" y="922"/>
                </a:cubicBezTo>
                <a:cubicBezTo>
                  <a:pt x="593" y="922"/>
                  <a:pt x="593" y="922"/>
                  <a:pt x="593" y="922"/>
                </a:cubicBezTo>
                <a:cubicBezTo>
                  <a:pt x="605" y="922"/>
                  <a:pt x="614" y="912"/>
                  <a:pt x="614" y="900"/>
                </a:cubicBezTo>
                <a:cubicBezTo>
                  <a:pt x="614" y="888"/>
                  <a:pt x="605" y="879"/>
                  <a:pt x="593" y="879"/>
                </a:cubicBezTo>
                <a:cubicBezTo>
                  <a:pt x="417" y="879"/>
                  <a:pt x="417" y="879"/>
                  <a:pt x="417" y="879"/>
                </a:cubicBezTo>
                <a:cubicBezTo>
                  <a:pt x="413" y="879"/>
                  <a:pt x="410" y="875"/>
                  <a:pt x="410" y="871"/>
                </a:cubicBezTo>
                <a:cubicBezTo>
                  <a:pt x="410" y="867"/>
                  <a:pt x="413" y="864"/>
                  <a:pt x="417" y="864"/>
                </a:cubicBezTo>
                <a:cubicBezTo>
                  <a:pt x="607" y="864"/>
                  <a:pt x="607" y="864"/>
                  <a:pt x="607" y="864"/>
                </a:cubicBezTo>
                <a:cubicBezTo>
                  <a:pt x="619" y="864"/>
                  <a:pt x="629" y="854"/>
                  <a:pt x="629" y="842"/>
                </a:cubicBezTo>
                <a:cubicBezTo>
                  <a:pt x="629" y="831"/>
                  <a:pt x="619" y="821"/>
                  <a:pt x="607" y="821"/>
                </a:cubicBezTo>
                <a:cubicBezTo>
                  <a:pt x="377" y="821"/>
                  <a:pt x="377" y="821"/>
                  <a:pt x="377" y="821"/>
                </a:cubicBezTo>
                <a:cubicBezTo>
                  <a:pt x="373" y="821"/>
                  <a:pt x="370" y="818"/>
                  <a:pt x="370" y="814"/>
                </a:cubicBezTo>
                <a:cubicBezTo>
                  <a:pt x="370" y="810"/>
                  <a:pt x="373" y="806"/>
                  <a:pt x="377" y="806"/>
                </a:cubicBezTo>
                <a:cubicBezTo>
                  <a:pt x="529" y="806"/>
                  <a:pt x="529" y="806"/>
                  <a:pt x="529" y="806"/>
                </a:cubicBezTo>
                <a:cubicBezTo>
                  <a:pt x="541" y="806"/>
                  <a:pt x="551" y="797"/>
                  <a:pt x="551" y="785"/>
                </a:cubicBezTo>
                <a:cubicBezTo>
                  <a:pt x="551" y="773"/>
                  <a:pt x="541" y="763"/>
                  <a:pt x="529" y="763"/>
                </a:cubicBezTo>
                <a:cubicBezTo>
                  <a:pt x="337" y="763"/>
                  <a:pt x="337" y="763"/>
                  <a:pt x="337" y="763"/>
                </a:cubicBezTo>
                <a:cubicBezTo>
                  <a:pt x="333" y="763"/>
                  <a:pt x="330" y="760"/>
                  <a:pt x="330" y="756"/>
                </a:cubicBezTo>
                <a:cubicBezTo>
                  <a:pt x="330" y="752"/>
                  <a:pt x="333" y="748"/>
                  <a:pt x="337" y="748"/>
                </a:cubicBezTo>
                <a:cubicBezTo>
                  <a:pt x="353" y="748"/>
                  <a:pt x="353" y="748"/>
                  <a:pt x="353" y="748"/>
                </a:cubicBezTo>
                <a:cubicBezTo>
                  <a:pt x="365" y="748"/>
                  <a:pt x="375" y="739"/>
                  <a:pt x="375" y="727"/>
                </a:cubicBezTo>
                <a:cubicBezTo>
                  <a:pt x="375" y="715"/>
                  <a:pt x="365" y="705"/>
                  <a:pt x="353" y="705"/>
                </a:cubicBezTo>
                <a:cubicBezTo>
                  <a:pt x="273" y="705"/>
                  <a:pt x="273" y="705"/>
                  <a:pt x="273" y="705"/>
                </a:cubicBezTo>
                <a:cubicBezTo>
                  <a:pt x="269" y="705"/>
                  <a:pt x="266" y="702"/>
                  <a:pt x="266" y="698"/>
                </a:cubicBezTo>
                <a:cubicBezTo>
                  <a:pt x="266" y="694"/>
                  <a:pt x="269" y="691"/>
                  <a:pt x="273" y="691"/>
                </a:cubicBezTo>
                <a:cubicBezTo>
                  <a:pt x="276" y="691"/>
                  <a:pt x="276" y="691"/>
                  <a:pt x="276" y="691"/>
                </a:cubicBezTo>
                <a:cubicBezTo>
                  <a:pt x="288" y="691"/>
                  <a:pt x="297" y="681"/>
                  <a:pt x="297" y="669"/>
                </a:cubicBezTo>
                <a:cubicBezTo>
                  <a:pt x="297" y="657"/>
                  <a:pt x="288" y="647"/>
                  <a:pt x="276" y="647"/>
                </a:cubicBezTo>
                <a:cubicBezTo>
                  <a:pt x="236" y="647"/>
                  <a:pt x="236" y="647"/>
                  <a:pt x="236" y="647"/>
                </a:cubicBezTo>
                <a:cubicBezTo>
                  <a:pt x="232" y="647"/>
                  <a:pt x="229" y="644"/>
                  <a:pt x="229" y="640"/>
                </a:cubicBezTo>
                <a:cubicBezTo>
                  <a:pt x="229" y="636"/>
                  <a:pt x="232" y="633"/>
                  <a:pt x="236" y="633"/>
                </a:cubicBezTo>
                <a:cubicBezTo>
                  <a:pt x="266" y="633"/>
                  <a:pt x="266" y="633"/>
                  <a:pt x="266" y="633"/>
                </a:cubicBezTo>
                <a:cubicBezTo>
                  <a:pt x="278" y="633"/>
                  <a:pt x="288" y="623"/>
                  <a:pt x="288" y="611"/>
                </a:cubicBezTo>
                <a:cubicBezTo>
                  <a:pt x="288" y="599"/>
                  <a:pt x="278" y="590"/>
                  <a:pt x="266" y="590"/>
                </a:cubicBezTo>
                <a:cubicBezTo>
                  <a:pt x="190" y="590"/>
                  <a:pt x="190" y="590"/>
                  <a:pt x="190" y="590"/>
                </a:cubicBezTo>
                <a:cubicBezTo>
                  <a:pt x="186" y="590"/>
                  <a:pt x="182" y="586"/>
                  <a:pt x="182" y="582"/>
                </a:cubicBezTo>
                <a:cubicBezTo>
                  <a:pt x="182" y="578"/>
                  <a:pt x="186" y="575"/>
                  <a:pt x="190" y="575"/>
                </a:cubicBezTo>
                <a:cubicBezTo>
                  <a:pt x="381" y="575"/>
                  <a:pt x="381" y="575"/>
                  <a:pt x="381" y="575"/>
                </a:cubicBezTo>
                <a:cubicBezTo>
                  <a:pt x="393" y="575"/>
                  <a:pt x="402" y="565"/>
                  <a:pt x="402" y="553"/>
                </a:cubicBezTo>
                <a:cubicBezTo>
                  <a:pt x="402" y="541"/>
                  <a:pt x="393" y="532"/>
                  <a:pt x="381" y="532"/>
                </a:cubicBezTo>
                <a:cubicBezTo>
                  <a:pt x="162" y="532"/>
                  <a:pt x="162" y="532"/>
                  <a:pt x="162" y="532"/>
                </a:cubicBezTo>
                <a:cubicBezTo>
                  <a:pt x="158" y="532"/>
                  <a:pt x="154" y="529"/>
                  <a:pt x="154" y="524"/>
                </a:cubicBezTo>
                <a:cubicBezTo>
                  <a:pt x="154" y="520"/>
                  <a:pt x="158" y="517"/>
                  <a:pt x="162" y="517"/>
                </a:cubicBezTo>
                <a:cubicBezTo>
                  <a:pt x="433" y="517"/>
                  <a:pt x="433" y="517"/>
                  <a:pt x="433" y="517"/>
                </a:cubicBezTo>
                <a:cubicBezTo>
                  <a:pt x="445" y="517"/>
                  <a:pt x="454" y="507"/>
                  <a:pt x="454" y="496"/>
                </a:cubicBezTo>
                <a:cubicBezTo>
                  <a:pt x="454" y="484"/>
                  <a:pt x="445" y="474"/>
                  <a:pt x="433" y="474"/>
                </a:cubicBezTo>
                <a:cubicBezTo>
                  <a:pt x="180" y="474"/>
                  <a:pt x="180" y="474"/>
                  <a:pt x="180" y="474"/>
                </a:cubicBezTo>
                <a:cubicBezTo>
                  <a:pt x="176" y="474"/>
                  <a:pt x="173" y="471"/>
                  <a:pt x="173" y="467"/>
                </a:cubicBezTo>
                <a:cubicBezTo>
                  <a:pt x="173" y="463"/>
                  <a:pt x="176" y="459"/>
                  <a:pt x="180" y="459"/>
                </a:cubicBezTo>
                <a:cubicBezTo>
                  <a:pt x="518" y="459"/>
                  <a:pt x="518" y="459"/>
                  <a:pt x="518" y="459"/>
                </a:cubicBezTo>
                <a:cubicBezTo>
                  <a:pt x="530" y="459"/>
                  <a:pt x="540" y="450"/>
                  <a:pt x="540" y="438"/>
                </a:cubicBezTo>
                <a:cubicBezTo>
                  <a:pt x="540" y="426"/>
                  <a:pt x="530" y="416"/>
                  <a:pt x="518" y="416"/>
                </a:cubicBezTo>
                <a:cubicBezTo>
                  <a:pt x="164" y="416"/>
                  <a:pt x="164" y="416"/>
                  <a:pt x="164" y="416"/>
                </a:cubicBezTo>
                <a:cubicBezTo>
                  <a:pt x="160" y="416"/>
                  <a:pt x="156" y="413"/>
                  <a:pt x="156" y="409"/>
                </a:cubicBezTo>
                <a:cubicBezTo>
                  <a:pt x="156" y="405"/>
                  <a:pt x="160" y="402"/>
                  <a:pt x="164" y="402"/>
                </a:cubicBezTo>
                <a:cubicBezTo>
                  <a:pt x="522" y="402"/>
                  <a:pt x="522" y="402"/>
                  <a:pt x="522" y="402"/>
                </a:cubicBezTo>
                <a:cubicBezTo>
                  <a:pt x="534" y="402"/>
                  <a:pt x="544" y="392"/>
                  <a:pt x="544" y="380"/>
                </a:cubicBezTo>
                <a:cubicBezTo>
                  <a:pt x="544" y="378"/>
                  <a:pt x="543" y="375"/>
                  <a:pt x="543" y="373"/>
                </a:cubicBezTo>
                <a:cubicBezTo>
                  <a:pt x="625" y="373"/>
                  <a:pt x="625" y="373"/>
                  <a:pt x="625" y="373"/>
                </a:cubicBezTo>
                <a:cubicBezTo>
                  <a:pt x="636" y="373"/>
                  <a:pt x="646" y="363"/>
                  <a:pt x="646" y="351"/>
                </a:cubicBezTo>
                <a:cubicBezTo>
                  <a:pt x="646" y="339"/>
                  <a:pt x="636" y="330"/>
                  <a:pt x="625" y="330"/>
                </a:cubicBezTo>
                <a:cubicBezTo>
                  <a:pt x="601" y="330"/>
                  <a:pt x="601" y="330"/>
                  <a:pt x="601" y="330"/>
                </a:cubicBezTo>
                <a:cubicBezTo>
                  <a:pt x="597" y="330"/>
                  <a:pt x="594" y="326"/>
                  <a:pt x="594" y="322"/>
                </a:cubicBezTo>
                <a:cubicBezTo>
                  <a:pt x="594" y="318"/>
                  <a:pt x="597" y="315"/>
                  <a:pt x="601" y="315"/>
                </a:cubicBezTo>
                <a:cubicBezTo>
                  <a:pt x="721" y="315"/>
                  <a:pt x="721" y="315"/>
                  <a:pt x="721" y="315"/>
                </a:cubicBezTo>
                <a:cubicBezTo>
                  <a:pt x="733" y="315"/>
                  <a:pt x="743" y="305"/>
                  <a:pt x="743" y="294"/>
                </a:cubicBezTo>
                <a:cubicBezTo>
                  <a:pt x="743" y="282"/>
                  <a:pt x="733" y="272"/>
                  <a:pt x="721" y="272"/>
                </a:cubicBezTo>
                <a:cubicBezTo>
                  <a:pt x="600" y="272"/>
                  <a:pt x="600" y="272"/>
                  <a:pt x="600" y="272"/>
                </a:cubicBezTo>
                <a:cubicBezTo>
                  <a:pt x="596" y="272"/>
                  <a:pt x="593" y="269"/>
                  <a:pt x="593" y="265"/>
                </a:cubicBezTo>
                <a:cubicBezTo>
                  <a:pt x="593" y="261"/>
                  <a:pt x="596" y="257"/>
                  <a:pt x="600" y="257"/>
                </a:cubicBezTo>
                <a:cubicBezTo>
                  <a:pt x="734" y="257"/>
                  <a:pt x="734" y="257"/>
                  <a:pt x="734" y="257"/>
                </a:cubicBezTo>
                <a:cubicBezTo>
                  <a:pt x="746" y="257"/>
                  <a:pt x="756" y="248"/>
                  <a:pt x="756" y="236"/>
                </a:cubicBezTo>
                <a:cubicBezTo>
                  <a:pt x="756" y="224"/>
                  <a:pt x="746" y="214"/>
                  <a:pt x="734" y="214"/>
                </a:cubicBezTo>
                <a:cubicBezTo>
                  <a:pt x="581" y="214"/>
                  <a:pt x="581" y="214"/>
                  <a:pt x="581" y="214"/>
                </a:cubicBezTo>
                <a:cubicBezTo>
                  <a:pt x="577" y="214"/>
                  <a:pt x="573" y="211"/>
                  <a:pt x="573" y="207"/>
                </a:cubicBezTo>
                <a:cubicBezTo>
                  <a:pt x="573" y="203"/>
                  <a:pt x="577" y="200"/>
                  <a:pt x="581" y="200"/>
                </a:cubicBezTo>
                <a:cubicBezTo>
                  <a:pt x="749" y="200"/>
                  <a:pt x="749" y="200"/>
                  <a:pt x="749" y="200"/>
                </a:cubicBezTo>
                <a:cubicBezTo>
                  <a:pt x="760" y="200"/>
                  <a:pt x="770" y="190"/>
                  <a:pt x="770" y="178"/>
                </a:cubicBezTo>
                <a:cubicBezTo>
                  <a:pt x="770" y="166"/>
                  <a:pt x="760" y="156"/>
                  <a:pt x="749" y="156"/>
                </a:cubicBezTo>
                <a:cubicBezTo>
                  <a:pt x="561" y="156"/>
                  <a:pt x="561" y="156"/>
                  <a:pt x="561" y="156"/>
                </a:cubicBezTo>
                <a:cubicBezTo>
                  <a:pt x="557" y="156"/>
                  <a:pt x="554" y="153"/>
                  <a:pt x="554" y="149"/>
                </a:cubicBezTo>
                <a:cubicBezTo>
                  <a:pt x="554" y="145"/>
                  <a:pt x="557" y="142"/>
                  <a:pt x="561" y="142"/>
                </a:cubicBezTo>
                <a:cubicBezTo>
                  <a:pt x="754" y="142"/>
                  <a:pt x="754" y="142"/>
                  <a:pt x="754" y="142"/>
                </a:cubicBezTo>
                <a:cubicBezTo>
                  <a:pt x="766" y="142"/>
                  <a:pt x="776" y="132"/>
                  <a:pt x="776" y="120"/>
                </a:cubicBezTo>
                <a:cubicBezTo>
                  <a:pt x="776" y="108"/>
                  <a:pt x="766" y="99"/>
                  <a:pt x="754" y="99"/>
                </a:cubicBezTo>
                <a:cubicBezTo>
                  <a:pt x="622" y="99"/>
                  <a:pt x="622" y="99"/>
                  <a:pt x="622" y="99"/>
                </a:cubicBezTo>
                <a:cubicBezTo>
                  <a:pt x="618" y="99"/>
                  <a:pt x="614" y="95"/>
                  <a:pt x="614" y="91"/>
                </a:cubicBezTo>
                <a:cubicBezTo>
                  <a:pt x="614" y="87"/>
                  <a:pt x="618" y="84"/>
                  <a:pt x="622" y="84"/>
                </a:cubicBezTo>
                <a:cubicBezTo>
                  <a:pt x="1237" y="84"/>
                  <a:pt x="1237" y="84"/>
                  <a:pt x="1237" y="84"/>
                </a:cubicBezTo>
                <a:cubicBezTo>
                  <a:pt x="1241" y="84"/>
                  <a:pt x="1244" y="87"/>
                  <a:pt x="1244" y="91"/>
                </a:cubicBezTo>
                <a:cubicBezTo>
                  <a:pt x="1244" y="95"/>
                  <a:pt x="1241" y="99"/>
                  <a:pt x="1237" y="99"/>
                </a:cubicBezTo>
                <a:cubicBezTo>
                  <a:pt x="1225" y="99"/>
                  <a:pt x="1225" y="99"/>
                  <a:pt x="1225" y="99"/>
                </a:cubicBezTo>
                <a:cubicBezTo>
                  <a:pt x="1213" y="99"/>
                  <a:pt x="1203" y="108"/>
                  <a:pt x="1203" y="120"/>
                </a:cubicBezTo>
                <a:cubicBezTo>
                  <a:pt x="1203" y="132"/>
                  <a:pt x="1213" y="142"/>
                  <a:pt x="1225" y="142"/>
                </a:cubicBezTo>
                <a:cubicBezTo>
                  <a:pt x="1693" y="142"/>
                  <a:pt x="1693" y="142"/>
                  <a:pt x="1693" y="142"/>
                </a:cubicBezTo>
                <a:cubicBezTo>
                  <a:pt x="1697" y="142"/>
                  <a:pt x="1701" y="145"/>
                  <a:pt x="1701" y="149"/>
                </a:cubicBezTo>
                <a:cubicBezTo>
                  <a:pt x="1701" y="153"/>
                  <a:pt x="1697" y="156"/>
                  <a:pt x="1693" y="156"/>
                </a:cubicBezTo>
                <a:cubicBezTo>
                  <a:pt x="1075" y="156"/>
                  <a:pt x="1075" y="156"/>
                  <a:pt x="1075" y="156"/>
                </a:cubicBezTo>
                <a:cubicBezTo>
                  <a:pt x="1063" y="156"/>
                  <a:pt x="1054" y="166"/>
                  <a:pt x="1054" y="178"/>
                </a:cubicBezTo>
                <a:cubicBezTo>
                  <a:pt x="1054" y="190"/>
                  <a:pt x="1063" y="200"/>
                  <a:pt x="1075" y="200"/>
                </a:cubicBezTo>
                <a:cubicBezTo>
                  <a:pt x="1686" y="200"/>
                  <a:pt x="1686" y="200"/>
                  <a:pt x="1686" y="200"/>
                </a:cubicBezTo>
                <a:cubicBezTo>
                  <a:pt x="1690" y="200"/>
                  <a:pt x="1693" y="203"/>
                  <a:pt x="1693" y="207"/>
                </a:cubicBezTo>
                <a:cubicBezTo>
                  <a:pt x="1693" y="211"/>
                  <a:pt x="1690" y="214"/>
                  <a:pt x="1686" y="214"/>
                </a:cubicBezTo>
                <a:cubicBezTo>
                  <a:pt x="1145" y="214"/>
                  <a:pt x="1145" y="214"/>
                  <a:pt x="1145" y="214"/>
                </a:cubicBezTo>
                <a:cubicBezTo>
                  <a:pt x="1133" y="214"/>
                  <a:pt x="1123" y="224"/>
                  <a:pt x="1123" y="236"/>
                </a:cubicBezTo>
                <a:cubicBezTo>
                  <a:pt x="1123" y="248"/>
                  <a:pt x="1133" y="257"/>
                  <a:pt x="1145" y="257"/>
                </a:cubicBezTo>
                <a:cubicBezTo>
                  <a:pt x="1683" y="257"/>
                  <a:pt x="1683" y="257"/>
                  <a:pt x="1683" y="257"/>
                </a:cubicBezTo>
                <a:cubicBezTo>
                  <a:pt x="1687" y="257"/>
                  <a:pt x="1691" y="261"/>
                  <a:pt x="1691" y="265"/>
                </a:cubicBezTo>
                <a:cubicBezTo>
                  <a:pt x="1691" y="269"/>
                  <a:pt x="1687" y="272"/>
                  <a:pt x="1683" y="272"/>
                </a:cubicBezTo>
                <a:cubicBezTo>
                  <a:pt x="940" y="272"/>
                  <a:pt x="940" y="272"/>
                  <a:pt x="940" y="272"/>
                </a:cubicBezTo>
                <a:cubicBezTo>
                  <a:pt x="929" y="272"/>
                  <a:pt x="919" y="282"/>
                  <a:pt x="919" y="294"/>
                </a:cubicBezTo>
                <a:cubicBezTo>
                  <a:pt x="919" y="305"/>
                  <a:pt x="929" y="315"/>
                  <a:pt x="940" y="315"/>
                </a:cubicBezTo>
                <a:cubicBezTo>
                  <a:pt x="1553" y="315"/>
                  <a:pt x="1553" y="315"/>
                  <a:pt x="1553" y="315"/>
                </a:cubicBezTo>
                <a:cubicBezTo>
                  <a:pt x="1557" y="315"/>
                  <a:pt x="1561" y="318"/>
                  <a:pt x="1561" y="322"/>
                </a:cubicBezTo>
                <a:cubicBezTo>
                  <a:pt x="1561" y="326"/>
                  <a:pt x="1557" y="330"/>
                  <a:pt x="1553" y="330"/>
                </a:cubicBezTo>
                <a:cubicBezTo>
                  <a:pt x="888" y="330"/>
                  <a:pt x="888" y="330"/>
                  <a:pt x="888" y="330"/>
                </a:cubicBezTo>
                <a:cubicBezTo>
                  <a:pt x="876" y="330"/>
                  <a:pt x="867" y="339"/>
                  <a:pt x="867" y="351"/>
                </a:cubicBezTo>
                <a:cubicBezTo>
                  <a:pt x="867" y="354"/>
                  <a:pt x="867" y="356"/>
                  <a:pt x="868" y="358"/>
                </a:cubicBezTo>
                <a:close/>
              </a:path>
            </a:pathLst>
          </a:custGeom>
          <a:solidFill>
            <a:srgbClr val="FFFFFF"/>
          </a:solidFill>
          <a:ln>
            <a:noFill/>
          </a:ln>
        </p:spPr>
        <p:txBody>
          <a:bodyPr vert="horz" wrap="square" lIns="67893" tIns="33945" rIns="67893" bIns="33945" numCol="1" anchor="t" anchorCtr="0" compatLnSpc="1">
            <a:prstTxWarp prst="textNoShape">
              <a:avLst/>
            </a:prstTxWarp>
          </a:bodyPr>
          <a:lstStyle/>
          <a:p>
            <a:endParaRPr lang="en-US" sz="1114"/>
          </a:p>
        </p:txBody>
      </p:sp>
      <p:pic>
        <p:nvPicPr>
          <p:cNvPr id="16" name="MS logo white - EMF" descr="Microsoft logo white text version">
            <a:extLst>
              <a:ext uri="{FF2B5EF4-FFF2-40B4-BE49-F238E27FC236}">
                <a16:creationId xmlns:a16="http://schemas.microsoft.com/office/drawing/2014/main" id="{B39A48BC-201E-467B-BE62-B0CCC3548A6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8346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and Bullets">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69304" y="1187646"/>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384" y="6043944"/>
            <a:ext cx="1880002" cy="805829"/>
          </a:xfrm>
          <a:prstGeom prst="rect">
            <a:avLst/>
          </a:prstGeom>
        </p:spPr>
      </p:pic>
      <p:sp>
        <p:nvSpPr>
          <p:cNvPr id="7"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A2976F41-3A97-445D-9E07-C5C27A872DA7}" type="slidenum">
              <a:rPr lang="en-US" smtClean="0"/>
              <a:t>‹#›</a:t>
            </a:fld>
            <a:endParaRPr lang="en-US"/>
          </a:p>
        </p:txBody>
      </p:sp>
    </p:spTree>
    <p:extLst>
      <p:ext uri="{BB962C8B-B14F-4D97-AF65-F5344CB8AC3E}">
        <p14:creationId xmlns:p14="http://schemas.microsoft.com/office/powerpoint/2010/main" val="45554546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090427"/>
          </a:xfrm>
          <a:noFill/>
        </p:spPr>
        <p:txBody>
          <a:bodyPr tIns="91440" bIns="91440" anchor="t" anchorCtr="0">
            <a:spAutoFit/>
          </a:bodyPr>
          <a:lstStyle>
            <a:lvl1pPr>
              <a:defRPr sz="6540" spc="-91" baseline="0">
                <a:gradFill>
                  <a:gsLst>
                    <a:gs pos="100000">
                      <a:schemeClr val="tx1"/>
                    </a:gs>
                    <a:gs pos="0">
                      <a:schemeClr val="tx1"/>
                    </a:gs>
                  </a:gsLst>
                  <a:lin ang="5400000" scaled="0"/>
                </a:gradFill>
              </a:defRPr>
            </a:lvl1pPr>
          </a:lstStyle>
          <a:p>
            <a:r>
              <a:rPr lang="en-US"/>
              <a:t>Section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23517063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81553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61596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4_Title Slide Photo_Option">
    <p:bg>
      <p:bgPr>
        <a:solidFill>
          <a:srgbClr val="0070C0"/>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 y="0"/>
            <a:ext cx="5878286" cy="6858000"/>
          </a:xfrm>
          <a:prstGeom prst="rect">
            <a:avLst/>
          </a:prstGeom>
          <a:solidFill>
            <a:srgbClr val="002050">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5784" tIns="108626" rIns="135784" bIns="108626" numCol="1" spcCol="0" rtlCol="0" fromWordArt="0" anchor="t" anchorCtr="0" forceAA="0" compatLnSpc="1">
            <a:prstTxWarp prst="textNoShape">
              <a:avLst/>
            </a:prstTxWarp>
            <a:noAutofit/>
          </a:bodyPr>
          <a:lstStyle/>
          <a:p>
            <a:pPr algn="ctr" defTabSz="692461" fontAlgn="base">
              <a:lnSpc>
                <a:spcPct val="90000"/>
              </a:lnSpc>
              <a:spcBef>
                <a:spcPct val="0"/>
              </a:spcBef>
              <a:spcAft>
                <a:spcPct val="0"/>
              </a:spcAft>
            </a:pPr>
            <a:endParaRPr lang="en-US" sz="1782">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43" y="2084189"/>
            <a:ext cx="5826761" cy="1793104"/>
          </a:xfrm>
          <a:noFill/>
        </p:spPr>
        <p:txBody>
          <a:bodyPr lIns="146304" tIns="91440" rIns="146304" bIns="91440" anchor="t" anchorCtr="0"/>
          <a:lstStyle>
            <a:lvl1pPr>
              <a:defRPr sz="4010" spc="-75" baseline="0">
                <a:gradFill>
                  <a:gsLst>
                    <a:gs pos="86111">
                      <a:schemeClr val="tx1"/>
                    </a:gs>
                    <a:gs pos="76250">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23" y="3877271"/>
            <a:ext cx="5826761" cy="1789991"/>
          </a:xfrm>
        </p:spPr>
        <p:txBody>
          <a:bodyPr tIns="109728" bIns="109728">
            <a:noAutofit/>
          </a:bodyPr>
          <a:lstStyle>
            <a:lvl1pPr marL="0" indent="0">
              <a:spcBef>
                <a:spcPts val="0"/>
              </a:spcBef>
              <a:buNone/>
              <a:defRPr sz="2376">
                <a:gradFill>
                  <a:gsLst>
                    <a:gs pos="25926">
                      <a:schemeClr val="tx1"/>
                    </a:gs>
                    <a:gs pos="51000">
                      <a:schemeClr val="tx1"/>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525" y="6229914"/>
            <a:ext cx="1570718" cy="299186"/>
            <a:chOff x="457200" y="1643393"/>
            <a:chExt cx="4492753" cy="964540"/>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114"/>
            </a:p>
          </p:txBody>
        </p:sp>
      </p:grpSp>
      <p:sp>
        <p:nvSpPr>
          <p:cNvPr id="13" name="Freeform 6"/>
          <p:cNvSpPr>
            <a:spLocks noEditPoints="1"/>
          </p:cNvSpPr>
          <p:nvPr userDrawn="1"/>
        </p:nvSpPr>
        <p:spPr bwMode="auto">
          <a:xfrm>
            <a:off x="5973487" y="2103611"/>
            <a:ext cx="6096001" cy="3566769"/>
          </a:xfrm>
          <a:custGeom>
            <a:avLst/>
            <a:gdLst>
              <a:gd name="T0" fmla="*/ 1776 w 2020"/>
              <a:gd name="T1" fmla="*/ 1074 h 1182"/>
              <a:gd name="T2" fmla="*/ 1629 w 2020"/>
              <a:gd name="T3" fmla="*/ 1146 h 1182"/>
              <a:gd name="T4" fmla="*/ 1498 w 2020"/>
              <a:gd name="T5" fmla="*/ 1016 h 1182"/>
              <a:gd name="T6" fmla="*/ 1543 w 2020"/>
              <a:gd name="T7" fmla="*/ 901 h 1182"/>
              <a:gd name="T8" fmla="*/ 1585 w 2020"/>
              <a:gd name="T9" fmla="*/ 785 h 1182"/>
              <a:gd name="T10" fmla="*/ 1314 w 2020"/>
              <a:gd name="T11" fmla="*/ 756 h 1182"/>
              <a:gd name="T12" fmla="*/ 1061 w 2020"/>
              <a:gd name="T13" fmla="*/ 640 h 1182"/>
              <a:gd name="T14" fmla="*/ 1032 w 2020"/>
              <a:gd name="T15" fmla="*/ 525 h 1182"/>
              <a:gd name="T16" fmla="*/ 848 w 2020"/>
              <a:gd name="T17" fmla="*/ 409 h 1182"/>
              <a:gd name="T18" fmla="*/ 1553 w 2020"/>
              <a:gd name="T19" fmla="*/ 301 h 1182"/>
              <a:gd name="T20" fmla="*/ 1686 w 2020"/>
              <a:gd name="T21" fmla="*/ 185 h 1182"/>
              <a:gd name="T22" fmla="*/ 1237 w 2020"/>
              <a:gd name="T23" fmla="*/ 70 h 1182"/>
              <a:gd name="T24" fmla="*/ 749 w 2020"/>
              <a:gd name="T25" fmla="*/ 185 h 1182"/>
              <a:gd name="T26" fmla="*/ 721 w 2020"/>
              <a:gd name="T27" fmla="*/ 301 h 1182"/>
              <a:gd name="T28" fmla="*/ 366 w 2020"/>
              <a:gd name="T29" fmla="*/ 344 h 1182"/>
              <a:gd name="T30" fmla="*/ 237 w 2020"/>
              <a:gd name="T31" fmla="*/ 228 h 1182"/>
              <a:gd name="T32" fmla="*/ 318 w 2020"/>
              <a:gd name="T33" fmla="*/ 38 h 1182"/>
              <a:gd name="T34" fmla="*/ 353 w 2020"/>
              <a:gd name="T35" fmla="*/ 264 h 1182"/>
              <a:gd name="T36" fmla="*/ 497 w 2020"/>
              <a:gd name="T37" fmla="*/ 373 h 1182"/>
              <a:gd name="T38" fmla="*/ 180 w 2020"/>
              <a:gd name="T39" fmla="*/ 488 h 1182"/>
              <a:gd name="T40" fmla="*/ 190 w 2020"/>
              <a:gd name="T41" fmla="*/ 604 h 1182"/>
              <a:gd name="T42" fmla="*/ 273 w 2020"/>
              <a:gd name="T43" fmla="*/ 720 h 1182"/>
              <a:gd name="T44" fmla="*/ 377 w 2020"/>
              <a:gd name="T45" fmla="*/ 835 h 1182"/>
              <a:gd name="T46" fmla="*/ 446 w 2020"/>
              <a:gd name="T47" fmla="*/ 951 h 1182"/>
              <a:gd name="T48" fmla="*/ 443 w 2020"/>
              <a:gd name="T49" fmla="*/ 1066 h 1182"/>
              <a:gd name="T50" fmla="*/ 955 w 2020"/>
              <a:gd name="T51" fmla="*/ 1030 h 1182"/>
              <a:gd name="T52" fmla="*/ 912 w 2020"/>
              <a:gd name="T53" fmla="*/ 900 h 1182"/>
              <a:gd name="T54" fmla="*/ 898 w 2020"/>
              <a:gd name="T55" fmla="*/ 785 h 1182"/>
              <a:gd name="T56" fmla="*/ 755 w 2020"/>
              <a:gd name="T57" fmla="*/ 669 h 1182"/>
              <a:gd name="T58" fmla="*/ 798 w 2020"/>
              <a:gd name="T59" fmla="*/ 553 h 1182"/>
              <a:gd name="T60" fmla="*/ 761 w 2020"/>
              <a:gd name="T61" fmla="*/ 438 h 1182"/>
              <a:gd name="T62" fmla="*/ 1592 w 2020"/>
              <a:gd name="T63" fmla="*/ 388 h 1182"/>
              <a:gd name="T64" fmla="*/ 1553 w 2020"/>
              <a:gd name="T65" fmla="*/ 503 h 1182"/>
              <a:gd name="T66" fmla="*/ 1526 w 2020"/>
              <a:gd name="T67" fmla="*/ 619 h 1182"/>
              <a:gd name="T68" fmla="*/ 1454 w 2020"/>
              <a:gd name="T69" fmla="*/ 734 h 1182"/>
              <a:gd name="T70" fmla="*/ 1623 w 2020"/>
              <a:gd name="T71" fmla="*/ 792 h 1182"/>
              <a:gd name="T72" fmla="*/ 1681 w 2020"/>
              <a:gd name="T73" fmla="*/ 879 h 1182"/>
              <a:gd name="T74" fmla="*/ 1712 w 2020"/>
              <a:gd name="T75" fmla="*/ 995 h 1182"/>
              <a:gd name="T76" fmla="*/ 1658 w 2020"/>
              <a:gd name="T77" fmla="*/ 1110 h 1182"/>
              <a:gd name="T78" fmla="*/ 1824 w 2020"/>
              <a:gd name="T79" fmla="*/ 1081 h 1182"/>
              <a:gd name="T80" fmla="*/ 2020 w 2020"/>
              <a:gd name="T81" fmla="*/ 870 h 1182"/>
              <a:gd name="T82" fmla="*/ 969 w 2020"/>
              <a:gd name="T83" fmla="*/ 459 h 1182"/>
              <a:gd name="T84" fmla="*/ 860 w 2020"/>
              <a:gd name="T85" fmla="*/ 575 h 1182"/>
              <a:gd name="T86" fmla="*/ 1046 w 2020"/>
              <a:gd name="T87" fmla="*/ 691 h 1182"/>
              <a:gd name="T88" fmla="*/ 1049 w 2020"/>
              <a:gd name="T89" fmla="*/ 806 h 1182"/>
              <a:gd name="T90" fmla="*/ 1017 w 2020"/>
              <a:gd name="T91" fmla="*/ 922 h 1182"/>
              <a:gd name="T92" fmla="*/ 1017 w 2020"/>
              <a:gd name="T93" fmla="*/ 1066 h 1182"/>
              <a:gd name="T94" fmla="*/ 495 w 2020"/>
              <a:gd name="T95" fmla="*/ 1037 h 1182"/>
              <a:gd name="T96" fmla="*/ 593 w 2020"/>
              <a:gd name="T97" fmla="*/ 922 h 1182"/>
              <a:gd name="T98" fmla="*/ 529 w 2020"/>
              <a:gd name="T99" fmla="*/ 806 h 1182"/>
              <a:gd name="T100" fmla="*/ 276 w 2020"/>
              <a:gd name="T101" fmla="*/ 691 h 1182"/>
              <a:gd name="T102" fmla="*/ 381 w 2020"/>
              <a:gd name="T103" fmla="*/ 575 h 1182"/>
              <a:gd name="T104" fmla="*/ 518 w 2020"/>
              <a:gd name="T105" fmla="*/ 459 h 1182"/>
              <a:gd name="T106" fmla="*/ 601 w 2020"/>
              <a:gd name="T107" fmla="*/ 330 h 1182"/>
              <a:gd name="T108" fmla="*/ 581 w 2020"/>
              <a:gd name="T109" fmla="*/ 214 h 1182"/>
              <a:gd name="T110" fmla="*/ 622 w 2020"/>
              <a:gd name="T111" fmla="*/ 99 h 1182"/>
              <a:gd name="T112" fmla="*/ 1075 w 2020"/>
              <a:gd name="T113" fmla="*/ 156 h 1182"/>
              <a:gd name="T114" fmla="*/ 940 w 2020"/>
              <a:gd name="T115" fmla="*/ 272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0" h="1182">
                <a:moveTo>
                  <a:pt x="2001" y="851"/>
                </a:moveTo>
                <a:cubicBezTo>
                  <a:pt x="1990" y="851"/>
                  <a:pt x="1982" y="860"/>
                  <a:pt x="1982" y="870"/>
                </a:cubicBezTo>
                <a:cubicBezTo>
                  <a:pt x="1982" y="878"/>
                  <a:pt x="1987" y="885"/>
                  <a:pt x="1994" y="887"/>
                </a:cubicBezTo>
                <a:cubicBezTo>
                  <a:pt x="1988" y="947"/>
                  <a:pt x="1938" y="995"/>
                  <a:pt x="1876" y="995"/>
                </a:cubicBezTo>
                <a:cubicBezTo>
                  <a:pt x="1791" y="995"/>
                  <a:pt x="1791" y="995"/>
                  <a:pt x="1791" y="995"/>
                </a:cubicBezTo>
                <a:cubicBezTo>
                  <a:pt x="1779" y="995"/>
                  <a:pt x="1770" y="1004"/>
                  <a:pt x="1770" y="1016"/>
                </a:cubicBezTo>
                <a:cubicBezTo>
                  <a:pt x="1770" y="1028"/>
                  <a:pt x="1779" y="1038"/>
                  <a:pt x="1791" y="1038"/>
                </a:cubicBezTo>
                <a:cubicBezTo>
                  <a:pt x="1843" y="1038"/>
                  <a:pt x="1843" y="1038"/>
                  <a:pt x="1843" y="1038"/>
                </a:cubicBezTo>
                <a:cubicBezTo>
                  <a:pt x="1847" y="1038"/>
                  <a:pt x="1850" y="1041"/>
                  <a:pt x="1850" y="1045"/>
                </a:cubicBezTo>
                <a:cubicBezTo>
                  <a:pt x="1850" y="1049"/>
                  <a:pt x="1847" y="1052"/>
                  <a:pt x="1843" y="1052"/>
                </a:cubicBezTo>
                <a:cubicBezTo>
                  <a:pt x="1797" y="1052"/>
                  <a:pt x="1797" y="1052"/>
                  <a:pt x="1797" y="1052"/>
                </a:cubicBezTo>
                <a:cubicBezTo>
                  <a:pt x="1785" y="1052"/>
                  <a:pt x="1776" y="1062"/>
                  <a:pt x="1776" y="1074"/>
                </a:cubicBezTo>
                <a:cubicBezTo>
                  <a:pt x="1776" y="1086"/>
                  <a:pt x="1785" y="1096"/>
                  <a:pt x="1797" y="1096"/>
                </a:cubicBezTo>
                <a:cubicBezTo>
                  <a:pt x="1824" y="1096"/>
                  <a:pt x="1824" y="1096"/>
                  <a:pt x="1824" y="1096"/>
                </a:cubicBezTo>
                <a:cubicBezTo>
                  <a:pt x="1828" y="1096"/>
                  <a:pt x="1832" y="1099"/>
                  <a:pt x="1832" y="1103"/>
                </a:cubicBezTo>
                <a:cubicBezTo>
                  <a:pt x="1832" y="1107"/>
                  <a:pt x="1828" y="1110"/>
                  <a:pt x="1824" y="1110"/>
                </a:cubicBezTo>
                <a:cubicBezTo>
                  <a:pt x="1766" y="1110"/>
                  <a:pt x="1766" y="1110"/>
                  <a:pt x="1766" y="1110"/>
                </a:cubicBezTo>
                <a:cubicBezTo>
                  <a:pt x="1754" y="1110"/>
                  <a:pt x="1744" y="1120"/>
                  <a:pt x="1744" y="1132"/>
                </a:cubicBezTo>
                <a:cubicBezTo>
                  <a:pt x="1744" y="1144"/>
                  <a:pt x="1754" y="1153"/>
                  <a:pt x="1766" y="1153"/>
                </a:cubicBezTo>
                <a:cubicBezTo>
                  <a:pt x="1789" y="1153"/>
                  <a:pt x="1789" y="1153"/>
                  <a:pt x="1789" y="1153"/>
                </a:cubicBezTo>
                <a:cubicBezTo>
                  <a:pt x="1793" y="1153"/>
                  <a:pt x="1797" y="1157"/>
                  <a:pt x="1797" y="1161"/>
                </a:cubicBezTo>
                <a:cubicBezTo>
                  <a:pt x="1797" y="1165"/>
                  <a:pt x="1793" y="1168"/>
                  <a:pt x="1789" y="1168"/>
                </a:cubicBezTo>
                <a:cubicBezTo>
                  <a:pt x="1650" y="1168"/>
                  <a:pt x="1650" y="1168"/>
                  <a:pt x="1650" y="1168"/>
                </a:cubicBezTo>
                <a:cubicBezTo>
                  <a:pt x="1638" y="1168"/>
                  <a:pt x="1629" y="1158"/>
                  <a:pt x="1629" y="1146"/>
                </a:cubicBezTo>
                <a:cubicBezTo>
                  <a:pt x="1629" y="1134"/>
                  <a:pt x="1638" y="1125"/>
                  <a:pt x="1650" y="1125"/>
                </a:cubicBezTo>
                <a:cubicBezTo>
                  <a:pt x="1658" y="1125"/>
                  <a:pt x="1658" y="1125"/>
                  <a:pt x="1658" y="1125"/>
                </a:cubicBezTo>
                <a:cubicBezTo>
                  <a:pt x="1670" y="1125"/>
                  <a:pt x="1680" y="1115"/>
                  <a:pt x="1680" y="1103"/>
                </a:cubicBezTo>
                <a:cubicBezTo>
                  <a:pt x="1680" y="1091"/>
                  <a:pt x="1670" y="1081"/>
                  <a:pt x="1658" y="1081"/>
                </a:cubicBezTo>
                <a:cubicBezTo>
                  <a:pt x="1635" y="1081"/>
                  <a:pt x="1635" y="1081"/>
                  <a:pt x="1635" y="1081"/>
                </a:cubicBezTo>
                <a:cubicBezTo>
                  <a:pt x="1631" y="1081"/>
                  <a:pt x="1628" y="1078"/>
                  <a:pt x="1628" y="1074"/>
                </a:cubicBezTo>
                <a:cubicBezTo>
                  <a:pt x="1628" y="1070"/>
                  <a:pt x="1631" y="1067"/>
                  <a:pt x="1635" y="1067"/>
                </a:cubicBezTo>
                <a:cubicBezTo>
                  <a:pt x="1693" y="1067"/>
                  <a:pt x="1693" y="1067"/>
                  <a:pt x="1693" y="1067"/>
                </a:cubicBezTo>
                <a:cubicBezTo>
                  <a:pt x="1705" y="1067"/>
                  <a:pt x="1715" y="1057"/>
                  <a:pt x="1715" y="1045"/>
                </a:cubicBezTo>
                <a:cubicBezTo>
                  <a:pt x="1715" y="1033"/>
                  <a:pt x="1705" y="1024"/>
                  <a:pt x="1693" y="1024"/>
                </a:cubicBezTo>
                <a:cubicBezTo>
                  <a:pt x="1505" y="1024"/>
                  <a:pt x="1505" y="1024"/>
                  <a:pt x="1505" y="1024"/>
                </a:cubicBezTo>
                <a:cubicBezTo>
                  <a:pt x="1501" y="1024"/>
                  <a:pt x="1498" y="1020"/>
                  <a:pt x="1498" y="1016"/>
                </a:cubicBezTo>
                <a:cubicBezTo>
                  <a:pt x="1498" y="1012"/>
                  <a:pt x="1501" y="1009"/>
                  <a:pt x="1505" y="1009"/>
                </a:cubicBezTo>
                <a:cubicBezTo>
                  <a:pt x="1712" y="1009"/>
                  <a:pt x="1712" y="1009"/>
                  <a:pt x="1712" y="1009"/>
                </a:cubicBezTo>
                <a:cubicBezTo>
                  <a:pt x="1724" y="1009"/>
                  <a:pt x="1733" y="999"/>
                  <a:pt x="1733" y="987"/>
                </a:cubicBezTo>
                <a:cubicBezTo>
                  <a:pt x="1733" y="975"/>
                  <a:pt x="1724" y="966"/>
                  <a:pt x="1712" y="966"/>
                </a:cubicBezTo>
                <a:cubicBezTo>
                  <a:pt x="1504" y="966"/>
                  <a:pt x="1504" y="966"/>
                  <a:pt x="1504" y="966"/>
                </a:cubicBezTo>
                <a:cubicBezTo>
                  <a:pt x="1500" y="966"/>
                  <a:pt x="1496" y="962"/>
                  <a:pt x="1496" y="958"/>
                </a:cubicBezTo>
                <a:cubicBezTo>
                  <a:pt x="1496" y="954"/>
                  <a:pt x="1500" y="951"/>
                  <a:pt x="1504" y="951"/>
                </a:cubicBezTo>
                <a:cubicBezTo>
                  <a:pt x="1697" y="951"/>
                  <a:pt x="1697" y="951"/>
                  <a:pt x="1697" y="951"/>
                </a:cubicBezTo>
                <a:cubicBezTo>
                  <a:pt x="1709" y="951"/>
                  <a:pt x="1718" y="941"/>
                  <a:pt x="1718" y="929"/>
                </a:cubicBezTo>
                <a:cubicBezTo>
                  <a:pt x="1718" y="918"/>
                  <a:pt x="1709" y="908"/>
                  <a:pt x="1697" y="908"/>
                </a:cubicBezTo>
                <a:cubicBezTo>
                  <a:pt x="1550" y="908"/>
                  <a:pt x="1550" y="908"/>
                  <a:pt x="1550" y="908"/>
                </a:cubicBezTo>
                <a:cubicBezTo>
                  <a:pt x="1546" y="908"/>
                  <a:pt x="1543" y="905"/>
                  <a:pt x="1543" y="901"/>
                </a:cubicBezTo>
                <a:cubicBezTo>
                  <a:pt x="1543" y="897"/>
                  <a:pt x="1546" y="893"/>
                  <a:pt x="1550" y="893"/>
                </a:cubicBezTo>
                <a:cubicBezTo>
                  <a:pt x="1681" y="893"/>
                  <a:pt x="1681" y="893"/>
                  <a:pt x="1681" y="893"/>
                </a:cubicBezTo>
                <a:cubicBezTo>
                  <a:pt x="1701" y="893"/>
                  <a:pt x="1718" y="877"/>
                  <a:pt x="1718" y="857"/>
                </a:cubicBezTo>
                <a:cubicBezTo>
                  <a:pt x="1718" y="837"/>
                  <a:pt x="1701" y="821"/>
                  <a:pt x="1681" y="821"/>
                </a:cubicBezTo>
                <a:cubicBezTo>
                  <a:pt x="1673" y="821"/>
                  <a:pt x="1673" y="821"/>
                  <a:pt x="1673" y="821"/>
                </a:cubicBezTo>
                <a:cubicBezTo>
                  <a:pt x="1669" y="821"/>
                  <a:pt x="1666" y="818"/>
                  <a:pt x="1666" y="814"/>
                </a:cubicBezTo>
                <a:cubicBezTo>
                  <a:pt x="1666" y="810"/>
                  <a:pt x="1669" y="807"/>
                  <a:pt x="1673" y="807"/>
                </a:cubicBezTo>
                <a:cubicBezTo>
                  <a:pt x="1683" y="807"/>
                  <a:pt x="1683" y="807"/>
                  <a:pt x="1683" y="807"/>
                </a:cubicBezTo>
                <a:cubicBezTo>
                  <a:pt x="1694" y="807"/>
                  <a:pt x="1704" y="797"/>
                  <a:pt x="1704" y="785"/>
                </a:cubicBezTo>
                <a:cubicBezTo>
                  <a:pt x="1704" y="773"/>
                  <a:pt x="1694" y="763"/>
                  <a:pt x="1683" y="763"/>
                </a:cubicBezTo>
                <a:cubicBezTo>
                  <a:pt x="1607" y="763"/>
                  <a:pt x="1607" y="763"/>
                  <a:pt x="1607" y="763"/>
                </a:cubicBezTo>
                <a:cubicBezTo>
                  <a:pt x="1595" y="763"/>
                  <a:pt x="1585" y="773"/>
                  <a:pt x="1585" y="785"/>
                </a:cubicBezTo>
                <a:cubicBezTo>
                  <a:pt x="1585" y="797"/>
                  <a:pt x="1595" y="807"/>
                  <a:pt x="1607" y="807"/>
                </a:cubicBezTo>
                <a:cubicBezTo>
                  <a:pt x="1623" y="807"/>
                  <a:pt x="1623" y="807"/>
                  <a:pt x="1623" y="807"/>
                </a:cubicBezTo>
                <a:cubicBezTo>
                  <a:pt x="1627" y="807"/>
                  <a:pt x="1631" y="810"/>
                  <a:pt x="1631" y="814"/>
                </a:cubicBezTo>
                <a:cubicBezTo>
                  <a:pt x="1631" y="818"/>
                  <a:pt x="1627" y="821"/>
                  <a:pt x="1623" y="821"/>
                </a:cubicBezTo>
                <a:cubicBezTo>
                  <a:pt x="1455" y="821"/>
                  <a:pt x="1455" y="821"/>
                  <a:pt x="1455" y="821"/>
                </a:cubicBezTo>
                <a:cubicBezTo>
                  <a:pt x="1451" y="821"/>
                  <a:pt x="1448" y="818"/>
                  <a:pt x="1448" y="814"/>
                </a:cubicBezTo>
                <a:cubicBezTo>
                  <a:pt x="1448" y="810"/>
                  <a:pt x="1451" y="807"/>
                  <a:pt x="1455" y="807"/>
                </a:cubicBezTo>
                <a:cubicBezTo>
                  <a:pt x="1549" y="807"/>
                  <a:pt x="1549" y="807"/>
                  <a:pt x="1549" y="807"/>
                </a:cubicBezTo>
                <a:cubicBezTo>
                  <a:pt x="1561" y="807"/>
                  <a:pt x="1571" y="797"/>
                  <a:pt x="1571" y="785"/>
                </a:cubicBezTo>
                <a:cubicBezTo>
                  <a:pt x="1571" y="773"/>
                  <a:pt x="1561" y="763"/>
                  <a:pt x="1549" y="763"/>
                </a:cubicBezTo>
                <a:cubicBezTo>
                  <a:pt x="1321" y="763"/>
                  <a:pt x="1321" y="763"/>
                  <a:pt x="1321" y="763"/>
                </a:cubicBezTo>
                <a:cubicBezTo>
                  <a:pt x="1317" y="763"/>
                  <a:pt x="1314" y="760"/>
                  <a:pt x="1314" y="756"/>
                </a:cubicBezTo>
                <a:cubicBezTo>
                  <a:pt x="1314" y="752"/>
                  <a:pt x="1317" y="749"/>
                  <a:pt x="1321" y="749"/>
                </a:cubicBezTo>
                <a:cubicBezTo>
                  <a:pt x="1454" y="749"/>
                  <a:pt x="1454" y="749"/>
                  <a:pt x="1454" y="749"/>
                </a:cubicBezTo>
                <a:cubicBezTo>
                  <a:pt x="1466" y="749"/>
                  <a:pt x="1475" y="739"/>
                  <a:pt x="1475" y="727"/>
                </a:cubicBezTo>
                <a:cubicBezTo>
                  <a:pt x="1475" y="715"/>
                  <a:pt x="1466" y="706"/>
                  <a:pt x="1454" y="706"/>
                </a:cubicBezTo>
                <a:cubicBezTo>
                  <a:pt x="1287" y="706"/>
                  <a:pt x="1287" y="706"/>
                  <a:pt x="1287" y="706"/>
                </a:cubicBezTo>
                <a:cubicBezTo>
                  <a:pt x="1283" y="706"/>
                  <a:pt x="1280" y="702"/>
                  <a:pt x="1280" y="698"/>
                </a:cubicBezTo>
                <a:cubicBezTo>
                  <a:pt x="1280" y="694"/>
                  <a:pt x="1283" y="691"/>
                  <a:pt x="1287" y="691"/>
                </a:cubicBezTo>
                <a:cubicBezTo>
                  <a:pt x="1436" y="691"/>
                  <a:pt x="1436" y="691"/>
                  <a:pt x="1436" y="691"/>
                </a:cubicBezTo>
                <a:cubicBezTo>
                  <a:pt x="1448" y="691"/>
                  <a:pt x="1458" y="681"/>
                  <a:pt x="1458" y="669"/>
                </a:cubicBezTo>
                <a:cubicBezTo>
                  <a:pt x="1458" y="657"/>
                  <a:pt x="1448" y="648"/>
                  <a:pt x="1436" y="648"/>
                </a:cubicBezTo>
                <a:cubicBezTo>
                  <a:pt x="1068" y="648"/>
                  <a:pt x="1068" y="648"/>
                  <a:pt x="1068" y="648"/>
                </a:cubicBezTo>
                <a:cubicBezTo>
                  <a:pt x="1064" y="648"/>
                  <a:pt x="1061" y="644"/>
                  <a:pt x="1061" y="640"/>
                </a:cubicBezTo>
                <a:cubicBezTo>
                  <a:pt x="1061" y="636"/>
                  <a:pt x="1064" y="633"/>
                  <a:pt x="1068" y="633"/>
                </a:cubicBezTo>
                <a:cubicBezTo>
                  <a:pt x="1526" y="633"/>
                  <a:pt x="1526" y="633"/>
                  <a:pt x="1526" y="633"/>
                </a:cubicBezTo>
                <a:cubicBezTo>
                  <a:pt x="1538" y="633"/>
                  <a:pt x="1548" y="623"/>
                  <a:pt x="1548" y="612"/>
                </a:cubicBezTo>
                <a:cubicBezTo>
                  <a:pt x="1548" y="600"/>
                  <a:pt x="1538" y="590"/>
                  <a:pt x="1526" y="590"/>
                </a:cubicBezTo>
                <a:cubicBezTo>
                  <a:pt x="1019" y="590"/>
                  <a:pt x="1019" y="590"/>
                  <a:pt x="1019" y="590"/>
                </a:cubicBezTo>
                <a:cubicBezTo>
                  <a:pt x="1015" y="590"/>
                  <a:pt x="1012" y="587"/>
                  <a:pt x="1012" y="583"/>
                </a:cubicBezTo>
                <a:cubicBezTo>
                  <a:pt x="1012" y="579"/>
                  <a:pt x="1015" y="575"/>
                  <a:pt x="1019" y="575"/>
                </a:cubicBezTo>
                <a:cubicBezTo>
                  <a:pt x="1528" y="575"/>
                  <a:pt x="1528" y="575"/>
                  <a:pt x="1528" y="575"/>
                </a:cubicBezTo>
                <a:cubicBezTo>
                  <a:pt x="1540" y="575"/>
                  <a:pt x="1550" y="566"/>
                  <a:pt x="1550" y="554"/>
                </a:cubicBezTo>
                <a:cubicBezTo>
                  <a:pt x="1550" y="542"/>
                  <a:pt x="1540" y="532"/>
                  <a:pt x="1528" y="532"/>
                </a:cubicBezTo>
                <a:cubicBezTo>
                  <a:pt x="1039" y="532"/>
                  <a:pt x="1039" y="532"/>
                  <a:pt x="1039" y="532"/>
                </a:cubicBezTo>
                <a:cubicBezTo>
                  <a:pt x="1035" y="532"/>
                  <a:pt x="1032" y="529"/>
                  <a:pt x="1032" y="525"/>
                </a:cubicBezTo>
                <a:cubicBezTo>
                  <a:pt x="1032" y="521"/>
                  <a:pt x="1035" y="518"/>
                  <a:pt x="1039" y="518"/>
                </a:cubicBezTo>
                <a:cubicBezTo>
                  <a:pt x="1553" y="518"/>
                  <a:pt x="1553" y="518"/>
                  <a:pt x="1553" y="518"/>
                </a:cubicBezTo>
                <a:cubicBezTo>
                  <a:pt x="1564" y="518"/>
                  <a:pt x="1574" y="508"/>
                  <a:pt x="1574" y="496"/>
                </a:cubicBezTo>
                <a:cubicBezTo>
                  <a:pt x="1574" y="484"/>
                  <a:pt x="1564" y="474"/>
                  <a:pt x="1553" y="474"/>
                </a:cubicBezTo>
                <a:cubicBezTo>
                  <a:pt x="1039" y="474"/>
                  <a:pt x="1039" y="474"/>
                  <a:pt x="1039" y="474"/>
                </a:cubicBezTo>
                <a:cubicBezTo>
                  <a:pt x="1035" y="474"/>
                  <a:pt x="1032" y="471"/>
                  <a:pt x="1032" y="467"/>
                </a:cubicBezTo>
                <a:cubicBezTo>
                  <a:pt x="1032" y="463"/>
                  <a:pt x="1035" y="460"/>
                  <a:pt x="1039" y="460"/>
                </a:cubicBezTo>
                <a:cubicBezTo>
                  <a:pt x="1592" y="460"/>
                  <a:pt x="1592" y="460"/>
                  <a:pt x="1592" y="460"/>
                </a:cubicBezTo>
                <a:cubicBezTo>
                  <a:pt x="1603" y="460"/>
                  <a:pt x="1613" y="450"/>
                  <a:pt x="1613" y="438"/>
                </a:cubicBezTo>
                <a:cubicBezTo>
                  <a:pt x="1613" y="426"/>
                  <a:pt x="1603" y="416"/>
                  <a:pt x="1592" y="416"/>
                </a:cubicBezTo>
                <a:cubicBezTo>
                  <a:pt x="855" y="416"/>
                  <a:pt x="855" y="416"/>
                  <a:pt x="855" y="416"/>
                </a:cubicBezTo>
                <a:cubicBezTo>
                  <a:pt x="851" y="416"/>
                  <a:pt x="848" y="413"/>
                  <a:pt x="848" y="409"/>
                </a:cubicBezTo>
                <a:cubicBezTo>
                  <a:pt x="848" y="405"/>
                  <a:pt x="851" y="402"/>
                  <a:pt x="855" y="402"/>
                </a:cubicBezTo>
                <a:cubicBezTo>
                  <a:pt x="1592" y="402"/>
                  <a:pt x="1592" y="402"/>
                  <a:pt x="1592" y="402"/>
                </a:cubicBezTo>
                <a:cubicBezTo>
                  <a:pt x="1603" y="402"/>
                  <a:pt x="1613" y="392"/>
                  <a:pt x="1613" y="380"/>
                </a:cubicBezTo>
                <a:cubicBezTo>
                  <a:pt x="1613" y="368"/>
                  <a:pt x="1603" y="359"/>
                  <a:pt x="1592" y="359"/>
                </a:cubicBezTo>
                <a:cubicBezTo>
                  <a:pt x="902" y="359"/>
                  <a:pt x="902" y="359"/>
                  <a:pt x="902" y="359"/>
                </a:cubicBezTo>
                <a:cubicBezTo>
                  <a:pt x="902" y="358"/>
                  <a:pt x="902" y="358"/>
                  <a:pt x="902" y="358"/>
                </a:cubicBezTo>
                <a:cubicBezTo>
                  <a:pt x="886" y="358"/>
                  <a:pt x="886" y="358"/>
                  <a:pt x="886" y="358"/>
                </a:cubicBezTo>
                <a:cubicBezTo>
                  <a:pt x="883" y="357"/>
                  <a:pt x="881" y="355"/>
                  <a:pt x="881" y="351"/>
                </a:cubicBezTo>
                <a:cubicBezTo>
                  <a:pt x="881" y="347"/>
                  <a:pt x="884" y="344"/>
                  <a:pt x="888" y="344"/>
                </a:cubicBezTo>
                <a:cubicBezTo>
                  <a:pt x="1553" y="344"/>
                  <a:pt x="1553" y="344"/>
                  <a:pt x="1553" y="344"/>
                </a:cubicBezTo>
                <a:cubicBezTo>
                  <a:pt x="1565" y="344"/>
                  <a:pt x="1575" y="334"/>
                  <a:pt x="1575" y="322"/>
                </a:cubicBezTo>
                <a:cubicBezTo>
                  <a:pt x="1575" y="311"/>
                  <a:pt x="1565" y="301"/>
                  <a:pt x="1553" y="301"/>
                </a:cubicBezTo>
                <a:cubicBezTo>
                  <a:pt x="940" y="301"/>
                  <a:pt x="940" y="301"/>
                  <a:pt x="940" y="301"/>
                </a:cubicBezTo>
                <a:cubicBezTo>
                  <a:pt x="936" y="301"/>
                  <a:pt x="933" y="298"/>
                  <a:pt x="933" y="294"/>
                </a:cubicBezTo>
                <a:cubicBezTo>
                  <a:pt x="933" y="290"/>
                  <a:pt x="936" y="286"/>
                  <a:pt x="940" y="286"/>
                </a:cubicBezTo>
                <a:cubicBezTo>
                  <a:pt x="1683" y="286"/>
                  <a:pt x="1683" y="286"/>
                  <a:pt x="1683" y="286"/>
                </a:cubicBezTo>
                <a:cubicBezTo>
                  <a:pt x="1695" y="286"/>
                  <a:pt x="1705" y="277"/>
                  <a:pt x="1705" y="265"/>
                </a:cubicBezTo>
                <a:cubicBezTo>
                  <a:pt x="1705" y="253"/>
                  <a:pt x="1695" y="243"/>
                  <a:pt x="1683" y="243"/>
                </a:cubicBezTo>
                <a:cubicBezTo>
                  <a:pt x="1145" y="243"/>
                  <a:pt x="1145" y="243"/>
                  <a:pt x="1145" y="243"/>
                </a:cubicBezTo>
                <a:cubicBezTo>
                  <a:pt x="1141" y="243"/>
                  <a:pt x="1137" y="240"/>
                  <a:pt x="1137" y="236"/>
                </a:cubicBezTo>
                <a:cubicBezTo>
                  <a:pt x="1137" y="232"/>
                  <a:pt x="1141" y="228"/>
                  <a:pt x="1145" y="228"/>
                </a:cubicBezTo>
                <a:cubicBezTo>
                  <a:pt x="1686" y="228"/>
                  <a:pt x="1686" y="228"/>
                  <a:pt x="1686" y="228"/>
                </a:cubicBezTo>
                <a:cubicBezTo>
                  <a:pt x="1698" y="228"/>
                  <a:pt x="1708" y="219"/>
                  <a:pt x="1708" y="207"/>
                </a:cubicBezTo>
                <a:cubicBezTo>
                  <a:pt x="1708" y="195"/>
                  <a:pt x="1698" y="185"/>
                  <a:pt x="1686" y="185"/>
                </a:cubicBezTo>
                <a:cubicBezTo>
                  <a:pt x="1075" y="185"/>
                  <a:pt x="1075" y="185"/>
                  <a:pt x="1075" y="185"/>
                </a:cubicBezTo>
                <a:cubicBezTo>
                  <a:pt x="1071" y="185"/>
                  <a:pt x="1068" y="182"/>
                  <a:pt x="1068" y="178"/>
                </a:cubicBezTo>
                <a:cubicBezTo>
                  <a:pt x="1068" y="174"/>
                  <a:pt x="1071" y="171"/>
                  <a:pt x="1075" y="171"/>
                </a:cubicBezTo>
                <a:cubicBezTo>
                  <a:pt x="1693" y="171"/>
                  <a:pt x="1693" y="171"/>
                  <a:pt x="1693" y="171"/>
                </a:cubicBezTo>
                <a:cubicBezTo>
                  <a:pt x="1705" y="171"/>
                  <a:pt x="1715" y="161"/>
                  <a:pt x="1715" y="149"/>
                </a:cubicBezTo>
                <a:cubicBezTo>
                  <a:pt x="1715" y="137"/>
                  <a:pt x="1705" y="127"/>
                  <a:pt x="1693" y="127"/>
                </a:cubicBezTo>
                <a:cubicBezTo>
                  <a:pt x="1225" y="127"/>
                  <a:pt x="1225" y="127"/>
                  <a:pt x="1225" y="127"/>
                </a:cubicBezTo>
                <a:cubicBezTo>
                  <a:pt x="1221" y="127"/>
                  <a:pt x="1218" y="124"/>
                  <a:pt x="1218" y="120"/>
                </a:cubicBezTo>
                <a:cubicBezTo>
                  <a:pt x="1218" y="116"/>
                  <a:pt x="1221" y="113"/>
                  <a:pt x="1225" y="113"/>
                </a:cubicBezTo>
                <a:cubicBezTo>
                  <a:pt x="1237" y="113"/>
                  <a:pt x="1237" y="113"/>
                  <a:pt x="1237" y="113"/>
                </a:cubicBezTo>
                <a:cubicBezTo>
                  <a:pt x="1249" y="113"/>
                  <a:pt x="1258" y="103"/>
                  <a:pt x="1258" y="91"/>
                </a:cubicBezTo>
                <a:cubicBezTo>
                  <a:pt x="1258" y="79"/>
                  <a:pt x="1249" y="70"/>
                  <a:pt x="1237" y="70"/>
                </a:cubicBezTo>
                <a:cubicBezTo>
                  <a:pt x="622" y="70"/>
                  <a:pt x="622" y="70"/>
                  <a:pt x="622" y="70"/>
                </a:cubicBezTo>
                <a:cubicBezTo>
                  <a:pt x="610" y="70"/>
                  <a:pt x="600" y="79"/>
                  <a:pt x="600" y="91"/>
                </a:cubicBezTo>
                <a:cubicBezTo>
                  <a:pt x="600" y="103"/>
                  <a:pt x="610" y="113"/>
                  <a:pt x="622" y="113"/>
                </a:cubicBezTo>
                <a:cubicBezTo>
                  <a:pt x="754" y="113"/>
                  <a:pt x="754" y="113"/>
                  <a:pt x="754" y="113"/>
                </a:cubicBezTo>
                <a:cubicBezTo>
                  <a:pt x="758" y="113"/>
                  <a:pt x="762" y="116"/>
                  <a:pt x="762" y="120"/>
                </a:cubicBezTo>
                <a:cubicBezTo>
                  <a:pt x="762" y="124"/>
                  <a:pt x="758" y="127"/>
                  <a:pt x="754" y="127"/>
                </a:cubicBezTo>
                <a:cubicBezTo>
                  <a:pt x="561" y="127"/>
                  <a:pt x="561" y="127"/>
                  <a:pt x="561" y="127"/>
                </a:cubicBezTo>
                <a:cubicBezTo>
                  <a:pt x="549" y="127"/>
                  <a:pt x="540" y="137"/>
                  <a:pt x="540" y="149"/>
                </a:cubicBezTo>
                <a:cubicBezTo>
                  <a:pt x="540" y="161"/>
                  <a:pt x="549" y="171"/>
                  <a:pt x="561" y="171"/>
                </a:cubicBezTo>
                <a:cubicBezTo>
                  <a:pt x="749" y="171"/>
                  <a:pt x="749" y="171"/>
                  <a:pt x="749" y="171"/>
                </a:cubicBezTo>
                <a:cubicBezTo>
                  <a:pt x="753" y="171"/>
                  <a:pt x="756" y="174"/>
                  <a:pt x="756" y="178"/>
                </a:cubicBezTo>
                <a:cubicBezTo>
                  <a:pt x="756" y="182"/>
                  <a:pt x="753" y="185"/>
                  <a:pt x="749" y="185"/>
                </a:cubicBezTo>
                <a:cubicBezTo>
                  <a:pt x="581" y="185"/>
                  <a:pt x="581" y="185"/>
                  <a:pt x="581" y="185"/>
                </a:cubicBezTo>
                <a:cubicBezTo>
                  <a:pt x="569" y="185"/>
                  <a:pt x="559" y="195"/>
                  <a:pt x="559" y="207"/>
                </a:cubicBezTo>
                <a:cubicBezTo>
                  <a:pt x="559" y="219"/>
                  <a:pt x="569" y="228"/>
                  <a:pt x="581" y="228"/>
                </a:cubicBezTo>
                <a:cubicBezTo>
                  <a:pt x="734" y="228"/>
                  <a:pt x="734" y="228"/>
                  <a:pt x="734" y="228"/>
                </a:cubicBezTo>
                <a:cubicBezTo>
                  <a:pt x="738" y="228"/>
                  <a:pt x="741" y="232"/>
                  <a:pt x="741" y="236"/>
                </a:cubicBezTo>
                <a:cubicBezTo>
                  <a:pt x="741" y="240"/>
                  <a:pt x="738" y="243"/>
                  <a:pt x="734" y="243"/>
                </a:cubicBezTo>
                <a:cubicBezTo>
                  <a:pt x="600" y="243"/>
                  <a:pt x="600" y="243"/>
                  <a:pt x="600" y="243"/>
                </a:cubicBezTo>
                <a:cubicBezTo>
                  <a:pt x="588" y="243"/>
                  <a:pt x="579" y="253"/>
                  <a:pt x="579" y="265"/>
                </a:cubicBezTo>
                <a:cubicBezTo>
                  <a:pt x="579" y="277"/>
                  <a:pt x="588" y="286"/>
                  <a:pt x="600" y="286"/>
                </a:cubicBezTo>
                <a:cubicBezTo>
                  <a:pt x="721" y="286"/>
                  <a:pt x="721" y="286"/>
                  <a:pt x="721" y="286"/>
                </a:cubicBezTo>
                <a:cubicBezTo>
                  <a:pt x="725" y="286"/>
                  <a:pt x="728" y="290"/>
                  <a:pt x="728" y="294"/>
                </a:cubicBezTo>
                <a:cubicBezTo>
                  <a:pt x="728" y="298"/>
                  <a:pt x="725" y="301"/>
                  <a:pt x="721" y="301"/>
                </a:cubicBezTo>
                <a:cubicBezTo>
                  <a:pt x="601" y="301"/>
                  <a:pt x="601" y="301"/>
                  <a:pt x="601" y="301"/>
                </a:cubicBezTo>
                <a:cubicBezTo>
                  <a:pt x="590" y="301"/>
                  <a:pt x="580" y="311"/>
                  <a:pt x="580" y="322"/>
                </a:cubicBezTo>
                <a:cubicBezTo>
                  <a:pt x="580" y="334"/>
                  <a:pt x="590" y="344"/>
                  <a:pt x="601" y="344"/>
                </a:cubicBezTo>
                <a:cubicBezTo>
                  <a:pt x="625" y="344"/>
                  <a:pt x="625" y="344"/>
                  <a:pt x="625" y="344"/>
                </a:cubicBezTo>
                <a:cubicBezTo>
                  <a:pt x="629" y="344"/>
                  <a:pt x="632" y="347"/>
                  <a:pt x="632" y="351"/>
                </a:cubicBezTo>
                <a:cubicBezTo>
                  <a:pt x="632" y="355"/>
                  <a:pt x="629" y="359"/>
                  <a:pt x="625" y="359"/>
                </a:cubicBezTo>
                <a:cubicBezTo>
                  <a:pt x="526" y="359"/>
                  <a:pt x="526" y="359"/>
                  <a:pt x="526" y="359"/>
                </a:cubicBezTo>
                <a:cubicBezTo>
                  <a:pt x="525" y="358"/>
                  <a:pt x="523" y="358"/>
                  <a:pt x="522" y="358"/>
                </a:cubicBezTo>
                <a:cubicBezTo>
                  <a:pt x="157" y="358"/>
                  <a:pt x="157" y="358"/>
                  <a:pt x="157" y="358"/>
                </a:cubicBezTo>
                <a:cubicBezTo>
                  <a:pt x="153" y="358"/>
                  <a:pt x="149" y="355"/>
                  <a:pt x="149" y="351"/>
                </a:cubicBezTo>
                <a:cubicBezTo>
                  <a:pt x="149" y="347"/>
                  <a:pt x="153" y="344"/>
                  <a:pt x="157" y="344"/>
                </a:cubicBezTo>
                <a:cubicBezTo>
                  <a:pt x="366" y="344"/>
                  <a:pt x="366" y="344"/>
                  <a:pt x="366" y="344"/>
                </a:cubicBezTo>
                <a:cubicBezTo>
                  <a:pt x="378" y="344"/>
                  <a:pt x="388" y="334"/>
                  <a:pt x="388" y="322"/>
                </a:cubicBezTo>
                <a:cubicBezTo>
                  <a:pt x="388" y="310"/>
                  <a:pt x="378" y="301"/>
                  <a:pt x="366" y="301"/>
                </a:cubicBezTo>
                <a:cubicBezTo>
                  <a:pt x="22" y="301"/>
                  <a:pt x="22" y="301"/>
                  <a:pt x="22" y="301"/>
                </a:cubicBezTo>
                <a:cubicBezTo>
                  <a:pt x="18" y="301"/>
                  <a:pt x="15" y="297"/>
                  <a:pt x="15" y="293"/>
                </a:cubicBezTo>
                <a:cubicBezTo>
                  <a:pt x="15" y="289"/>
                  <a:pt x="18" y="286"/>
                  <a:pt x="22" y="286"/>
                </a:cubicBezTo>
                <a:cubicBezTo>
                  <a:pt x="346" y="286"/>
                  <a:pt x="346" y="286"/>
                  <a:pt x="346" y="286"/>
                </a:cubicBezTo>
                <a:cubicBezTo>
                  <a:pt x="358" y="286"/>
                  <a:pt x="367" y="276"/>
                  <a:pt x="367" y="264"/>
                </a:cubicBezTo>
                <a:cubicBezTo>
                  <a:pt x="367" y="252"/>
                  <a:pt x="358" y="243"/>
                  <a:pt x="346" y="243"/>
                </a:cubicBezTo>
                <a:cubicBezTo>
                  <a:pt x="59" y="243"/>
                  <a:pt x="59" y="243"/>
                  <a:pt x="59" y="243"/>
                </a:cubicBezTo>
                <a:cubicBezTo>
                  <a:pt x="55" y="243"/>
                  <a:pt x="52" y="239"/>
                  <a:pt x="52" y="235"/>
                </a:cubicBezTo>
                <a:cubicBezTo>
                  <a:pt x="52" y="231"/>
                  <a:pt x="55" y="228"/>
                  <a:pt x="59" y="228"/>
                </a:cubicBezTo>
                <a:cubicBezTo>
                  <a:pt x="237" y="228"/>
                  <a:pt x="237" y="228"/>
                  <a:pt x="237" y="228"/>
                </a:cubicBezTo>
                <a:cubicBezTo>
                  <a:pt x="249" y="228"/>
                  <a:pt x="258" y="218"/>
                  <a:pt x="258" y="207"/>
                </a:cubicBezTo>
                <a:cubicBezTo>
                  <a:pt x="258" y="195"/>
                  <a:pt x="249" y="185"/>
                  <a:pt x="237" y="185"/>
                </a:cubicBezTo>
                <a:cubicBezTo>
                  <a:pt x="72" y="185"/>
                  <a:pt x="72" y="185"/>
                  <a:pt x="72" y="185"/>
                </a:cubicBezTo>
                <a:cubicBezTo>
                  <a:pt x="68" y="185"/>
                  <a:pt x="64" y="182"/>
                  <a:pt x="64" y="178"/>
                </a:cubicBezTo>
                <a:cubicBezTo>
                  <a:pt x="64" y="174"/>
                  <a:pt x="68" y="170"/>
                  <a:pt x="72" y="170"/>
                </a:cubicBezTo>
                <a:cubicBezTo>
                  <a:pt x="200" y="170"/>
                  <a:pt x="200" y="170"/>
                  <a:pt x="200" y="170"/>
                </a:cubicBezTo>
                <a:cubicBezTo>
                  <a:pt x="273" y="170"/>
                  <a:pt x="333" y="111"/>
                  <a:pt x="333" y="38"/>
                </a:cubicBezTo>
                <a:cubicBezTo>
                  <a:pt x="344" y="38"/>
                  <a:pt x="344" y="38"/>
                  <a:pt x="344" y="38"/>
                </a:cubicBezTo>
                <a:cubicBezTo>
                  <a:pt x="344" y="0"/>
                  <a:pt x="344" y="0"/>
                  <a:pt x="344" y="0"/>
                </a:cubicBezTo>
                <a:cubicBezTo>
                  <a:pt x="306" y="0"/>
                  <a:pt x="306" y="0"/>
                  <a:pt x="306" y="0"/>
                </a:cubicBezTo>
                <a:cubicBezTo>
                  <a:pt x="306" y="38"/>
                  <a:pt x="306" y="38"/>
                  <a:pt x="306" y="38"/>
                </a:cubicBezTo>
                <a:cubicBezTo>
                  <a:pt x="318" y="38"/>
                  <a:pt x="318" y="38"/>
                  <a:pt x="318" y="38"/>
                </a:cubicBezTo>
                <a:cubicBezTo>
                  <a:pt x="318" y="103"/>
                  <a:pt x="265" y="156"/>
                  <a:pt x="200" y="156"/>
                </a:cubicBezTo>
                <a:cubicBezTo>
                  <a:pt x="72" y="156"/>
                  <a:pt x="72" y="156"/>
                  <a:pt x="72" y="156"/>
                </a:cubicBezTo>
                <a:cubicBezTo>
                  <a:pt x="60" y="156"/>
                  <a:pt x="50" y="166"/>
                  <a:pt x="50" y="178"/>
                </a:cubicBezTo>
                <a:cubicBezTo>
                  <a:pt x="50" y="190"/>
                  <a:pt x="60" y="199"/>
                  <a:pt x="72" y="199"/>
                </a:cubicBezTo>
                <a:cubicBezTo>
                  <a:pt x="237" y="199"/>
                  <a:pt x="237" y="199"/>
                  <a:pt x="237" y="199"/>
                </a:cubicBezTo>
                <a:cubicBezTo>
                  <a:pt x="241" y="199"/>
                  <a:pt x="244" y="202"/>
                  <a:pt x="244" y="207"/>
                </a:cubicBezTo>
                <a:cubicBezTo>
                  <a:pt x="244" y="211"/>
                  <a:pt x="241" y="214"/>
                  <a:pt x="237" y="214"/>
                </a:cubicBezTo>
                <a:cubicBezTo>
                  <a:pt x="59" y="214"/>
                  <a:pt x="59" y="214"/>
                  <a:pt x="59" y="214"/>
                </a:cubicBezTo>
                <a:cubicBezTo>
                  <a:pt x="47" y="214"/>
                  <a:pt x="37" y="224"/>
                  <a:pt x="37" y="235"/>
                </a:cubicBezTo>
                <a:cubicBezTo>
                  <a:pt x="37" y="247"/>
                  <a:pt x="47" y="257"/>
                  <a:pt x="59" y="257"/>
                </a:cubicBezTo>
                <a:cubicBezTo>
                  <a:pt x="346" y="257"/>
                  <a:pt x="346" y="257"/>
                  <a:pt x="346" y="257"/>
                </a:cubicBezTo>
                <a:cubicBezTo>
                  <a:pt x="350" y="257"/>
                  <a:pt x="353" y="260"/>
                  <a:pt x="353" y="264"/>
                </a:cubicBezTo>
                <a:cubicBezTo>
                  <a:pt x="353" y="268"/>
                  <a:pt x="350" y="272"/>
                  <a:pt x="346" y="272"/>
                </a:cubicBezTo>
                <a:cubicBezTo>
                  <a:pt x="22" y="272"/>
                  <a:pt x="22" y="272"/>
                  <a:pt x="22" y="272"/>
                </a:cubicBezTo>
                <a:cubicBezTo>
                  <a:pt x="10" y="272"/>
                  <a:pt x="0" y="281"/>
                  <a:pt x="0" y="293"/>
                </a:cubicBezTo>
                <a:cubicBezTo>
                  <a:pt x="0" y="305"/>
                  <a:pt x="10" y="315"/>
                  <a:pt x="22" y="315"/>
                </a:cubicBezTo>
                <a:cubicBezTo>
                  <a:pt x="366" y="315"/>
                  <a:pt x="366" y="315"/>
                  <a:pt x="366" y="315"/>
                </a:cubicBezTo>
                <a:cubicBezTo>
                  <a:pt x="370" y="315"/>
                  <a:pt x="374" y="318"/>
                  <a:pt x="374" y="322"/>
                </a:cubicBezTo>
                <a:cubicBezTo>
                  <a:pt x="374" y="326"/>
                  <a:pt x="370" y="329"/>
                  <a:pt x="366" y="329"/>
                </a:cubicBezTo>
                <a:cubicBezTo>
                  <a:pt x="157" y="329"/>
                  <a:pt x="157" y="329"/>
                  <a:pt x="157" y="329"/>
                </a:cubicBezTo>
                <a:cubicBezTo>
                  <a:pt x="145" y="329"/>
                  <a:pt x="135" y="339"/>
                  <a:pt x="135" y="351"/>
                </a:cubicBezTo>
                <a:cubicBezTo>
                  <a:pt x="135" y="363"/>
                  <a:pt x="145" y="373"/>
                  <a:pt x="157" y="373"/>
                </a:cubicBezTo>
                <a:cubicBezTo>
                  <a:pt x="497" y="373"/>
                  <a:pt x="497" y="373"/>
                  <a:pt x="497" y="373"/>
                </a:cubicBezTo>
                <a:cubicBezTo>
                  <a:pt x="497" y="373"/>
                  <a:pt x="497" y="373"/>
                  <a:pt x="497" y="373"/>
                </a:cubicBezTo>
                <a:cubicBezTo>
                  <a:pt x="524" y="373"/>
                  <a:pt x="524" y="373"/>
                  <a:pt x="524" y="373"/>
                </a:cubicBezTo>
                <a:cubicBezTo>
                  <a:pt x="527" y="374"/>
                  <a:pt x="530" y="377"/>
                  <a:pt x="530" y="380"/>
                </a:cubicBezTo>
                <a:cubicBezTo>
                  <a:pt x="530" y="384"/>
                  <a:pt x="526" y="387"/>
                  <a:pt x="522" y="387"/>
                </a:cubicBezTo>
                <a:cubicBezTo>
                  <a:pt x="164" y="387"/>
                  <a:pt x="164" y="387"/>
                  <a:pt x="164" y="387"/>
                </a:cubicBezTo>
                <a:cubicBezTo>
                  <a:pt x="152" y="387"/>
                  <a:pt x="142" y="397"/>
                  <a:pt x="142" y="409"/>
                </a:cubicBezTo>
                <a:cubicBezTo>
                  <a:pt x="142" y="421"/>
                  <a:pt x="152" y="430"/>
                  <a:pt x="164" y="430"/>
                </a:cubicBezTo>
                <a:cubicBezTo>
                  <a:pt x="518" y="430"/>
                  <a:pt x="518" y="430"/>
                  <a:pt x="518" y="430"/>
                </a:cubicBezTo>
                <a:cubicBezTo>
                  <a:pt x="522" y="430"/>
                  <a:pt x="525" y="434"/>
                  <a:pt x="525" y="438"/>
                </a:cubicBezTo>
                <a:cubicBezTo>
                  <a:pt x="525" y="442"/>
                  <a:pt x="522" y="445"/>
                  <a:pt x="518" y="445"/>
                </a:cubicBezTo>
                <a:cubicBezTo>
                  <a:pt x="180" y="445"/>
                  <a:pt x="180" y="445"/>
                  <a:pt x="180" y="445"/>
                </a:cubicBezTo>
                <a:cubicBezTo>
                  <a:pt x="168" y="445"/>
                  <a:pt x="158" y="455"/>
                  <a:pt x="158" y="467"/>
                </a:cubicBezTo>
                <a:cubicBezTo>
                  <a:pt x="158" y="479"/>
                  <a:pt x="168" y="488"/>
                  <a:pt x="180" y="488"/>
                </a:cubicBezTo>
                <a:cubicBezTo>
                  <a:pt x="433" y="488"/>
                  <a:pt x="433" y="488"/>
                  <a:pt x="433" y="488"/>
                </a:cubicBezTo>
                <a:cubicBezTo>
                  <a:pt x="437" y="488"/>
                  <a:pt x="440" y="492"/>
                  <a:pt x="440" y="496"/>
                </a:cubicBezTo>
                <a:cubicBezTo>
                  <a:pt x="440" y="500"/>
                  <a:pt x="437" y="503"/>
                  <a:pt x="433" y="503"/>
                </a:cubicBezTo>
                <a:cubicBezTo>
                  <a:pt x="162" y="503"/>
                  <a:pt x="162" y="503"/>
                  <a:pt x="162" y="503"/>
                </a:cubicBezTo>
                <a:cubicBezTo>
                  <a:pt x="150" y="503"/>
                  <a:pt x="140" y="513"/>
                  <a:pt x="140" y="524"/>
                </a:cubicBezTo>
                <a:cubicBezTo>
                  <a:pt x="140" y="536"/>
                  <a:pt x="150" y="546"/>
                  <a:pt x="162" y="546"/>
                </a:cubicBezTo>
                <a:cubicBezTo>
                  <a:pt x="381" y="546"/>
                  <a:pt x="381" y="546"/>
                  <a:pt x="381" y="546"/>
                </a:cubicBezTo>
                <a:cubicBezTo>
                  <a:pt x="385" y="546"/>
                  <a:pt x="388" y="549"/>
                  <a:pt x="388" y="553"/>
                </a:cubicBezTo>
                <a:cubicBezTo>
                  <a:pt x="388" y="557"/>
                  <a:pt x="385" y="561"/>
                  <a:pt x="381" y="561"/>
                </a:cubicBezTo>
                <a:cubicBezTo>
                  <a:pt x="190" y="561"/>
                  <a:pt x="190" y="561"/>
                  <a:pt x="190" y="561"/>
                </a:cubicBezTo>
                <a:cubicBezTo>
                  <a:pt x="178" y="561"/>
                  <a:pt x="168" y="570"/>
                  <a:pt x="168" y="582"/>
                </a:cubicBezTo>
                <a:cubicBezTo>
                  <a:pt x="168" y="594"/>
                  <a:pt x="178" y="604"/>
                  <a:pt x="190" y="604"/>
                </a:cubicBezTo>
                <a:cubicBezTo>
                  <a:pt x="266" y="604"/>
                  <a:pt x="266" y="604"/>
                  <a:pt x="266" y="604"/>
                </a:cubicBezTo>
                <a:cubicBezTo>
                  <a:pt x="270" y="604"/>
                  <a:pt x="273" y="607"/>
                  <a:pt x="273" y="611"/>
                </a:cubicBezTo>
                <a:cubicBezTo>
                  <a:pt x="273" y="615"/>
                  <a:pt x="270" y="619"/>
                  <a:pt x="266" y="619"/>
                </a:cubicBezTo>
                <a:cubicBezTo>
                  <a:pt x="236" y="619"/>
                  <a:pt x="236" y="619"/>
                  <a:pt x="236" y="619"/>
                </a:cubicBezTo>
                <a:cubicBezTo>
                  <a:pt x="224" y="619"/>
                  <a:pt x="215" y="628"/>
                  <a:pt x="215" y="640"/>
                </a:cubicBezTo>
                <a:cubicBezTo>
                  <a:pt x="215" y="652"/>
                  <a:pt x="224" y="662"/>
                  <a:pt x="236" y="662"/>
                </a:cubicBezTo>
                <a:cubicBezTo>
                  <a:pt x="276" y="662"/>
                  <a:pt x="276" y="662"/>
                  <a:pt x="276" y="662"/>
                </a:cubicBezTo>
                <a:cubicBezTo>
                  <a:pt x="280" y="662"/>
                  <a:pt x="283" y="665"/>
                  <a:pt x="283" y="669"/>
                </a:cubicBezTo>
                <a:cubicBezTo>
                  <a:pt x="283" y="673"/>
                  <a:pt x="280" y="676"/>
                  <a:pt x="276" y="676"/>
                </a:cubicBezTo>
                <a:cubicBezTo>
                  <a:pt x="273" y="676"/>
                  <a:pt x="273" y="676"/>
                  <a:pt x="273" y="676"/>
                </a:cubicBezTo>
                <a:cubicBezTo>
                  <a:pt x="261" y="676"/>
                  <a:pt x="252" y="686"/>
                  <a:pt x="252" y="698"/>
                </a:cubicBezTo>
                <a:cubicBezTo>
                  <a:pt x="252" y="710"/>
                  <a:pt x="261" y="720"/>
                  <a:pt x="273" y="720"/>
                </a:cubicBezTo>
                <a:cubicBezTo>
                  <a:pt x="353" y="720"/>
                  <a:pt x="353" y="720"/>
                  <a:pt x="353" y="720"/>
                </a:cubicBezTo>
                <a:cubicBezTo>
                  <a:pt x="357" y="720"/>
                  <a:pt x="360" y="723"/>
                  <a:pt x="360" y="727"/>
                </a:cubicBezTo>
                <a:cubicBezTo>
                  <a:pt x="360" y="731"/>
                  <a:pt x="357" y="734"/>
                  <a:pt x="353" y="734"/>
                </a:cubicBezTo>
                <a:cubicBezTo>
                  <a:pt x="337" y="734"/>
                  <a:pt x="337" y="734"/>
                  <a:pt x="337" y="734"/>
                </a:cubicBezTo>
                <a:cubicBezTo>
                  <a:pt x="325" y="734"/>
                  <a:pt x="316" y="744"/>
                  <a:pt x="316" y="756"/>
                </a:cubicBezTo>
                <a:cubicBezTo>
                  <a:pt x="316" y="768"/>
                  <a:pt x="325" y="777"/>
                  <a:pt x="337" y="777"/>
                </a:cubicBezTo>
                <a:cubicBezTo>
                  <a:pt x="529" y="777"/>
                  <a:pt x="529" y="777"/>
                  <a:pt x="529" y="777"/>
                </a:cubicBezTo>
                <a:cubicBezTo>
                  <a:pt x="533" y="777"/>
                  <a:pt x="537" y="781"/>
                  <a:pt x="537" y="785"/>
                </a:cubicBezTo>
                <a:cubicBezTo>
                  <a:pt x="537" y="789"/>
                  <a:pt x="533" y="792"/>
                  <a:pt x="529" y="792"/>
                </a:cubicBezTo>
                <a:cubicBezTo>
                  <a:pt x="377" y="792"/>
                  <a:pt x="377" y="792"/>
                  <a:pt x="377" y="792"/>
                </a:cubicBezTo>
                <a:cubicBezTo>
                  <a:pt x="365" y="792"/>
                  <a:pt x="356" y="802"/>
                  <a:pt x="356" y="814"/>
                </a:cubicBezTo>
                <a:cubicBezTo>
                  <a:pt x="356" y="825"/>
                  <a:pt x="365" y="835"/>
                  <a:pt x="377" y="835"/>
                </a:cubicBezTo>
                <a:cubicBezTo>
                  <a:pt x="607" y="835"/>
                  <a:pt x="607" y="835"/>
                  <a:pt x="607" y="835"/>
                </a:cubicBezTo>
                <a:cubicBezTo>
                  <a:pt x="611" y="835"/>
                  <a:pt x="615" y="838"/>
                  <a:pt x="615" y="842"/>
                </a:cubicBezTo>
                <a:cubicBezTo>
                  <a:pt x="615" y="846"/>
                  <a:pt x="611" y="850"/>
                  <a:pt x="607" y="850"/>
                </a:cubicBezTo>
                <a:cubicBezTo>
                  <a:pt x="417" y="850"/>
                  <a:pt x="417" y="850"/>
                  <a:pt x="417" y="850"/>
                </a:cubicBezTo>
                <a:cubicBezTo>
                  <a:pt x="405" y="850"/>
                  <a:pt x="396" y="859"/>
                  <a:pt x="396" y="871"/>
                </a:cubicBezTo>
                <a:cubicBezTo>
                  <a:pt x="396" y="883"/>
                  <a:pt x="405" y="893"/>
                  <a:pt x="417" y="893"/>
                </a:cubicBezTo>
                <a:cubicBezTo>
                  <a:pt x="593" y="893"/>
                  <a:pt x="593" y="893"/>
                  <a:pt x="593" y="893"/>
                </a:cubicBezTo>
                <a:cubicBezTo>
                  <a:pt x="597" y="893"/>
                  <a:pt x="600" y="896"/>
                  <a:pt x="600" y="900"/>
                </a:cubicBezTo>
                <a:cubicBezTo>
                  <a:pt x="600" y="904"/>
                  <a:pt x="597" y="908"/>
                  <a:pt x="593" y="908"/>
                </a:cubicBezTo>
                <a:cubicBezTo>
                  <a:pt x="446" y="908"/>
                  <a:pt x="446" y="908"/>
                  <a:pt x="446" y="908"/>
                </a:cubicBezTo>
                <a:cubicBezTo>
                  <a:pt x="434" y="908"/>
                  <a:pt x="425" y="917"/>
                  <a:pt x="425" y="929"/>
                </a:cubicBezTo>
                <a:cubicBezTo>
                  <a:pt x="425" y="941"/>
                  <a:pt x="434" y="951"/>
                  <a:pt x="446" y="951"/>
                </a:cubicBezTo>
                <a:cubicBezTo>
                  <a:pt x="551" y="951"/>
                  <a:pt x="551" y="951"/>
                  <a:pt x="551" y="951"/>
                </a:cubicBezTo>
                <a:cubicBezTo>
                  <a:pt x="555" y="951"/>
                  <a:pt x="558" y="954"/>
                  <a:pt x="558" y="958"/>
                </a:cubicBezTo>
                <a:cubicBezTo>
                  <a:pt x="558" y="962"/>
                  <a:pt x="555" y="965"/>
                  <a:pt x="551" y="965"/>
                </a:cubicBezTo>
                <a:cubicBezTo>
                  <a:pt x="438" y="965"/>
                  <a:pt x="438" y="965"/>
                  <a:pt x="438" y="965"/>
                </a:cubicBezTo>
                <a:cubicBezTo>
                  <a:pt x="426" y="965"/>
                  <a:pt x="417" y="975"/>
                  <a:pt x="417" y="987"/>
                </a:cubicBezTo>
                <a:cubicBezTo>
                  <a:pt x="417" y="999"/>
                  <a:pt x="426" y="1009"/>
                  <a:pt x="438" y="1009"/>
                </a:cubicBezTo>
                <a:cubicBezTo>
                  <a:pt x="495" y="1009"/>
                  <a:pt x="495" y="1009"/>
                  <a:pt x="495" y="1009"/>
                </a:cubicBezTo>
                <a:cubicBezTo>
                  <a:pt x="499" y="1009"/>
                  <a:pt x="502" y="1012"/>
                  <a:pt x="502" y="1016"/>
                </a:cubicBezTo>
                <a:cubicBezTo>
                  <a:pt x="502" y="1020"/>
                  <a:pt x="499" y="1023"/>
                  <a:pt x="495" y="1023"/>
                </a:cubicBezTo>
                <a:cubicBezTo>
                  <a:pt x="443" y="1023"/>
                  <a:pt x="443" y="1023"/>
                  <a:pt x="443" y="1023"/>
                </a:cubicBezTo>
                <a:cubicBezTo>
                  <a:pt x="431" y="1023"/>
                  <a:pt x="422" y="1033"/>
                  <a:pt x="422" y="1045"/>
                </a:cubicBezTo>
                <a:cubicBezTo>
                  <a:pt x="422" y="1057"/>
                  <a:pt x="431" y="1066"/>
                  <a:pt x="443" y="1066"/>
                </a:cubicBezTo>
                <a:cubicBezTo>
                  <a:pt x="472" y="1066"/>
                  <a:pt x="472" y="1066"/>
                  <a:pt x="472" y="1066"/>
                </a:cubicBezTo>
                <a:cubicBezTo>
                  <a:pt x="476" y="1066"/>
                  <a:pt x="479" y="1070"/>
                  <a:pt x="479" y="1074"/>
                </a:cubicBezTo>
                <a:cubicBezTo>
                  <a:pt x="479" y="1078"/>
                  <a:pt x="476" y="1081"/>
                  <a:pt x="472" y="1081"/>
                </a:cubicBezTo>
                <a:cubicBezTo>
                  <a:pt x="443" y="1081"/>
                  <a:pt x="443" y="1081"/>
                  <a:pt x="443" y="1081"/>
                </a:cubicBezTo>
                <a:cubicBezTo>
                  <a:pt x="431" y="1081"/>
                  <a:pt x="422" y="1091"/>
                  <a:pt x="422" y="1103"/>
                </a:cubicBezTo>
                <a:cubicBezTo>
                  <a:pt x="422" y="1115"/>
                  <a:pt x="431" y="1124"/>
                  <a:pt x="443" y="1124"/>
                </a:cubicBezTo>
                <a:cubicBezTo>
                  <a:pt x="462" y="1124"/>
                  <a:pt x="462" y="1124"/>
                  <a:pt x="462" y="1124"/>
                </a:cubicBezTo>
                <a:cubicBezTo>
                  <a:pt x="1017" y="1124"/>
                  <a:pt x="1017" y="1124"/>
                  <a:pt x="1017" y="1124"/>
                </a:cubicBezTo>
                <a:cubicBezTo>
                  <a:pt x="1037" y="1124"/>
                  <a:pt x="1053" y="1108"/>
                  <a:pt x="1053" y="1088"/>
                </a:cubicBezTo>
                <a:cubicBezTo>
                  <a:pt x="1053" y="1068"/>
                  <a:pt x="1037" y="1052"/>
                  <a:pt x="1017" y="1052"/>
                </a:cubicBezTo>
                <a:cubicBezTo>
                  <a:pt x="976" y="1052"/>
                  <a:pt x="976" y="1052"/>
                  <a:pt x="976" y="1052"/>
                </a:cubicBezTo>
                <a:cubicBezTo>
                  <a:pt x="964" y="1052"/>
                  <a:pt x="955" y="1042"/>
                  <a:pt x="955" y="1030"/>
                </a:cubicBezTo>
                <a:cubicBezTo>
                  <a:pt x="955" y="1018"/>
                  <a:pt x="964" y="1009"/>
                  <a:pt x="976" y="1009"/>
                </a:cubicBezTo>
                <a:cubicBezTo>
                  <a:pt x="979" y="1009"/>
                  <a:pt x="979" y="1009"/>
                  <a:pt x="979" y="1009"/>
                </a:cubicBezTo>
                <a:cubicBezTo>
                  <a:pt x="990" y="1009"/>
                  <a:pt x="1000" y="999"/>
                  <a:pt x="1000" y="987"/>
                </a:cubicBezTo>
                <a:cubicBezTo>
                  <a:pt x="1000" y="975"/>
                  <a:pt x="990" y="965"/>
                  <a:pt x="979" y="965"/>
                </a:cubicBezTo>
                <a:cubicBezTo>
                  <a:pt x="941" y="965"/>
                  <a:pt x="941" y="965"/>
                  <a:pt x="941" y="965"/>
                </a:cubicBezTo>
                <a:cubicBezTo>
                  <a:pt x="937" y="965"/>
                  <a:pt x="933" y="962"/>
                  <a:pt x="933" y="958"/>
                </a:cubicBezTo>
                <a:cubicBezTo>
                  <a:pt x="933" y="954"/>
                  <a:pt x="937" y="951"/>
                  <a:pt x="941" y="951"/>
                </a:cubicBezTo>
                <a:cubicBezTo>
                  <a:pt x="1017" y="951"/>
                  <a:pt x="1017" y="951"/>
                  <a:pt x="1017" y="951"/>
                </a:cubicBezTo>
                <a:cubicBezTo>
                  <a:pt x="1029" y="951"/>
                  <a:pt x="1039" y="941"/>
                  <a:pt x="1039" y="929"/>
                </a:cubicBezTo>
                <a:cubicBezTo>
                  <a:pt x="1039" y="917"/>
                  <a:pt x="1029" y="908"/>
                  <a:pt x="1017" y="908"/>
                </a:cubicBezTo>
                <a:cubicBezTo>
                  <a:pt x="919" y="908"/>
                  <a:pt x="919" y="908"/>
                  <a:pt x="919" y="908"/>
                </a:cubicBezTo>
                <a:cubicBezTo>
                  <a:pt x="915" y="908"/>
                  <a:pt x="912" y="904"/>
                  <a:pt x="912" y="900"/>
                </a:cubicBezTo>
                <a:cubicBezTo>
                  <a:pt x="912" y="896"/>
                  <a:pt x="915" y="893"/>
                  <a:pt x="919" y="893"/>
                </a:cubicBezTo>
                <a:cubicBezTo>
                  <a:pt x="1053" y="893"/>
                  <a:pt x="1053" y="893"/>
                  <a:pt x="1053" y="893"/>
                </a:cubicBezTo>
                <a:cubicBezTo>
                  <a:pt x="1065" y="893"/>
                  <a:pt x="1075" y="883"/>
                  <a:pt x="1075" y="871"/>
                </a:cubicBezTo>
                <a:cubicBezTo>
                  <a:pt x="1075" y="859"/>
                  <a:pt x="1065" y="850"/>
                  <a:pt x="1053" y="850"/>
                </a:cubicBezTo>
                <a:cubicBezTo>
                  <a:pt x="914" y="850"/>
                  <a:pt x="914" y="850"/>
                  <a:pt x="914" y="850"/>
                </a:cubicBezTo>
                <a:cubicBezTo>
                  <a:pt x="910" y="850"/>
                  <a:pt x="906" y="846"/>
                  <a:pt x="906" y="842"/>
                </a:cubicBezTo>
                <a:cubicBezTo>
                  <a:pt x="906" y="838"/>
                  <a:pt x="910" y="835"/>
                  <a:pt x="914" y="835"/>
                </a:cubicBezTo>
                <a:cubicBezTo>
                  <a:pt x="1049" y="835"/>
                  <a:pt x="1049" y="835"/>
                  <a:pt x="1049" y="835"/>
                </a:cubicBezTo>
                <a:cubicBezTo>
                  <a:pt x="1061" y="835"/>
                  <a:pt x="1071" y="825"/>
                  <a:pt x="1071" y="814"/>
                </a:cubicBezTo>
                <a:cubicBezTo>
                  <a:pt x="1071" y="802"/>
                  <a:pt x="1061" y="792"/>
                  <a:pt x="1049" y="792"/>
                </a:cubicBezTo>
                <a:cubicBezTo>
                  <a:pt x="905" y="792"/>
                  <a:pt x="905" y="792"/>
                  <a:pt x="905" y="792"/>
                </a:cubicBezTo>
                <a:cubicBezTo>
                  <a:pt x="901" y="792"/>
                  <a:pt x="898" y="789"/>
                  <a:pt x="898" y="785"/>
                </a:cubicBezTo>
                <a:cubicBezTo>
                  <a:pt x="898" y="781"/>
                  <a:pt x="901" y="777"/>
                  <a:pt x="905" y="777"/>
                </a:cubicBezTo>
                <a:cubicBezTo>
                  <a:pt x="1104" y="777"/>
                  <a:pt x="1104" y="777"/>
                  <a:pt x="1104" y="777"/>
                </a:cubicBezTo>
                <a:cubicBezTo>
                  <a:pt x="1116" y="777"/>
                  <a:pt x="1125" y="768"/>
                  <a:pt x="1125" y="756"/>
                </a:cubicBezTo>
                <a:cubicBezTo>
                  <a:pt x="1125" y="744"/>
                  <a:pt x="1116" y="734"/>
                  <a:pt x="1104" y="734"/>
                </a:cubicBezTo>
                <a:cubicBezTo>
                  <a:pt x="791" y="734"/>
                  <a:pt x="791" y="734"/>
                  <a:pt x="791" y="734"/>
                </a:cubicBezTo>
                <a:cubicBezTo>
                  <a:pt x="787" y="734"/>
                  <a:pt x="784" y="731"/>
                  <a:pt x="784" y="727"/>
                </a:cubicBezTo>
                <a:cubicBezTo>
                  <a:pt x="784" y="723"/>
                  <a:pt x="787" y="720"/>
                  <a:pt x="791" y="720"/>
                </a:cubicBezTo>
                <a:cubicBezTo>
                  <a:pt x="1046" y="720"/>
                  <a:pt x="1046" y="720"/>
                  <a:pt x="1046" y="720"/>
                </a:cubicBezTo>
                <a:cubicBezTo>
                  <a:pt x="1058" y="720"/>
                  <a:pt x="1068" y="710"/>
                  <a:pt x="1068" y="698"/>
                </a:cubicBezTo>
                <a:cubicBezTo>
                  <a:pt x="1068" y="686"/>
                  <a:pt x="1058" y="676"/>
                  <a:pt x="1046" y="676"/>
                </a:cubicBezTo>
                <a:cubicBezTo>
                  <a:pt x="763" y="676"/>
                  <a:pt x="763" y="676"/>
                  <a:pt x="763" y="676"/>
                </a:cubicBezTo>
                <a:cubicBezTo>
                  <a:pt x="759" y="676"/>
                  <a:pt x="755" y="673"/>
                  <a:pt x="755" y="669"/>
                </a:cubicBezTo>
                <a:cubicBezTo>
                  <a:pt x="755" y="665"/>
                  <a:pt x="759" y="662"/>
                  <a:pt x="763" y="662"/>
                </a:cubicBezTo>
                <a:cubicBezTo>
                  <a:pt x="1011" y="662"/>
                  <a:pt x="1011" y="662"/>
                  <a:pt x="1011" y="662"/>
                </a:cubicBezTo>
                <a:cubicBezTo>
                  <a:pt x="1022" y="662"/>
                  <a:pt x="1032" y="652"/>
                  <a:pt x="1032" y="640"/>
                </a:cubicBezTo>
                <a:cubicBezTo>
                  <a:pt x="1032" y="628"/>
                  <a:pt x="1022" y="619"/>
                  <a:pt x="1011" y="619"/>
                </a:cubicBezTo>
                <a:cubicBezTo>
                  <a:pt x="805" y="619"/>
                  <a:pt x="805" y="619"/>
                  <a:pt x="805" y="619"/>
                </a:cubicBezTo>
                <a:cubicBezTo>
                  <a:pt x="801" y="619"/>
                  <a:pt x="798" y="615"/>
                  <a:pt x="798" y="611"/>
                </a:cubicBezTo>
                <a:cubicBezTo>
                  <a:pt x="798" y="607"/>
                  <a:pt x="801" y="604"/>
                  <a:pt x="805" y="604"/>
                </a:cubicBezTo>
                <a:cubicBezTo>
                  <a:pt x="860" y="604"/>
                  <a:pt x="860" y="604"/>
                  <a:pt x="860" y="604"/>
                </a:cubicBezTo>
                <a:cubicBezTo>
                  <a:pt x="872" y="604"/>
                  <a:pt x="881" y="594"/>
                  <a:pt x="881" y="582"/>
                </a:cubicBezTo>
                <a:cubicBezTo>
                  <a:pt x="881" y="570"/>
                  <a:pt x="872" y="561"/>
                  <a:pt x="860" y="561"/>
                </a:cubicBezTo>
                <a:cubicBezTo>
                  <a:pt x="805" y="561"/>
                  <a:pt x="805" y="561"/>
                  <a:pt x="805" y="561"/>
                </a:cubicBezTo>
                <a:cubicBezTo>
                  <a:pt x="801" y="561"/>
                  <a:pt x="798" y="557"/>
                  <a:pt x="798" y="553"/>
                </a:cubicBezTo>
                <a:cubicBezTo>
                  <a:pt x="798" y="549"/>
                  <a:pt x="801" y="546"/>
                  <a:pt x="805" y="546"/>
                </a:cubicBezTo>
                <a:cubicBezTo>
                  <a:pt x="972" y="546"/>
                  <a:pt x="972" y="546"/>
                  <a:pt x="972" y="546"/>
                </a:cubicBezTo>
                <a:cubicBezTo>
                  <a:pt x="984" y="546"/>
                  <a:pt x="993" y="536"/>
                  <a:pt x="993" y="524"/>
                </a:cubicBezTo>
                <a:cubicBezTo>
                  <a:pt x="993" y="513"/>
                  <a:pt x="984" y="503"/>
                  <a:pt x="972" y="503"/>
                </a:cubicBezTo>
                <a:cubicBezTo>
                  <a:pt x="846" y="503"/>
                  <a:pt x="846" y="503"/>
                  <a:pt x="846" y="503"/>
                </a:cubicBezTo>
                <a:cubicBezTo>
                  <a:pt x="842" y="503"/>
                  <a:pt x="839" y="500"/>
                  <a:pt x="839" y="496"/>
                </a:cubicBezTo>
                <a:cubicBezTo>
                  <a:pt x="839" y="492"/>
                  <a:pt x="842" y="488"/>
                  <a:pt x="846" y="488"/>
                </a:cubicBezTo>
                <a:cubicBezTo>
                  <a:pt x="969" y="488"/>
                  <a:pt x="969" y="488"/>
                  <a:pt x="969" y="488"/>
                </a:cubicBezTo>
                <a:cubicBezTo>
                  <a:pt x="981" y="488"/>
                  <a:pt x="991" y="479"/>
                  <a:pt x="991" y="467"/>
                </a:cubicBezTo>
                <a:cubicBezTo>
                  <a:pt x="991" y="455"/>
                  <a:pt x="981" y="445"/>
                  <a:pt x="969" y="445"/>
                </a:cubicBezTo>
                <a:cubicBezTo>
                  <a:pt x="768" y="445"/>
                  <a:pt x="768" y="445"/>
                  <a:pt x="768" y="445"/>
                </a:cubicBezTo>
                <a:cubicBezTo>
                  <a:pt x="764" y="445"/>
                  <a:pt x="761" y="442"/>
                  <a:pt x="761" y="438"/>
                </a:cubicBezTo>
                <a:cubicBezTo>
                  <a:pt x="761" y="434"/>
                  <a:pt x="764" y="430"/>
                  <a:pt x="768" y="430"/>
                </a:cubicBezTo>
                <a:cubicBezTo>
                  <a:pt x="804" y="430"/>
                  <a:pt x="804" y="430"/>
                  <a:pt x="804" y="430"/>
                </a:cubicBezTo>
                <a:cubicBezTo>
                  <a:pt x="816" y="430"/>
                  <a:pt x="826" y="421"/>
                  <a:pt x="826" y="409"/>
                </a:cubicBezTo>
                <a:cubicBezTo>
                  <a:pt x="826" y="397"/>
                  <a:pt x="816" y="387"/>
                  <a:pt x="804" y="387"/>
                </a:cubicBezTo>
                <a:cubicBezTo>
                  <a:pt x="766" y="387"/>
                  <a:pt x="766" y="387"/>
                  <a:pt x="766" y="387"/>
                </a:cubicBezTo>
                <a:cubicBezTo>
                  <a:pt x="762" y="387"/>
                  <a:pt x="759" y="384"/>
                  <a:pt x="759" y="380"/>
                </a:cubicBezTo>
                <a:cubicBezTo>
                  <a:pt x="759" y="376"/>
                  <a:pt x="762" y="373"/>
                  <a:pt x="766" y="373"/>
                </a:cubicBezTo>
                <a:cubicBezTo>
                  <a:pt x="885" y="373"/>
                  <a:pt x="885" y="373"/>
                  <a:pt x="885" y="373"/>
                </a:cubicBezTo>
                <a:cubicBezTo>
                  <a:pt x="886" y="373"/>
                  <a:pt x="887" y="373"/>
                  <a:pt x="888" y="373"/>
                </a:cubicBezTo>
                <a:cubicBezTo>
                  <a:pt x="1592" y="373"/>
                  <a:pt x="1592" y="373"/>
                  <a:pt x="1592" y="373"/>
                </a:cubicBezTo>
                <a:cubicBezTo>
                  <a:pt x="1596" y="373"/>
                  <a:pt x="1599" y="376"/>
                  <a:pt x="1599" y="380"/>
                </a:cubicBezTo>
                <a:cubicBezTo>
                  <a:pt x="1599" y="384"/>
                  <a:pt x="1596" y="388"/>
                  <a:pt x="1592" y="388"/>
                </a:cubicBezTo>
                <a:cubicBezTo>
                  <a:pt x="855" y="388"/>
                  <a:pt x="855" y="388"/>
                  <a:pt x="855" y="388"/>
                </a:cubicBezTo>
                <a:cubicBezTo>
                  <a:pt x="843" y="388"/>
                  <a:pt x="834" y="397"/>
                  <a:pt x="834" y="409"/>
                </a:cubicBezTo>
                <a:cubicBezTo>
                  <a:pt x="834" y="421"/>
                  <a:pt x="843" y="431"/>
                  <a:pt x="855" y="431"/>
                </a:cubicBezTo>
                <a:cubicBezTo>
                  <a:pt x="1592" y="431"/>
                  <a:pt x="1592" y="431"/>
                  <a:pt x="1592" y="431"/>
                </a:cubicBezTo>
                <a:cubicBezTo>
                  <a:pt x="1596" y="431"/>
                  <a:pt x="1599" y="434"/>
                  <a:pt x="1599" y="438"/>
                </a:cubicBezTo>
                <a:cubicBezTo>
                  <a:pt x="1599" y="442"/>
                  <a:pt x="1596" y="445"/>
                  <a:pt x="1592" y="445"/>
                </a:cubicBezTo>
                <a:cubicBezTo>
                  <a:pt x="1039" y="445"/>
                  <a:pt x="1039" y="445"/>
                  <a:pt x="1039" y="445"/>
                </a:cubicBezTo>
                <a:cubicBezTo>
                  <a:pt x="1027" y="445"/>
                  <a:pt x="1017" y="455"/>
                  <a:pt x="1017" y="467"/>
                </a:cubicBezTo>
                <a:cubicBezTo>
                  <a:pt x="1017" y="479"/>
                  <a:pt x="1027" y="489"/>
                  <a:pt x="1039" y="489"/>
                </a:cubicBezTo>
                <a:cubicBezTo>
                  <a:pt x="1553" y="489"/>
                  <a:pt x="1553" y="489"/>
                  <a:pt x="1553" y="489"/>
                </a:cubicBezTo>
                <a:cubicBezTo>
                  <a:pt x="1557" y="489"/>
                  <a:pt x="1560" y="492"/>
                  <a:pt x="1560" y="496"/>
                </a:cubicBezTo>
                <a:cubicBezTo>
                  <a:pt x="1560" y="500"/>
                  <a:pt x="1557" y="503"/>
                  <a:pt x="1553" y="503"/>
                </a:cubicBezTo>
                <a:cubicBezTo>
                  <a:pt x="1039" y="503"/>
                  <a:pt x="1039" y="503"/>
                  <a:pt x="1039" y="503"/>
                </a:cubicBezTo>
                <a:cubicBezTo>
                  <a:pt x="1027" y="503"/>
                  <a:pt x="1017" y="513"/>
                  <a:pt x="1017" y="525"/>
                </a:cubicBezTo>
                <a:cubicBezTo>
                  <a:pt x="1017" y="537"/>
                  <a:pt x="1027" y="546"/>
                  <a:pt x="1039" y="546"/>
                </a:cubicBezTo>
                <a:cubicBezTo>
                  <a:pt x="1528" y="546"/>
                  <a:pt x="1528" y="546"/>
                  <a:pt x="1528" y="546"/>
                </a:cubicBezTo>
                <a:cubicBezTo>
                  <a:pt x="1532" y="546"/>
                  <a:pt x="1536" y="550"/>
                  <a:pt x="1536" y="554"/>
                </a:cubicBezTo>
                <a:cubicBezTo>
                  <a:pt x="1536" y="558"/>
                  <a:pt x="1532" y="561"/>
                  <a:pt x="1528" y="561"/>
                </a:cubicBezTo>
                <a:cubicBezTo>
                  <a:pt x="1019" y="561"/>
                  <a:pt x="1019" y="561"/>
                  <a:pt x="1019" y="561"/>
                </a:cubicBezTo>
                <a:cubicBezTo>
                  <a:pt x="1007" y="561"/>
                  <a:pt x="997" y="571"/>
                  <a:pt x="997" y="583"/>
                </a:cubicBezTo>
                <a:cubicBezTo>
                  <a:pt x="997" y="595"/>
                  <a:pt x="1007" y="604"/>
                  <a:pt x="1019" y="604"/>
                </a:cubicBezTo>
                <a:cubicBezTo>
                  <a:pt x="1526" y="604"/>
                  <a:pt x="1526" y="604"/>
                  <a:pt x="1526" y="604"/>
                </a:cubicBezTo>
                <a:cubicBezTo>
                  <a:pt x="1530" y="604"/>
                  <a:pt x="1534" y="607"/>
                  <a:pt x="1534" y="612"/>
                </a:cubicBezTo>
                <a:cubicBezTo>
                  <a:pt x="1534" y="616"/>
                  <a:pt x="1530" y="619"/>
                  <a:pt x="1526" y="619"/>
                </a:cubicBezTo>
                <a:cubicBezTo>
                  <a:pt x="1068" y="619"/>
                  <a:pt x="1068" y="619"/>
                  <a:pt x="1068" y="619"/>
                </a:cubicBezTo>
                <a:cubicBezTo>
                  <a:pt x="1056" y="619"/>
                  <a:pt x="1046" y="629"/>
                  <a:pt x="1046" y="640"/>
                </a:cubicBezTo>
                <a:cubicBezTo>
                  <a:pt x="1046" y="652"/>
                  <a:pt x="1056" y="662"/>
                  <a:pt x="1068" y="662"/>
                </a:cubicBezTo>
                <a:cubicBezTo>
                  <a:pt x="1436" y="662"/>
                  <a:pt x="1436" y="662"/>
                  <a:pt x="1436" y="662"/>
                </a:cubicBezTo>
                <a:cubicBezTo>
                  <a:pt x="1440" y="662"/>
                  <a:pt x="1443" y="665"/>
                  <a:pt x="1443" y="669"/>
                </a:cubicBezTo>
                <a:cubicBezTo>
                  <a:pt x="1443" y="673"/>
                  <a:pt x="1440" y="677"/>
                  <a:pt x="1436" y="677"/>
                </a:cubicBezTo>
                <a:cubicBezTo>
                  <a:pt x="1287" y="677"/>
                  <a:pt x="1287" y="677"/>
                  <a:pt x="1287" y="677"/>
                </a:cubicBezTo>
                <a:cubicBezTo>
                  <a:pt x="1276" y="677"/>
                  <a:pt x="1266" y="686"/>
                  <a:pt x="1266" y="698"/>
                </a:cubicBezTo>
                <a:cubicBezTo>
                  <a:pt x="1266" y="710"/>
                  <a:pt x="1276" y="720"/>
                  <a:pt x="1287" y="720"/>
                </a:cubicBezTo>
                <a:cubicBezTo>
                  <a:pt x="1454" y="720"/>
                  <a:pt x="1454" y="720"/>
                  <a:pt x="1454" y="720"/>
                </a:cubicBezTo>
                <a:cubicBezTo>
                  <a:pt x="1458" y="720"/>
                  <a:pt x="1461" y="723"/>
                  <a:pt x="1461" y="727"/>
                </a:cubicBezTo>
                <a:cubicBezTo>
                  <a:pt x="1461" y="731"/>
                  <a:pt x="1458" y="734"/>
                  <a:pt x="1454" y="734"/>
                </a:cubicBezTo>
                <a:cubicBezTo>
                  <a:pt x="1321" y="734"/>
                  <a:pt x="1321" y="734"/>
                  <a:pt x="1321" y="734"/>
                </a:cubicBezTo>
                <a:cubicBezTo>
                  <a:pt x="1309" y="734"/>
                  <a:pt x="1300" y="744"/>
                  <a:pt x="1300" y="756"/>
                </a:cubicBezTo>
                <a:cubicBezTo>
                  <a:pt x="1300" y="768"/>
                  <a:pt x="1309" y="778"/>
                  <a:pt x="1321" y="778"/>
                </a:cubicBezTo>
                <a:cubicBezTo>
                  <a:pt x="1549" y="778"/>
                  <a:pt x="1549" y="778"/>
                  <a:pt x="1549" y="778"/>
                </a:cubicBezTo>
                <a:cubicBezTo>
                  <a:pt x="1553" y="778"/>
                  <a:pt x="1556" y="781"/>
                  <a:pt x="1556" y="785"/>
                </a:cubicBezTo>
                <a:cubicBezTo>
                  <a:pt x="1556" y="789"/>
                  <a:pt x="1553" y="792"/>
                  <a:pt x="1549" y="792"/>
                </a:cubicBezTo>
                <a:cubicBezTo>
                  <a:pt x="1455" y="792"/>
                  <a:pt x="1455" y="792"/>
                  <a:pt x="1455" y="792"/>
                </a:cubicBezTo>
                <a:cubicBezTo>
                  <a:pt x="1443" y="792"/>
                  <a:pt x="1434" y="802"/>
                  <a:pt x="1434" y="814"/>
                </a:cubicBezTo>
                <a:cubicBezTo>
                  <a:pt x="1434" y="826"/>
                  <a:pt x="1443" y="835"/>
                  <a:pt x="1455" y="835"/>
                </a:cubicBezTo>
                <a:cubicBezTo>
                  <a:pt x="1623" y="835"/>
                  <a:pt x="1623" y="835"/>
                  <a:pt x="1623" y="835"/>
                </a:cubicBezTo>
                <a:cubicBezTo>
                  <a:pt x="1635" y="835"/>
                  <a:pt x="1645" y="826"/>
                  <a:pt x="1645" y="814"/>
                </a:cubicBezTo>
                <a:cubicBezTo>
                  <a:pt x="1645" y="802"/>
                  <a:pt x="1635" y="792"/>
                  <a:pt x="1623" y="792"/>
                </a:cubicBezTo>
                <a:cubicBezTo>
                  <a:pt x="1607" y="792"/>
                  <a:pt x="1607" y="792"/>
                  <a:pt x="1607" y="792"/>
                </a:cubicBezTo>
                <a:cubicBezTo>
                  <a:pt x="1603" y="792"/>
                  <a:pt x="1600" y="789"/>
                  <a:pt x="1600" y="785"/>
                </a:cubicBezTo>
                <a:cubicBezTo>
                  <a:pt x="1600" y="781"/>
                  <a:pt x="1603" y="778"/>
                  <a:pt x="1607" y="778"/>
                </a:cubicBezTo>
                <a:cubicBezTo>
                  <a:pt x="1683" y="778"/>
                  <a:pt x="1683" y="778"/>
                  <a:pt x="1683" y="778"/>
                </a:cubicBezTo>
                <a:cubicBezTo>
                  <a:pt x="1687" y="778"/>
                  <a:pt x="1690" y="781"/>
                  <a:pt x="1690" y="785"/>
                </a:cubicBezTo>
                <a:cubicBezTo>
                  <a:pt x="1690" y="789"/>
                  <a:pt x="1687" y="792"/>
                  <a:pt x="1683" y="792"/>
                </a:cubicBezTo>
                <a:cubicBezTo>
                  <a:pt x="1673" y="792"/>
                  <a:pt x="1673" y="792"/>
                  <a:pt x="1673" y="792"/>
                </a:cubicBezTo>
                <a:cubicBezTo>
                  <a:pt x="1662" y="792"/>
                  <a:pt x="1652" y="802"/>
                  <a:pt x="1652" y="814"/>
                </a:cubicBezTo>
                <a:cubicBezTo>
                  <a:pt x="1652" y="826"/>
                  <a:pt x="1662" y="835"/>
                  <a:pt x="1673" y="835"/>
                </a:cubicBezTo>
                <a:cubicBezTo>
                  <a:pt x="1681" y="835"/>
                  <a:pt x="1681" y="835"/>
                  <a:pt x="1681" y="835"/>
                </a:cubicBezTo>
                <a:cubicBezTo>
                  <a:pt x="1693" y="835"/>
                  <a:pt x="1703" y="845"/>
                  <a:pt x="1703" y="857"/>
                </a:cubicBezTo>
                <a:cubicBezTo>
                  <a:pt x="1703" y="869"/>
                  <a:pt x="1693" y="879"/>
                  <a:pt x="1681" y="879"/>
                </a:cubicBezTo>
                <a:cubicBezTo>
                  <a:pt x="1550" y="879"/>
                  <a:pt x="1550" y="879"/>
                  <a:pt x="1550" y="879"/>
                </a:cubicBezTo>
                <a:cubicBezTo>
                  <a:pt x="1538" y="879"/>
                  <a:pt x="1529" y="889"/>
                  <a:pt x="1529" y="901"/>
                </a:cubicBezTo>
                <a:cubicBezTo>
                  <a:pt x="1529" y="913"/>
                  <a:pt x="1538" y="922"/>
                  <a:pt x="1550" y="922"/>
                </a:cubicBezTo>
                <a:cubicBezTo>
                  <a:pt x="1697" y="922"/>
                  <a:pt x="1697" y="922"/>
                  <a:pt x="1697" y="922"/>
                </a:cubicBezTo>
                <a:cubicBezTo>
                  <a:pt x="1701" y="922"/>
                  <a:pt x="1704" y="925"/>
                  <a:pt x="1704" y="929"/>
                </a:cubicBezTo>
                <a:cubicBezTo>
                  <a:pt x="1704" y="934"/>
                  <a:pt x="1701" y="937"/>
                  <a:pt x="1697" y="937"/>
                </a:cubicBezTo>
                <a:cubicBezTo>
                  <a:pt x="1504" y="937"/>
                  <a:pt x="1504" y="937"/>
                  <a:pt x="1504" y="937"/>
                </a:cubicBezTo>
                <a:cubicBezTo>
                  <a:pt x="1492" y="937"/>
                  <a:pt x="1482" y="946"/>
                  <a:pt x="1482" y="958"/>
                </a:cubicBezTo>
                <a:cubicBezTo>
                  <a:pt x="1482" y="970"/>
                  <a:pt x="1492" y="980"/>
                  <a:pt x="1504" y="980"/>
                </a:cubicBezTo>
                <a:cubicBezTo>
                  <a:pt x="1712" y="980"/>
                  <a:pt x="1712" y="980"/>
                  <a:pt x="1712" y="980"/>
                </a:cubicBezTo>
                <a:cubicBezTo>
                  <a:pt x="1716" y="980"/>
                  <a:pt x="1719" y="983"/>
                  <a:pt x="1719" y="987"/>
                </a:cubicBezTo>
                <a:cubicBezTo>
                  <a:pt x="1719" y="991"/>
                  <a:pt x="1716" y="995"/>
                  <a:pt x="1712" y="995"/>
                </a:cubicBezTo>
                <a:cubicBezTo>
                  <a:pt x="1505" y="995"/>
                  <a:pt x="1505" y="995"/>
                  <a:pt x="1505" y="995"/>
                </a:cubicBezTo>
                <a:cubicBezTo>
                  <a:pt x="1494" y="995"/>
                  <a:pt x="1484" y="1004"/>
                  <a:pt x="1484" y="1016"/>
                </a:cubicBezTo>
                <a:cubicBezTo>
                  <a:pt x="1484" y="1028"/>
                  <a:pt x="1494" y="1038"/>
                  <a:pt x="1505" y="1038"/>
                </a:cubicBezTo>
                <a:cubicBezTo>
                  <a:pt x="1693" y="1038"/>
                  <a:pt x="1693" y="1038"/>
                  <a:pt x="1693" y="1038"/>
                </a:cubicBezTo>
                <a:cubicBezTo>
                  <a:pt x="1697" y="1038"/>
                  <a:pt x="1701" y="1041"/>
                  <a:pt x="1701" y="1045"/>
                </a:cubicBezTo>
                <a:cubicBezTo>
                  <a:pt x="1701" y="1049"/>
                  <a:pt x="1697" y="1052"/>
                  <a:pt x="1693" y="1052"/>
                </a:cubicBezTo>
                <a:cubicBezTo>
                  <a:pt x="1635" y="1052"/>
                  <a:pt x="1635" y="1052"/>
                  <a:pt x="1635" y="1052"/>
                </a:cubicBezTo>
                <a:cubicBezTo>
                  <a:pt x="1623" y="1052"/>
                  <a:pt x="1613" y="1062"/>
                  <a:pt x="1613" y="1074"/>
                </a:cubicBezTo>
                <a:cubicBezTo>
                  <a:pt x="1613" y="1086"/>
                  <a:pt x="1623" y="1096"/>
                  <a:pt x="1635" y="1096"/>
                </a:cubicBezTo>
                <a:cubicBezTo>
                  <a:pt x="1658" y="1096"/>
                  <a:pt x="1658" y="1096"/>
                  <a:pt x="1658" y="1096"/>
                </a:cubicBezTo>
                <a:cubicBezTo>
                  <a:pt x="1662" y="1096"/>
                  <a:pt x="1665" y="1099"/>
                  <a:pt x="1665" y="1103"/>
                </a:cubicBezTo>
                <a:cubicBezTo>
                  <a:pt x="1665" y="1107"/>
                  <a:pt x="1662" y="1110"/>
                  <a:pt x="1658" y="1110"/>
                </a:cubicBezTo>
                <a:cubicBezTo>
                  <a:pt x="1650" y="1110"/>
                  <a:pt x="1650" y="1110"/>
                  <a:pt x="1650" y="1110"/>
                </a:cubicBezTo>
                <a:cubicBezTo>
                  <a:pt x="1630" y="1110"/>
                  <a:pt x="1614" y="1126"/>
                  <a:pt x="1614" y="1146"/>
                </a:cubicBezTo>
                <a:cubicBezTo>
                  <a:pt x="1614" y="1166"/>
                  <a:pt x="1630" y="1182"/>
                  <a:pt x="1650" y="1182"/>
                </a:cubicBezTo>
                <a:cubicBezTo>
                  <a:pt x="1789" y="1182"/>
                  <a:pt x="1789" y="1182"/>
                  <a:pt x="1789" y="1182"/>
                </a:cubicBezTo>
                <a:cubicBezTo>
                  <a:pt x="1801" y="1182"/>
                  <a:pt x="1811" y="1173"/>
                  <a:pt x="1811" y="1161"/>
                </a:cubicBezTo>
                <a:cubicBezTo>
                  <a:pt x="1811" y="1149"/>
                  <a:pt x="1801" y="1139"/>
                  <a:pt x="1789" y="1139"/>
                </a:cubicBezTo>
                <a:cubicBezTo>
                  <a:pt x="1766" y="1139"/>
                  <a:pt x="1766" y="1139"/>
                  <a:pt x="1766" y="1139"/>
                </a:cubicBezTo>
                <a:cubicBezTo>
                  <a:pt x="1762" y="1139"/>
                  <a:pt x="1759" y="1136"/>
                  <a:pt x="1759" y="1132"/>
                </a:cubicBezTo>
                <a:cubicBezTo>
                  <a:pt x="1759" y="1128"/>
                  <a:pt x="1762" y="1125"/>
                  <a:pt x="1766" y="1125"/>
                </a:cubicBezTo>
                <a:cubicBezTo>
                  <a:pt x="1824" y="1125"/>
                  <a:pt x="1824" y="1125"/>
                  <a:pt x="1824" y="1125"/>
                </a:cubicBezTo>
                <a:cubicBezTo>
                  <a:pt x="1836" y="1125"/>
                  <a:pt x="1846" y="1115"/>
                  <a:pt x="1846" y="1103"/>
                </a:cubicBezTo>
                <a:cubicBezTo>
                  <a:pt x="1846" y="1091"/>
                  <a:pt x="1836" y="1081"/>
                  <a:pt x="1824" y="1081"/>
                </a:cubicBezTo>
                <a:cubicBezTo>
                  <a:pt x="1797" y="1081"/>
                  <a:pt x="1797" y="1081"/>
                  <a:pt x="1797" y="1081"/>
                </a:cubicBezTo>
                <a:cubicBezTo>
                  <a:pt x="1793" y="1081"/>
                  <a:pt x="1790" y="1078"/>
                  <a:pt x="1790" y="1074"/>
                </a:cubicBezTo>
                <a:cubicBezTo>
                  <a:pt x="1790" y="1070"/>
                  <a:pt x="1793" y="1067"/>
                  <a:pt x="1797" y="1067"/>
                </a:cubicBezTo>
                <a:cubicBezTo>
                  <a:pt x="1843" y="1067"/>
                  <a:pt x="1843" y="1067"/>
                  <a:pt x="1843" y="1067"/>
                </a:cubicBezTo>
                <a:cubicBezTo>
                  <a:pt x="1855" y="1067"/>
                  <a:pt x="1864" y="1057"/>
                  <a:pt x="1864" y="1045"/>
                </a:cubicBezTo>
                <a:cubicBezTo>
                  <a:pt x="1864" y="1033"/>
                  <a:pt x="1855" y="1024"/>
                  <a:pt x="1843" y="1024"/>
                </a:cubicBezTo>
                <a:cubicBezTo>
                  <a:pt x="1791" y="1023"/>
                  <a:pt x="1791" y="1023"/>
                  <a:pt x="1791" y="1023"/>
                </a:cubicBezTo>
                <a:cubicBezTo>
                  <a:pt x="1787" y="1023"/>
                  <a:pt x="1784" y="1020"/>
                  <a:pt x="1784" y="1016"/>
                </a:cubicBezTo>
                <a:cubicBezTo>
                  <a:pt x="1784" y="1012"/>
                  <a:pt x="1787" y="1009"/>
                  <a:pt x="1791" y="1009"/>
                </a:cubicBezTo>
                <a:cubicBezTo>
                  <a:pt x="1876" y="1009"/>
                  <a:pt x="1876" y="1009"/>
                  <a:pt x="1876" y="1009"/>
                </a:cubicBezTo>
                <a:cubicBezTo>
                  <a:pt x="1945" y="1009"/>
                  <a:pt x="2002" y="955"/>
                  <a:pt x="2008" y="887"/>
                </a:cubicBezTo>
                <a:cubicBezTo>
                  <a:pt x="2015" y="884"/>
                  <a:pt x="2020" y="878"/>
                  <a:pt x="2020" y="870"/>
                </a:cubicBezTo>
                <a:cubicBezTo>
                  <a:pt x="2020" y="860"/>
                  <a:pt x="2011" y="851"/>
                  <a:pt x="2001" y="851"/>
                </a:cubicBezTo>
                <a:close/>
                <a:moveTo>
                  <a:pt x="868" y="358"/>
                </a:moveTo>
                <a:cubicBezTo>
                  <a:pt x="766" y="358"/>
                  <a:pt x="766" y="358"/>
                  <a:pt x="766" y="358"/>
                </a:cubicBezTo>
                <a:cubicBezTo>
                  <a:pt x="754" y="358"/>
                  <a:pt x="744" y="368"/>
                  <a:pt x="744" y="380"/>
                </a:cubicBezTo>
                <a:cubicBezTo>
                  <a:pt x="744" y="392"/>
                  <a:pt x="754" y="402"/>
                  <a:pt x="766" y="402"/>
                </a:cubicBezTo>
                <a:cubicBezTo>
                  <a:pt x="804" y="402"/>
                  <a:pt x="804" y="402"/>
                  <a:pt x="804" y="402"/>
                </a:cubicBezTo>
                <a:cubicBezTo>
                  <a:pt x="809" y="402"/>
                  <a:pt x="812" y="405"/>
                  <a:pt x="812" y="409"/>
                </a:cubicBezTo>
                <a:cubicBezTo>
                  <a:pt x="812" y="413"/>
                  <a:pt x="809" y="416"/>
                  <a:pt x="804" y="416"/>
                </a:cubicBezTo>
                <a:cubicBezTo>
                  <a:pt x="768" y="416"/>
                  <a:pt x="768" y="416"/>
                  <a:pt x="768" y="416"/>
                </a:cubicBezTo>
                <a:cubicBezTo>
                  <a:pt x="756" y="416"/>
                  <a:pt x="747" y="426"/>
                  <a:pt x="747" y="438"/>
                </a:cubicBezTo>
                <a:cubicBezTo>
                  <a:pt x="747" y="450"/>
                  <a:pt x="756" y="459"/>
                  <a:pt x="768" y="459"/>
                </a:cubicBezTo>
                <a:cubicBezTo>
                  <a:pt x="969" y="459"/>
                  <a:pt x="969" y="459"/>
                  <a:pt x="969" y="459"/>
                </a:cubicBezTo>
                <a:cubicBezTo>
                  <a:pt x="973" y="459"/>
                  <a:pt x="977" y="463"/>
                  <a:pt x="977" y="467"/>
                </a:cubicBezTo>
                <a:cubicBezTo>
                  <a:pt x="977" y="471"/>
                  <a:pt x="973" y="474"/>
                  <a:pt x="969" y="474"/>
                </a:cubicBezTo>
                <a:cubicBezTo>
                  <a:pt x="846" y="474"/>
                  <a:pt x="846" y="474"/>
                  <a:pt x="846" y="474"/>
                </a:cubicBezTo>
                <a:cubicBezTo>
                  <a:pt x="834" y="474"/>
                  <a:pt x="824" y="484"/>
                  <a:pt x="824" y="496"/>
                </a:cubicBezTo>
                <a:cubicBezTo>
                  <a:pt x="824" y="507"/>
                  <a:pt x="834" y="517"/>
                  <a:pt x="846" y="517"/>
                </a:cubicBezTo>
                <a:cubicBezTo>
                  <a:pt x="972" y="517"/>
                  <a:pt x="972" y="517"/>
                  <a:pt x="972" y="517"/>
                </a:cubicBezTo>
                <a:cubicBezTo>
                  <a:pt x="976" y="517"/>
                  <a:pt x="979" y="520"/>
                  <a:pt x="979" y="524"/>
                </a:cubicBezTo>
                <a:cubicBezTo>
                  <a:pt x="979" y="529"/>
                  <a:pt x="976" y="532"/>
                  <a:pt x="972" y="532"/>
                </a:cubicBezTo>
                <a:cubicBezTo>
                  <a:pt x="805" y="532"/>
                  <a:pt x="805" y="532"/>
                  <a:pt x="805" y="532"/>
                </a:cubicBezTo>
                <a:cubicBezTo>
                  <a:pt x="793" y="532"/>
                  <a:pt x="783" y="541"/>
                  <a:pt x="783" y="553"/>
                </a:cubicBezTo>
                <a:cubicBezTo>
                  <a:pt x="783" y="565"/>
                  <a:pt x="793" y="575"/>
                  <a:pt x="805" y="575"/>
                </a:cubicBezTo>
                <a:cubicBezTo>
                  <a:pt x="860" y="575"/>
                  <a:pt x="860" y="575"/>
                  <a:pt x="860" y="575"/>
                </a:cubicBezTo>
                <a:cubicBezTo>
                  <a:pt x="864" y="575"/>
                  <a:pt x="867" y="578"/>
                  <a:pt x="867" y="582"/>
                </a:cubicBezTo>
                <a:cubicBezTo>
                  <a:pt x="867" y="586"/>
                  <a:pt x="864" y="590"/>
                  <a:pt x="860" y="590"/>
                </a:cubicBezTo>
                <a:cubicBezTo>
                  <a:pt x="805" y="590"/>
                  <a:pt x="805" y="590"/>
                  <a:pt x="805" y="590"/>
                </a:cubicBezTo>
                <a:cubicBezTo>
                  <a:pt x="793" y="590"/>
                  <a:pt x="783" y="599"/>
                  <a:pt x="783" y="611"/>
                </a:cubicBezTo>
                <a:cubicBezTo>
                  <a:pt x="783" y="623"/>
                  <a:pt x="793" y="633"/>
                  <a:pt x="805" y="633"/>
                </a:cubicBezTo>
                <a:cubicBezTo>
                  <a:pt x="1011" y="633"/>
                  <a:pt x="1011" y="633"/>
                  <a:pt x="1011" y="633"/>
                </a:cubicBezTo>
                <a:cubicBezTo>
                  <a:pt x="1015" y="633"/>
                  <a:pt x="1018" y="636"/>
                  <a:pt x="1018" y="640"/>
                </a:cubicBezTo>
                <a:cubicBezTo>
                  <a:pt x="1018" y="644"/>
                  <a:pt x="1015" y="647"/>
                  <a:pt x="1011" y="647"/>
                </a:cubicBezTo>
                <a:cubicBezTo>
                  <a:pt x="763" y="647"/>
                  <a:pt x="763" y="647"/>
                  <a:pt x="763" y="647"/>
                </a:cubicBezTo>
                <a:cubicBezTo>
                  <a:pt x="751" y="647"/>
                  <a:pt x="741" y="657"/>
                  <a:pt x="741" y="669"/>
                </a:cubicBezTo>
                <a:cubicBezTo>
                  <a:pt x="741" y="681"/>
                  <a:pt x="751" y="691"/>
                  <a:pt x="763" y="691"/>
                </a:cubicBezTo>
                <a:cubicBezTo>
                  <a:pt x="1046" y="691"/>
                  <a:pt x="1046" y="691"/>
                  <a:pt x="1046" y="691"/>
                </a:cubicBezTo>
                <a:cubicBezTo>
                  <a:pt x="1050" y="691"/>
                  <a:pt x="1054" y="694"/>
                  <a:pt x="1054" y="698"/>
                </a:cubicBezTo>
                <a:cubicBezTo>
                  <a:pt x="1054" y="702"/>
                  <a:pt x="1050" y="705"/>
                  <a:pt x="1046" y="705"/>
                </a:cubicBezTo>
                <a:cubicBezTo>
                  <a:pt x="791" y="705"/>
                  <a:pt x="791" y="705"/>
                  <a:pt x="791" y="705"/>
                </a:cubicBezTo>
                <a:cubicBezTo>
                  <a:pt x="779" y="705"/>
                  <a:pt x="770" y="715"/>
                  <a:pt x="770" y="727"/>
                </a:cubicBezTo>
                <a:cubicBezTo>
                  <a:pt x="770" y="739"/>
                  <a:pt x="779" y="748"/>
                  <a:pt x="791" y="748"/>
                </a:cubicBezTo>
                <a:cubicBezTo>
                  <a:pt x="1104" y="748"/>
                  <a:pt x="1104" y="748"/>
                  <a:pt x="1104" y="748"/>
                </a:cubicBezTo>
                <a:cubicBezTo>
                  <a:pt x="1108" y="748"/>
                  <a:pt x="1111" y="752"/>
                  <a:pt x="1111" y="756"/>
                </a:cubicBezTo>
                <a:cubicBezTo>
                  <a:pt x="1111" y="760"/>
                  <a:pt x="1108" y="763"/>
                  <a:pt x="1104" y="763"/>
                </a:cubicBezTo>
                <a:cubicBezTo>
                  <a:pt x="905" y="763"/>
                  <a:pt x="905" y="763"/>
                  <a:pt x="905" y="763"/>
                </a:cubicBezTo>
                <a:cubicBezTo>
                  <a:pt x="893" y="763"/>
                  <a:pt x="883" y="773"/>
                  <a:pt x="883" y="785"/>
                </a:cubicBezTo>
                <a:cubicBezTo>
                  <a:pt x="883" y="797"/>
                  <a:pt x="893" y="806"/>
                  <a:pt x="905" y="806"/>
                </a:cubicBezTo>
                <a:cubicBezTo>
                  <a:pt x="1049" y="806"/>
                  <a:pt x="1049" y="806"/>
                  <a:pt x="1049" y="806"/>
                </a:cubicBezTo>
                <a:cubicBezTo>
                  <a:pt x="1053" y="806"/>
                  <a:pt x="1057" y="810"/>
                  <a:pt x="1057" y="814"/>
                </a:cubicBezTo>
                <a:cubicBezTo>
                  <a:pt x="1057" y="818"/>
                  <a:pt x="1053" y="821"/>
                  <a:pt x="1049" y="821"/>
                </a:cubicBezTo>
                <a:cubicBezTo>
                  <a:pt x="914" y="821"/>
                  <a:pt x="914" y="821"/>
                  <a:pt x="914" y="821"/>
                </a:cubicBezTo>
                <a:cubicBezTo>
                  <a:pt x="902" y="821"/>
                  <a:pt x="892" y="831"/>
                  <a:pt x="892" y="842"/>
                </a:cubicBezTo>
                <a:cubicBezTo>
                  <a:pt x="892" y="854"/>
                  <a:pt x="902" y="864"/>
                  <a:pt x="914" y="864"/>
                </a:cubicBezTo>
                <a:cubicBezTo>
                  <a:pt x="1053" y="864"/>
                  <a:pt x="1053" y="864"/>
                  <a:pt x="1053" y="864"/>
                </a:cubicBezTo>
                <a:cubicBezTo>
                  <a:pt x="1057" y="864"/>
                  <a:pt x="1061" y="867"/>
                  <a:pt x="1061" y="871"/>
                </a:cubicBezTo>
                <a:cubicBezTo>
                  <a:pt x="1061" y="875"/>
                  <a:pt x="1057" y="879"/>
                  <a:pt x="1053" y="879"/>
                </a:cubicBezTo>
                <a:cubicBezTo>
                  <a:pt x="919" y="879"/>
                  <a:pt x="919" y="879"/>
                  <a:pt x="919" y="879"/>
                </a:cubicBezTo>
                <a:cubicBezTo>
                  <a:pt x="907" y="879"/>
                  <a:pt x="898" y="888"/>
                  <a:pt x="898" y="900"/>
                </a:cubicBezTo>
                <a:cubicBezTo>
                  <a:pt x="898" y="912"/>
                  <a:pt x="907" y="922"/>
                  <a:pt x="919" y="922"/>
                </a:cubicBezTo>
                <a:cubicBezTo>
                  <a:pt x="1017" y="922"/>
                  <a:pt x="1017" y="922"/>
                  <a:pt x="1017" y="922"/>
                </a:cubicBezTo>
                <a:cubicBezTo>
                  <a:pt x="1021" y="922"/>
                  <a:pt x="1024" y="925"/>
                  <a:pt x="1024" y="929"/>
                </a:cubicBezTo>
                <a:cubicBezTo>
                  <a:pt x="1024" y="933"/>
                  <a:pt x="1021" y="936"/>
                  <a:pt x="1017" y="936"/>
                </a:cubicBezTo>
                <a:cubicBezTo>
                  <a:pt x="941" y="936"/>
                  <a:pt x="941" y="936"/>
                  <a:pt x="941" y="936"/>
                </a:cubicBezTo>
                <a:cubicBezTo>
                  <a:pt x="929" y="936"/>
                  <a:pt x="919" y="946"/>
                  <a:pt x="919" y="958"/>
                </a:cubicBezTo>
                <a:cubicBezTo>
                  <a:pt x="919" y="970"/>
                  <a:pt x="929" y="980"/>
                  <a:pt x="941" y="980"/>
                </a:cubicBezTo>
                <a:cubicBezTo>
                  <a:pt x="979" y="980"/>
                  <a:pt x="979" y="980"/>
                  <a:pt x="979" y="980"/>
                </a:cubicBezTo>
                <a:cubicBezTo>
                  <a:pt x="983" y="980"/>
                  <a:pt x="986" y="983"/>
                  <a:pt x="986" y="987"/>
                </a:cubicBezTo>
                <a:cubicBezTo>
                  <a:pt x="986" y="991"/>
                  <a:pt x="983" y="994"/>
                  <a:pt x="979" y="994"/>
                </a:cubicBezTo>
                <a:cubicBezTo>
                  <a:pt x="976" y="994"/>
                  <a:pt x="976" y="994"/>
                  <a:pt x="976" y="994"/>
                </a:cubicBezTo>
                <a:cubicBezTo>
                  <a:pt x="956" y="994"/>
                  <a:pt x="940" y="1010"/>
                  <a:pt x="940" y="1030"/>
                </a:cubicBezTo>
                <a:cubicBezTo>
                  <a:pt x="940" y="1050"/>
                  <a:pt x="956" y="1066"/>
                  <a:pt x="976" y="1066"/>
                </a:cubicBezTo>
                <a:cubicBezTo>
                  <a:pt x="1017" y="1066"/>
                  <a:pt x="1017" y="1066"/>
                  <a:pt x="1017" y="1066"/>
                </a:cubicBezTo>
                <a:cubicBezTo>
                  <a:pt x="1029" y="1066"/>
                  <a:pt x="1039" y="1076"/>
                  <a:pt x="1039" y="1088"/>
                </a:cubicBezTo>
                <a:cubicBezTo>
                  <a:pt x="1039" y="1100"/>
                  <a:pt x="1029" y="1110"/>
                  <a:pt x="1017" y="1110"/>
                </a:cubicBezTo>
                <a:cubicBezTo>
                  <a:pt x="443" y="1110"/>
                  <a:pt x="443" y="1110"/>
                  <a:pt x="443" y="1110"/>
                </a:cubicBezTo>
                <a:cubicBezTo>
                  <a:pt x="439" y="1110"/>
                  <a:pt x="436" y="1107"/>
                  <a:pt x="436" y="1103"/>
                </a:cubicBezTo>
                <a:cubicBezTo>
                  <a:pt x="436" y="1099"/>
                  <a:pt x="439" y="1095"/>
                  <a:pt x="443" y="1095"/>
                </a:cubicBezTo>
                <a:cubicBezTo>
                  <a:pt x="472" y="1095"/>
                  <a:pt x="472" y="1095"/>
                  <a:pt x="472" y="1095"/>
                </a:cubicBezTo>
                <a:cubicBezTo>
                  <a:pt x="484" y="1095"/>
                  <a:pt x="493" y="1086"/>
                  <a:pt x="493" y="1074"/>
                </a:cubicBezTo>
                <a:cubicBezTo>
                  <a:pt x="493" y="1062"/>
                  <a:pt x="484" y="1052"/>
                  <a:pt x="472" y="1052"/>
                </a:cubicBezTo>
                <a:cubicBezTo>
                  <a:pt x="443" y="1052"/>
                  <a:pt x="443" y="1052"/>
                  <a:pt x="443" y="1052"/>
                </a:cubicBezTo>
                <a:cubicBezTo>
                  <a:pt x="439" y="1052"/>
                  <a:pt x="436" y="1049"/>
                  <a:pt x="436" y="1045"/>
                </a:cubicBezTo>
                <a:cubicBezTo>
                  <a:pt x="436" y="1041"/>
                  <a:pt x="439" y="1037"/>
                  <a:pt x="443" y="1037"/>
                </a:cubicBezTo>
                <a:cubicBezTo>
                  <a:pt x="495" y="1037"/>
                  <a:pt x="495" y="1037"/>
                  <a:pt x="495" y="1037"/>
                </a:cubicBezTo>
                <a:cubicBezTo>
                  <a:pt x="507" y="1037"/>
                  <a:pt x="517" y="1028"/>
                  <a:pt x="517" y="1016"/>
                </a:cubicBezTo>
                <a:cubicBezTo>
                  <a:pt x="517" y="1004"/>
                  <a:pt x="507" y="994"/>
                  <a:pt x="495" y="994"/>
                </a:cubicBezTo>
                <a:cubicBezTo>
                  <a:pt x="438" y="994"/>
                  <a:pt x="438" y="994"/>
                  <a:pt x="438" y="994"/>
                </a:cubicBezTo>
                <a:cubicBezTo>
                  <a:pt x="434" y="994"/>
                  <a:pt x="431" y="991"/>
                  <a:pt x="431" y="987"/>
                </a:cubicBezTo>
                <a:cubicBezTo>
                  <a:pt x="431" y="983"/>
                  <a:pt x="434" y="980"/>
                  <a:pt x="438" y="980"/>
                </a:cubicBezTo>
                <a:cubicBezTo>
                  <a:pt x="551" y="980"/>
                  <a:pt x="551" y="980"/>
                  <a:pt x="551" y="980"/>
                </a:cubicBezTo>
                <a:cubicBezTo>
                  <a:pt x="563" y="980"/>
                  <a:pt x="572" y="970"/>
                  <a:pt x="572" y="958"/>
                </a:cubicBezTo>
                <a:cubicBezTo>
                  <a:pt x="572" y="946"/>
                  <a:pt x="563" y="936"/>
                  <a:pt x="551" y="936"/>
                </a:cubicBezTo>
                <a:cubicBezTo>
                  <a:pt x="446" y="936"/>
                  <a:pt x="446" y="936"/>
                  <a:pt x="446" y="936"/>
                </a:cubicBezTo>
                <a:cubicBezTo>
                  <a:pt x="442" y="936"/>
                  <a:pt x="439" y="933"/>
                  <a:pt x="439" y="929"/>
                </a:cubicBezTo>
                <a:cubicBezTo>
                  <a:pt x="439" y="925"/>
                  <a:pt x="442" y="922"/>
                  <a:pt x="446" y="922"/>
                </a:cubicBezTo>
                <a:cubicBezTo>
                  <a:pt x="593" y="922"/>
                  <a:pt x="593" y="922"/>
                  <a:pt x="593" y="922"/>
                </a:cubicBezTo>
                <a:cubicBezTo>
                  <a:pt x="605" y="922"/>
                  <a:pt x="614" y="912"/>
                  <a:pt x="614" y="900"/>
                </a:cubicBezTo>
                <a:cubicBezTo>
                  <a:pt x="614" y="888"/>
                  <a:pt x="605" y="879"/>
                  <a:pt x="593" y="879"/>
                </a:cubicBezTo>
                <a:cubicBezTo>
                  <a:pt x="417" y="879"/>
                  <a:pt x="417" y="879"/>
                  <a:pt x="417" y="879"/>
                </a:cubicBezTo>
                <a:cubicBezTo>
                  <a:pt x="413" y="879"/>
                  <a:pt x="410" y="875"/>
                  <a:pt x="410" y="871"/>
                </a:cubicBezTo>
                <a:cubicBezTo>
                  <a:pt x="410" y="867"/>
                  <a:pt x="413" y="864"/>
                  <a:pt x="417" y="864"/>
                </a:cubicBezTo>
                <a:cubicBezTo>
                  <a:pt x="607" y="864"/>
                  <a:pt x="607" y="864"/>
                  <a:pt x="607" y="864"/>
                </a:cubicBezTo>
                <a:cubicBezTo>
                  <a:pt x="619" y="864"/>
                  <a:pt x="629" y="854"/>
                  <a:pt x="629" y="842"/>
                </a:cubicBezTo>
                <a:cubicBezTo>
                  <a:pt x="629" y="831"/>
                  <a:pt x="619" y="821"/>
                  <a:pt x="607" y="821"/>
                </a:cubicBezTo>
                <a:cubicBezTo>
                  <a:pt x="377" y="821"/>
                  <a:pt x="377" y="821"/>
                  <a:pt x="377" y="821"/>
                </a:cubicBezTo>
                <a:cubicBezTo>
                  <a:pt x="373" y="821"/>
                  <a:pt x="370" y="818"/>
                  <a:pt x="370" y="814"/>
                </a:cubicBezTo>
                <a:cubicBezTo>
                  <a:pt x="370" y="810"/>
                  <a:pt x="373" y="806"/>
                  <a:pt x="377" y="806"/>
                </a:cubicBezTo>
                <a:cubicBezTo>
                  <a:pt x="529" y="806"/>
                  <a:pt x="529" y="806"/>
                  <a:pt x="529" y="806"/>
                </a:cubicBezTo>
                <a:cubicBezTo>
                  <a:pt x="541" y="806"/>
                  <a:pt x="551" y="797"/>
                  <a:pt x="551" y="785"/>
                </a:cubicBezTo>
                <a:cubicBezTo>
                  <a:pt x="551" y="773"/>
                  <a:pt x="541" y="763"/>
                  <a:pt x="529" y="763"/>
                </a:cubicBezTo>
                <a:cubicBezTo>
                  <a:pt x="337" y="763"/>
                  <a:pt x="337" y="763"/>
                  <a:pt x="337" y="763"/>
                </a:cubicBezTo>
                <a:cubicBezTo>
                  <a:pt x="333" y="763"/>
                  <a:pt x="330" y="760"/>
                  <a:pt x="330" y="756"/>
                </a:cubicBezTo>
                <a:cubicBezTo>
                  <a:pt x="330" y="752"/>
                  <a:pt x="333" y="748"/>
                  <a:pt x="337" y="748"/>
                </a:cubicBezTo>
                <a:cubicBezTo>
                  <a:pt x="353" y="748"/>
                  <a:pt x="353" y="748"/>
                  <a:pt x="353" y="748"/>
                </a:cubicBezTo>
                <a:cubicBezTo>
                  <a:pt x="365" y="748"/>
                  <a:pt x="375" y="739"/>
                  <a:pt x="375" y="727"/>
                </a:cubicBezTo>
                <a:cubicBezTo>
                  <a:pt x="375" y="715"/>
                  <a:pt x="365" y="705"/>
                  <a:pt x="353" y="705"/>
                </a:cubicBezTo>
                <a:cubicBezTo>
                  <a:pt x="273" y="705"/>
                  <a:pt x="273" y="705"/>
                  <a:pt x="273" y="705"/>
                </a:cubicBezTo>
                <a:cubicBezTo>
                  <a:pt x="269" y="705"/>
                  <a:pt x="266" y="702"/>
                  <a:pt x="266" y="698"/>
                </a:cubicBezTo>
                <a:cubicBezTo>
                  <a:pt x="266" y="694"/>
                  <a:pt x="269" y="691"/>
                  <a:pt x="273" y="691"/>
                </a:cubicBezTo>
                <a:cubicBezTo>
                  <a:pt x="276" y="691"/>
                  <a:pt x="276" y="691"/>
                  <a:pt x="276" y="691"/>
                </a:cubicBezTo>
                <a:cubicBezTo>
                  <a:pt x="288" y="691"/>
                  <a:pt x="297" y="681"/>
                  <a:pt x="297" y="669"/>
                </a:cubicBezTo>
                <a:cubicBezTo>
                  <a:pt x="297" y="657"/>
                  <a:pt x="288" y="647"/>
                  <a:pt x="276" y="647"/>
                </a:cubicBezTo>
                <a:cubicBezTo>
                  <a:pt x="236" y="647"/>
                  <a:pt x="236" y="647"/>
                  <a:pt x="236" y="647"/>
                </a:cubicBezTo>
                <a:cubicBezTo>
                  <a:pt x="232" y="647"/>
                  <a:pt x="229" y="644"/>
                  <a:pt x="229" y="640"/>
                </a:cubicBezTo>
                <a:cubicBezTo>
                  <a:pt x="229" y="636"/>
                  <a:pt x="232" y="633"/>
                  <a:pt x="236" y="633"/>
                </a:cubicBezTo>
                <a:cubicBezTo>
                  <a:pt x="266" y="633"/>
                  <a:pt x="266" y="633"/>
                  <a:pt x="266" y="633"/>
                </a:cubicBezTo>
                <a:cubicBezTo>
                  <a:pt x="278" y="633"/>
                  <a:pt x="288" y="623"/>
                  <a:pt x="288" y="611"/>
                </a:cubicBezTo>
                <a:cubicBezTo>
                  <a:pt x="288" y="599"/>
                  <a:pt x="278" y="590"/>
                  <a:pt x="266" y="590"/>
                </a:cubicBezTo>
                <a:cubicBezTo>
                  <a:pt x="190" y="590"/>
                  <a:pt x="190" y="590"/>
                  <a:pt x="190" y="590"/>
                </a:cubicBezTo>
                <a:cubicBezTo>
                  <a:pt x="186" y="590"/>
                  <a:pt x="182" y="586"/>
                  <a:pt x="182" y="582"/>
                </a:cubicBezTo>
                <a:cubicBezTo>
                  <a:pt x="182" y="578"/>
                  <a:pt x="186" y="575"/>
                  <a:pt x="190" y="575"/>
                </a:cubicBezTo>
                <a:cubicBezTo>
                  <a:pt x="381" y="575"/>
                  <a:pt x="381" y="575"/>
                  <a:pt x="381" y="575"/>
                </a:cubicBezTo>
                <a:cubicBezTo>
                  <a:pt x="393" y="575"/>
                  <a:pt x="402" y="565"/>
                  <a:pt x="402" y="553"/>
                </a:cubicBezTo>
                <a:cubicBezTo>
                  <a:pt x="402" y="541"/>
                  <a:pt x="393" y="532"/>
                  <a:pt x="381" y="532"/>
                </a:cubicBezTo>
                <a:cubicBezTo>
                  <a:pt x="162" y="532"/>
                  <a:pt x="162" y="532"/>
                  <a:pt x="162" y="532"/>
                </a:cubicBezTo>
                <a:cubicBezTo>
                  <a:pt x="158" y="532"/>
                  <a:pt x="154" y="529"/>
                  <a:pt x="154" y="524"/>
                </a:cubicBezTo>
                <a:cubicBezTo>
                  <a:pt x="154" y="520"/>
                  <a:pt x="158" y="517"/>
                  <a:pt x="162" y="517"/>
                </a:cubicBezTo>
                <a:cubicBezTo>
                  <a:pt x="433" y="517"/>
                  <a:pt x="433" y="517"/>
                  <a:pt x="433" y="517"/>
                </a:cubicBezTo>
                <a:cubicBezTo>
                  <a:pt x="445" y="517"/>
                  <a:pt x="454" y="507"/>
                  <a:pt x="454" y="496"/>
                </a:cubicBezTo>
                <a:cubicBezTo>
                  <a:pt x="454" y="484"/>
                  <a:pt x="445" y="474"/>
                  <a:pt x="433" y="474"/>
                </a:cubicBezTo>
                <a:cubicBezTo>
                  <a:pt x="180" y="474"/>
                  <a:pt x="180" y="474"/>
                  <a:pt x="180" y="474"/>
                </a:cubicBezTo>
                <a:cubicBezTo>
                  <a:pt x="176" y="474"/>
                  <a:pt x="173" y="471"/>
                  <a:pt x="173" y="467"/>
                </a:cubicBezTo>
                <a:cubicBezTo>
                  <a:pt x="173" y="463"/>
                  <a:pt x="176" y="459"/>
                  <a:pt x="180" y="459"/>
                </a:cubicBezTo>
                <a:cubicBezTo>
                  <a:pt x="518" y="459"/>
                  <a:pt x="518" y="459"/>
                  <a:pt x="518" y="459"/>
                </a:cubicBezTo>
                <a:cubicBezTo>
                  <a:pt x="530" y="459"/>
                  <a:pt x="540" y="450"/>
                  <a:pt x="540" y="438"/>
                </a:cubicBezTo>
                <a:cubicBezTo>
                  <a:pt x="540" y="426"/>
                  <a:pt x="530" y="416"/>
                  <a:pt x="518" y="416"/>
                </a:cubicBezTo>
                <a:cubicBezTo>
                  <a:pt x="164" y="416"/>
                  <a:pt x="164" y="416"/>
                  <a:pt x="164" y="416"/>
                </a:cubicBezTo>
                <a:cubicBezTo>
                  <a:pt x="160" y="416"/>
                  <a:pt x="156" y="413"/>
                  <a:pt x="156" y="409"/>
                </a:cubicBezTo>
                <a:cubicBezTo>
                  <a:pt x="156" y="405"/>
                  <a:pt x="160" y="402"/>
                  <a:pt x="164" y="402"/>
                </a:cubicBezTo>
                <a:cubicBezTo>
                  <a:pt x="522" y="402"/>
                  <a:pt x="522" y="402"/>
                  <a:pt x="522" y="402"/>
                </a:cubicBezTo>
                <a:cubicBezTo>
                  <a:pt x="534" y="402"/>
                  <a:pt x="544" y="392"/>
                  <a:pt x="544" y="380"/>
                </a:cubicBezTo>
                <a:cubicBezTo>
                  <a:pt x="544" y="378"/>
                  <a:pt x="543" y="375"/>
                  <a:pt x="543" y="373"/>
                </a:cubicBezTo>
                <a:cubicBezTo>
                  <a:pt x="625" y="373"/>
                  <a:pt x="625" y="373"/>
                  <a:pt x="625" y="373"/>
                </a:cubicBezTo>
                <a:cubicBezTo>
                  <a:pt x="636" y="373"/>
                  <a:pt x="646" y="363"/>
                  <a:pt x="646" y="351"/>
                </a:cubicBezTo>
                <a:cubicBezTo>
                  <a:pt x="646" y="339"/>
                  <a:pt x="636" y="330"/>
                  <a:pt x="625" y="330"/>
                </a:cubicBezTo>
                <a:cubicBezTo>
                  <a:pt x="601" y="330"/>
                  <a:pt x="601" y="330"/>
                  <a:pt x="601" y="330"/>
                </a:cubicBezTo>
                <a:cubicBezTo>
                  <a:pt x="597" y="330"/>
                  <a:pt x="594" y="326"/>
                  <a:pt x="594" y="322"/>
                </a:cubicBezTo>
                <a:cubicBezTo>
                  <a:pt x="594" y="318"/>
                  <a:pt x="597" y="315"/>
                  <a:pt x="601" y="315"/>
                </a:cubicBezTo>
                <a:cubicBezTo>
                  <a:pt x="721" y="315"/>
                  <a:pt x="721" y="315"/>
                  <a:pt x="721" y="315"/>
                </a:cubicBezTo>
                <a:cubicBezTo>
                  <a:pt x="733" y="315"/>
                  <a:pt x="743" y="305"/>
                  <a:pt x="743" y="294"/>
                </a:cubicBezTo>
                <a:cubicBezTo>
                  <a:pt x="743" y="282"/>
                  <a:pt x="733" y="272"/>
                  <a:pt x="721" y="272"/>
                </a:cubicBezTo>
                <a:cubicBezTo>
                  <a:pt x="600" y="272"/>
                  <a:pt x="600" y="272"/>
                  <a:pt x="600" y="272"/>
                </a:cubicBezTo>
                <a:cubicBezTo>
                  <a:pt x="596" y="272"/>
                  <a:pt x="593" y="269"/>
                  <a:pt x="593" y="265"/>
                </a:cubicBezTo>
                <a:cubicBezTo>
                  <a:pt x="593" y="261"/>
                  <a:pt x="596" y="257"/>
                  <a:pt x="600" y="257"/>
                </a:cubicBezTo>
                <a:cubicBezTo>
                  <a:pt x="734" y="257"/>
                  <a:pt x="734" y="257"/>
                  <a:pt x="734" y="257"/>
                </a:cubicBezTo>
                <a:cubicBezTo>
                  <a:pt x="746" y="257"/>
                  <a:pt x="756" y="248"/>
                  <a:pt x="756" y="236"/>
                </a:cubicBezTo>
                <a:cubicBezTo>
                  <a:pt x="756" y="224"/>
                  <a:pt x="746" y="214"/>
                  <a:pt x="734" y="214"/>
                </a:cubicBezTo>
                <a:cubicBezTo>
                  <a:pt x="581" y="214"/>
                  <a:pt x="581" y="214"/>
                  <a:pt x="581" y="214"/>
                </a:cubicBezTo>
                <a:cubicBezTo>
                  <a:pt x="577" y="214"/>
                  <a:pt x="573" y="211"/>
                  <a:pt x="573" y="207"/>
                </a:cubicBezTo>
                <a:cubicBezTo>
                  <a:pt x="573" y="203"/>
                  <a:pt x="577" y="200"/>
                  <a:pt x="581" y="200"/>
                </a:cubicBezTo>
                <a:cubicBezTo>
                  <a:pt x="749" y="200"/>
                  <a:pt x="749" y="200"/>
                  <a:pt x="749" y="200"/>
                </a:cubicBezTo>
                <a:cubicBezTo>
                  <a:pt x="760" y="200"/>
                  <a:pt x="770" y="190"/>
                  <a:pt x="770" y="178"/>
                </a:cubicBezTo>
                <a:cubicBezTo>
                  <a:pt x="770" y="166"/>
                  <a:pt x="760" y="156"/>
                  <a:pt x="749" y="156"/>
                </a:cubicBezTo>
                <a:cubicBezTo>
                  <a:pt x="561" y="156"/>
                  <a:pt x="561" y="156"/>
                  <a:pt x="561" y="156"/>
                </a:cubicBezTo>
                <a:cubicBezTo>
                  <a:pt x="557" y="156"/>
                  <a:pt x="554" y="153"/>
                  <a:pt x="554" y="149"/>
                </a:cubicBezTo>
                <a:cubicBezTo>
                  <a:pt x="554" y="145"/>
                  <a:pt x="557" y="142"/>
                  <a:pt x="561" y="142"/>
                </a:cubicBezTo>
                <a:cubicBezTo>
                  <a:pt x="754" y="142"/>
                  <a:pt x="754" y="142"/>
                  <a:pt x="754" y="142"/>
                </a:cubicBezTo>
                <a:cubicBezTo>
                  <a:pt x="766" y="142"/>
                  <a:pt x="776" y="132"/>
                  <a:pt x="776" y="120"/>
                </a:cubicBezTo>
                <a:cubicBezTo>
                  <a:pt x="776" y="108"/>
                  <a:pt x="766" y="99"/>
                  <a:pt x="754" y="99"/>
                </a:cubicBezTo>
                <a:cubicBezTo>
                  <a:pt x="622" y="99"/>
                  <a:pt x="622" y="99"/>
                  <a:pt x="622" y="99"/>
                </a:cubicBezTo>
                <a:cubicBezTo>
                  <a:pt x="618" y="99"/>
                  <a:pt x="614" y="95"/>
                  <a:pt x="614" y="91"/>
                </a:cubicBezTo>
                <a:cubicBezTo>
                  <a:pt x="614" y="87"/>
                  <a:pt x="618" y="84"/>
                  <a:pt x="622" y="84"/>
                </a:cubicBezTo>
                <a:cubicBezTo>
                  <a:pt x="1237" y="84"/>
                  <a:pt x="1237" y="84"/>
                  <a:pt x="1237" y="84"/>
                </a:cubicBezTo>
                <a:cubicBezTo>
                  <a:pt x="1241" y="84"/>
                  <a:pt x="1244" y="87"/>
                  <a:pt x="1244" y="91"/>
                </a:cubicBezTo>
                <a:cubicBezTo>
                  <a:pt x="1244" y="95"/>
                  <a:pt x="1241" y="99"/>
                  <a:pt x="1237" y="99"/>
                </a:cubicBezTo>
                <a:cubicBezTo>
                  <a:pt x="1225" y="99"/>
                  <a:pt x="1225" y="99"/>
                  <a:pt x="1225" y="99"/>
                </a:cubicBezTo>
                <a:cubicBezTo>
                  <a:pt x="1213" y="99"/>
                  <a:pt x="1203" y="108"/>
                  <a:pt x="1203" y="120"/>
                </a:cubicBezTo>
                <a:cubicBezTo>
                  <a:pt x="1203" y="132"/>
                  <a:pt x="1213" y="142"/>
                  <a:pt x="1225" y="142"/>
                </a:cubicBezTo>
                <a:cubicBezTo>
                  <a:pt x="1693" y="142"/>
                  <a:pt x="1693" y="142"/>
                  <a:pt x="1693" y="142"/>
                </a:cubicBezTo>
                <a:cubicBezTo>
                  <a:pt x="1697" y="142"/>
                  <a:pt x="1701" y="145"/>
                  <a:pt x="1701" y="149"/>
                </a:cubicBezTo>
                <a:cubicBezTo>
                  <a:pt x="1701" y="153"/>
                  <a:pt x="1697" y="156"/>
                  <a:pt x="1693" y="156"/>
                </a:cubicBezTo>
                <a:cubicBezTo>
                  <a:pt x="1075" y="156"/>
                  <a:pt x="1075" y="156"/>
                  <a:pt x="1075" y="156"/>
                </a:cubicBezTo>
                <a:cubicBezTo>
                  <a:pt x="1063" y="156"/>
                  <a:pt x="1054" y="166"/>
                  <a:pt x="1054" y="178"/>
                </a:cubicBezTo>
                <a:cubicBezTo>
                  <a:pt x="1054" y="190"/>
                  <a:pt x="1063" y="200"/>
                  <a:pt x="1075" y="200"/>
                </a:cubicBezTo>
                <a:cubicBezTo>
                  <a:pt x="1686" y="200"/>
                  <a:pt x="1686" y="200"/>
                  <a:pt x="1686" y="200"/>
                </a:cubicBezTo>
                <a:cubicBezTo>
                  <a:pt x="1690" y="200"/>
                  <a:pt x="1693" y="203"/>
                  <a:pt x="1693" y="207"/>
                </a:cubicBezTo>
                <a:cubicBezTo>
                  <a:pt x="1693" y="211"/>
                  <a:pt x="1690" y="214"/>
                  <a:pt x="1686" y="214"/>
                </a:cubicBezTo>
                <a:cubicBezTo>
                  <a:pt x="1145" y="214"/>
                  <a:pt x="1145" y="214"/>
                  <a:pt x="1145" y="214"/>
                </a:cubicBezTo>
                <a:cubicBezTo>
                  <a:pt x="1133" y="214"/>
                  <a:pt x="1123" y="224"/>
                  <a:pt x="1123" y="236"/>
                </a:cubicBezTo>
                <a:cubicBezTo>
                  <a:pt x="1123" y="248"/>
                  <a:pt x="1133" y="257"/>
                  <a:pt x="1145" y="257"/>
                </a:cubicBezTo>
                <a:cubicBezTo>
                  <a:pt x="1683" y="257"/>
                  <a:pt x="1683" y="257"/>
                  <a:pt x="1683" y="257"/>
                </a:cubicBezTo>
                <a:cubicBezTo>
                  <a:pt x="1687" y="257"/>
                  <a:pt x="1691" y="261"/>
                  <a:pt x="1691" y="265"/>
                </a:cubicBezTo>
                <a:cubicBezTo>
                  <a:pt x="1691" y="269"/>
                  <a:pt x="1687" y="272"/>
                  <a:pt x="1683" y="272"/>
                </a:cubicBezTo>
                <a:cubicBezTo>
                  <a:pt x="940" y="272"/>
                  <a:pt x="940" y="272"/>
                  <a:pt x="940" y="272"/>
                </a:cubicBezTo>
                <a:cubicBezTo>
                  <a:pt x="929" y="272"/>
                  <a:pt x="919" y="282"/>
                  <a:pt x="919" y="294"/>
                </a:cubicBezTo>
                <a:cubicBezTo>
                  <a:pt x="919" y="305"/>
                  <a:pt x="929" y="315"/>
                  <a:pt x="940" y="315"/>
                </a:cubicBezTo>
                <a:cubicBezTo>
                  <a:pt x="1553" y="315"/>
                  <a:pt x="1553" y="315"/>
                  <a:pt x="1553" y="315"/>
                </a:cubicBezTo>
                <a:cubicBezTo>
                  <a:pt x="1557" y="315"/>
                  <a:pt x="1561" y="318"/>
                  <a:pt x="1561" y="322"/>
                </a:cubicBezTo>
                <a:cubicBezTo>
                  <a:pt x="1561" y="326"/>
                  <a:pt x="1557" y="330"/>
                  <a:pt x="1553" y="330"/>
                </a:cubicBezTo>
                <a:cubicBezTo>
                  <a:pt x="888" y="330"/>
                  <a:pt x="888" y="330"/>
                  <a:pt x="888" y="330"/>
                </a:cubicBezTo>
                <a:cubicBezTo>
                  <a:pt x="876" y="330"/>
                  <a:pt x="867" y="339"/>
                  <a:pt x="867" y="351"/>
                </a:cubicBezTo>
                <a:cubicBezTo>
                  <a:pt x="867" y="354"/>
                  <a:pt x="867" y="356"/>
                  <a:pt x="868" y="358"/>
                </a:cubicBezTo>
                <a:close/>
              </a:path>
            </a:pathLst>
          </a:custGeom>
          <a:solidFill>
            <a:srgbClr val="FFFFFF"/>
          </a:solidFill>
          <a:ln>
            <a:noFill/>
          </a:ln>
        </p:spPr>
        <p:txBody>
          <a:bodyPr vert="horz" wrap="square" lIns="67893" tIns="33945" rIns="67893" bIns="33945" numCol="1" anchor="t" anchorCtr="0" compatLnSpc="1">
            <a:prstTxWarp prst="textNoShape">
              <a:avLst/>
            </a:prstTxWarp>
          </a:bodyPr>
          <a:lstStyle/>
          <a:p>
            <a:endParaRPr lang="en-US" sz="1114"/>
          </a:p>
        </p:txBody>
      </p:sp>
    </p:spTree>
    <p:extLst>
      <p:ext uri="{BB962C8B-B14F-4D97-AF65-F5344CB8AC3E}">
        <p14:creationId xmlns:p14="http://schemas.microsoft.com/office/powerpoint/2010/main" val="133549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12939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5_Title Slide Photo_Option">
    <p:bg>
      <p:bgPr>
        <a:solidFill>
          <a:srgbClr val="0070C0"/>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 y="0"/>
            <a:ext cx="5878286" cy="6858000"/>
          </a:xfrm>
          <a:prstGeom prst="rect">
            <a:avLst/>
          </a:prstGeom>
          <a:solidFill>
            <a:srgbClr val="002050">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5784" tIns="108626" rIns="135784" bIns="108626" numCol="1" spcCol="0" rtlCol="0" fromWordArt="0" anchor="t" anchorCtr="0" forceAA="0" compatLnSpc="1">
            <a:prstTxWarp prst="textNoShape">
              <a:avLst/>
            </a:prstTxWarp>
            <a:noAutofit/>
          </a:bodyPr>
          <a:lstStyle/>
          <a:p>
            <a:pPr algn="ctr" defTabSz="692461" fontAlgn="base">
              <a:lnSpc>
                <a:spcPct val="90000"/>
              </a:lnSpc>
              <a:spcBef>
                <a:spcPct val="0"/>
              </a:spcBef>
              <a:spcAft>
                <a:spcPct val="0"/>
              </a:spcAft>
            </a:pPr>
            <a:endParaRPr lang="en-US" sz="1782">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43" y="2084189"/>
            <a:ext cx="5826761" cy="1793104"/>
          </a:xfrm>
          <a:noFill/>
        </p:spPr>
        <p:txBody>
          <a:bodyPr lIns="146304" tIns="91440" rIns="146304" bIns="91440" anchor="t" anchorCtr="0"/>
          <a:lstStyle>
            <a:lvl1pPr>
              <a:defRPr sz="4010" spc="-75" baseline="0">
                <a:gradFill>
                  <a:gsLst>
                    <a:gs pos="86111">
                      <a:schemeClr val="tx1"/>
                    </a:gs>
                    <a:gs pos="76250">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23" y="3877271"/>
            <a:ext cx="5826761" cy="1789991"/>
          </a:xfrm>
        </p:spPr>
        <p:txBody>
          <a:bodyPr tIns="109728" bIns="109728">
            <a:noAutofit/>
          </a:bodyPr>
          <a:lstStyle>
            <a:lvl1pPr marL="0" indent="0">
              <a:spcBef>
                <a:spcPts val="0"/>
              </a:spcBef>
              <a:buNone/>
              <a:defRPr sz="2376">
                <a:gradFill>
                  <a:gsLst>
                    <a:gs pos="25926">
                      <a:schemeClr val="tx1"/>
                    </a:gs>
                    <a:gs pos="51000">
                      <a:schemeClr val="tx1"/>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525" y="6229914"/>
            <a:ext cx="1570718" cy="299186"/>
            <a:chOff x="457200" y="1643393"/>
            <a:chExt cx="4492753" cy="964540"/>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114"/>
            </a:p>
          </p:txBody>
        </p:sp>
      </p:grpSp>
      <p:sp>
        <p:nvSpPr>
          <p:cNvPr id="13" name="Freeform 6"/>
          <p:cNvSpPr>
            <a:spLocks noEditPoints="1"/>
          </p:cNvSpPr>
          <p:nvPr userDrawn="1"/>
        </p:nvSpPr>
        <p:spPr bwMode="auto">
          <a:xfrm>
            <a:off x="5973487" y="2103611"/>
            <a:ext cx="6096001" cy="3566769"/>
          </a:xfrm>
          <a:custGeom>
            <a:avLst/>
            <a:gdLst>
              <a:gd name="T0" fmla="*/ 1776 w 2020"/>
              <a:gd name="T1" fmla="*/ 1074 h 1182"/>
              <a:gd name="T2" fmla="*/ 1629 w 2020"/>
              <a:gd name="T3" fmla="*/ 1146 h 1182"/>
              <a:gd name="T4" fmla="*/ 1498 w 2020"/>
              <a:gd name="T5" fmla="*/ 1016 h 1182"/>
              <a:gd name="T6" fmla="*/ 1543 w 2020"/>
              <a:gd name="T7" fmla="*/ 901 h 1182"/>
              <a:gd name="T8" fmla="*/ 1585 w 2020"/>
              <a:gd name="T9" fmla="*/ 785 h 1182"/>
              <a:gd name="T10" fmla="*/ 1314 w 2020"/>
              <a:gd name="T11" fmla="*/ 756 h 1182"/>
              <a:gd name="T12" fmla="*/ 1061 w 2020"/>
              <a:gd name="T13" fmla="*/ 640 h 1182"/>
              <a:gd name="T14" fmla="*/ 1032 w 2020"/>
              <a:gd name="T15" fmla="*/ 525 h 1182"/>
              <a:gd name="T16" fmla="*/ 848 w 2020"/>
              <a:gd name="T17" fmla="*/ 409 h 1182"/>
              <a:gd name="T18" fmla="*/ 1553 w 2020"/>
              <a:gd name="T19" fmla="*/ 301 h 1182"/>
              <a:gd name="T20" fmla="*/ 1686 w 2020"/>
              <a:gd name="T21" fmla="*/ 185 h 1182"/>
              <a:gd name="T22" fmla="*/ 1237 w 2020"/>
              <a:gd name="T23" fmla="*/ 70 h 1182"/>
              <a:gd name="T24" fmla="*/ 749 w 2020"/>
              <a:gd name="T25" fmla="*/ 185 h 1182"/>
              <a:gd name="T26" fmla="*/ 721 w 2020"/>
              <a:gd name="T27" fmla="*/ 301 h 1182"/>
              <a:gd name="T28" fmla="*/ 366 w 2020"/>
              <a:gd name="T29" fmla="*/ 344 h 1182"/>
              <a:gd name="T30" fmla="*/ 237 w 2020"/>
              <a:gd name="T31" fmla="*/ 228 h 1182"/>
              <a:gd name="T32" fmla="*/ 318 w 2020"/>
              <a:gd name="T33" fmla="*/ 38 h 1182"/>
              <a:gd name="T34" fmla="*/ 353 w 2020"/>
              <a:gd name="T35" fmla="*/ 264 h 1182"/>
              <a:gd name="T36" fmla="*/ 497 w 2020"/>
              <a:gd name="T37" fmla="*/ 373 h 1182"/>
              <a:gd name="T38" fmla="*/ 180 w 2020"/>
              <a:gd name="T39" fmla="*/ 488 h 1182"/>
              <a:gd name="T40" fmla="*/ 190 w 2020"/>
              <a:gd name="T41" fmla="*/ 604 h 1182"/>
              <a:gd name="T42" fmla="*/ 273 w 2020"/>
              <a:gd name="T43" fmla="*/ 720 h 1182"/>
              <a:gd name="T44" fmla="*/ 377 w 2020"/>
              <a:gd name="T45" fmla="*/ 835 h 1182"/>
              <a:gd name="T46" fmla="*/ 446 w 2020"/>
              <a:gd name="T47" fmla="*/ 951 h 1182"/>
              <a:gd name="T48" fmla="*/ 443 w 2020"/>
              <a:gd name="T49" fmla="*/ 1066 h 1182"/>
              <a:gd name="T50" fmla="*/ 955 w 2020"/>
              <a:gd name="T51" fmla="*/ 1030 h 1182"/>
              <a:gd name="T52" fmla="*/ 912 w 2020"/>
              <a:gd name="T53" fmla="*/ 900 h 1182"/>
              <a:gd name="T54" fmla="*/ 898 w 2020"/>
              <a:gd name="T55" fmla="*/ 785 h 1182"/>
              <a:gd name="T56" fmla="*/ 755 w 2020"/>
              <a:gd name="T57" fmla="*/ 669 h 1182"/>
              <a:gd name="T58" fmla="*/ 798 w 2020"/>
              <a:gd name="T59" fmla="*/ 553 h 1182"/>
              <a:gd name="T60" fmla="*/ 761 w 2020"/>
              <a:gd name="T61" fmla="*/ 438 h 1182"/>
              <a:gd name="T62" fmla="*/ 1592 w 2020"/>
              <a:gd name="T63" fmla="*/ 388 h 1182"/>
              <a:gd name="T64" fmla="*/ 1553 w 2020"/>
              <a:gd name="T65" fmla="*/ 503 h 1182"/>
              <a:gd name="T66" fmla="*/ 1526 w 2020"/>
              <a:gd name="T67" fmla="*/ 619 h 1182"/>
              <a:gd name="T68" fmla="*/ 1454 w 2020"/>
              <a:gd name="T69" fmla="*/ 734 h 1182"/>
              <a:gd name="T70" fmla="*/ 1623 w 2020"/>
              <a:gd name="T71" fmla="*/ 792 h 1182"/>
              <a:gd name="T72" fmla="*/ 1681 w 2020"/>
              <a:gd name="T73" fmla="*/ 879 h 1182"/>
              <a:gd name="T74" fmla="*/ 1712 w 2020"/>
              <a:gd name="T75" fmla="*/ 995 h 1182"/>
              <a:gd name="T76" fmla="*/ 1658 w 2020"/>
              <a:gd name="T77" fmla="*/ 1110 h 1182"/>
              <a:gd name="T78" fmla="*/ 1824 w 2020"/>
              <a:gd name="T79" fmla="*/ 1081 h 1182"/>
              <a:gd name="T80" fmla="*/ 2020 w 2020"/>
              <a:gd name="T81" fmla="*/ 870 h 1182"/>
              <a:gd name="T82" fmla="*/ 969 w 2020"/>
              <a:gd name="T83" fmla="*/ 459 h 1182"/>
              <a:gd name="T84" fmla="*/ 860 w 2020"/>
              <a:gd name="T85" fmla="*/ 575 h 1182"/>
              <a:gd name="T86" fmla="*/ 1046 w 2020"/>
              <a:gd name="T87" fmla="*/ 691 h 1182"/>
              <a:gd name="T88" fmla="*/ 1049 w 2020"/>
              <a:gd name="T89" fmla="*/ 806 h 1182"/>
              <a:gd name="T90" fmla="*/ 1017 w 2020"/>
              <a:gd name="T91" fmla="*/ 922 h 1182"/>
              <a:gd name="T92" fmla="*/ 1017 w 2020"/>
              <a:gd name="T93" fmla="*/ 1066 h 1182"/>
              <a:gd name="T94" fmla="*/ 495 w 2020"/>
              <a:gd name="T95" fmla="*/ 1037 h 1182"/>
              <a:gd name="T96" fmla="*/ 593 w 2020"/>
              <a:gd name="T97" fmla="*/ 922 h 1182"/>
              <a:gd name="T98" fmla="*/ 529 w 2020"/>
              <a:gd name="T99" fmla="*/ 806 h 1182"/>
              <a:gd name="T100" fmla="*/ 276 w 2020"/>
              <a:gd name="T101" fmla="*/ 691 h 1182"/>
              <a:gd name="T102" fmla="*/ 381 w 2020"/>
              <a:gd name="T103" fmla="*/ 575 h 1182"/>
              <a:gd name="T104" fmla="*/ 518 w 2020"/>
              <a:gd name="T105" fmla="*/ 459 h 1182"/>
              <a:gd name="T106" fmla="*/ 601 w 2020"/>
              <a:gd name="T107" fmla="*/ 330 h 1182"/>
              <a:gd name="T108" fmla="*/ 581 w 2020"/>
              <a:gd name="T109" fmla="*/ 214 h 1182"/>
              <a:gd name="T110" fmla="*/ 622 w 2020"/>
              <a:gd name="T111" fmla="*/ 99 h 1182"/>
              <a:gd name="T112" fmla="*/ 1075 w 2020"/>
              <a:gd name="T113" fmla="*/ 156 h 1182"/>
              <a:gd name="T114" fmla="*/ 940 w 2020"/>
              <a:gd name="T115" fmla="*/ 272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0" h="1182">
                <a:moveTo>
                  <a:pt x="2001" y="851"/>
                </a:moveTo>
                <a:cubicBezTo>
                  <a:pt x="1990" y="851"/>
                  <a:pt x="1982" y="860"/>
                  <a:pt x="1982" y="870"/>
                </a:cubicBezTo>
                <a:cubicBezTo>
                  <a:pt x="1982" y="878"/>
                  <a:pt x="1987" y="885"/>
                  <a:pt x="1994" y="887"/>
                </a:cubicBezTo>
                <a:cubicBezTo>
                  <a:pt x="1988" y="947"/>
                  <a:pt x="1938" y="995"/>
                  <a:pt x="1876" y="995"/>
                </a:cubicBezTo>
                <a:cubicBezTo>
                  <a:pt x="1791" y="995"/>
                  <a:pt x="1791" y="995"/>
                  <a:pt x="1791" y="995"/>
                </a:cubicBezTo>
                <a:cubicBezTo>
                  <a:pt x="1779" y="995"/>
                  <a:pt x="1770" y="1004"/>
                  <a:pt x="1770" y="1016"/>
                </a:cubicBezTo>
                <a:cubicBezTo>
                  <a:pt x="1770" y="1028"/>
                  <a:pt x="1779" y="1038"/>
                  <a:pt x="1791" y="1038"/>
                </a:cubicBezTo>
                <a:cubicBezTo>
                  <a:pt x="1843" y="1038"/>
                  <a:pt x="1843" y="1038"/>
                  <a:pt x="1843" y="1038"/>
                </a:cubicBezTo>
                <a:cubicBezTo>
                  <a:pt x="1847" y="1038"/>
                  <a:pt x="1850" y="1041"/>
                  <a:pt x="1850" y="1045"/>
                </a:cubicBezTo>
                <a:cubicBezTo>
                  <a:pt x="1850" y="1049"/>
                  <a:pt x="1847" y="1052"/>
                  <a:pt x="1843" y="1052"/>
                </a:cubicBezTo>
                <a:cubicBezTo>
                  <a:pt x="1797" y="1052"/>
                  <a:pt x="1797" y="1052"/>
                  <a:pt x="1797" y="1052"/>
                </a:cubicBezTo>
                <a:cubicBezTo>
                  <a:pt x="1785" y="1052"/>
                  <a:pt x="1776" y="1062"/>
                  <a:pt x="1776" y="1074"/>
                </a:cubicBezTo>
                <a:cubicBezTo>
                  <a:pt x="1776" y="1086"/>
                  <a:pt x="1785" y="1096"/>
                  <a:pt x="1797" y="1096"/>
                </a:cubicBezTo>
                <a:cubicBezTo>
                  <a:pt x="1824" y="1096"/>
                  <a:pt x="1824" y="1096"/>
                  <a:pt x="1824" y="1096"/>
                </a:cubicBezTo>
                <a:cubicBezTo>
                  <a:pt x="1828" y="1096"/>
                  <a:pt x="1832" y="1099"/>
                  <a:pt x="1832" y="1103"/>
                </a:cubicBezTo>
                <a:cubicBezTo>
                  <a:pt x="1832" y="1107"/>
                  <a:pt x="1828" y="1110"/>
                  <a:pt x="1824" y="1110"/>
                </a:cubicBezTo>
                <a:cubicBezTo>
                  <a:pt x="1766" y="1110"/>
                  <a:pt x="1766" y="1110"/>
                  <a:pt x="1766" y="1110"/>
                </a:cubicBezTo>
                <a:cubicBezTo>
                  <a:pt x="1754" y="1110"/>
                  <a:pt x="1744" y="1120"/>
                  <a:pt x="1744" y="1132"/>
                </a:cubicBezTo>
                <a:cubicBezTo>
                  <a:pt x="1744" y="1144"/>
                  <a:pt x="1754" y="1153"/>
                  <a:pt x="1766" y="1153"/>
                </a:cubicBezTo>
                <a:cubicBezTo>
                  <a:pt x="1789" y="1153"/>
                  <a:pt x="1789" y="1153"/>
                  <a:pt x="1789" y="1153"/>
                </a:cubicBezTo>
                <a:cubicBezTo>
                  <a:pt x="1793" y="1153"/>
                  <a:pt x="1797" y="1157"/>
                  <a:pt x="1797" y="1161"/>
                </a:cubicBezTo>
                <a:cubicBezTo>
                  <a:pt x="1797" y="1165"/>
                  <a:pt x="1793" y="1168"/>
                  <a:pt x="1789" y="1168"/>
                </a:cubicBezTo>
                <a:cubicBezTo>
                  <a:pt x="1650" y="1168"/>
                  <a:pt x="1650" y="1168"/>
                  <a:pt x="1650" y="1168"/>
                </a:cubicBezTo>
                <a:cubicBezTo>
                  <a:pt x="1638" y="1168"/>
                  <a:pt x="1629" y="1158"/>
                  <a:pt x="1629" y="1146"/>
                </a:cubicBezTo>
                <a:cubicBezTo>
                  <a:pt x="1629" y="1134"/>
                  <a:pt x="1638" y="1125"/>
                  <a:pt x="1650" y="1125"/>
                </a:cubicBezTo>
                <a:cubicBezTo>
                  <a:pt x="1658" y="1125"/>
                  <a:pt x="1658" y="1125"/>
                  <a:pt x="1658" y="1125"/>
                </a:cubicBezTo>
                <a:cubicBezTo>
                  <a:pt x="1670" y="1125"/>
                  <a:pt x="1680" y="1115"/>
                  <a:pt x="1680" y="1103"/>
                </a:cubicBezTo>
                <a:cubicBezTo>
                  <a:pt x="1680" y="1091"/>
                  <a:pt x="1670" y="1081"/>
                  <a:pt x="1658" y="1081"/>
                </a:cubicBezTo>
                <a:cubicBezTo>
                  <a:pt x="1635" y="1081"/>
                  <a:pt x="1635" y="1081"/>
                  <a:pt x="1635" y="1081"/>
                </a:cubicBezTo>
                <a:cubicBezTo>
                  <a:pt x="1631" y="1081"/>
                  <a:pt x="1628" y="1078"/>
                  <a:pt x="1628" y="1074"/>
                </a:cubicBezTo>
                <a:cubicBezTo>
                  <a:pt x="1628" y="1070"/>
                  <a:pt x="1631" y="1067"/>
                  <a:pt x="1635" y="1067"/>
                </a:cubicBezTo>
                <a:cubicBezTo>
                  <a:pt x="1693" y="1067"/>
                  <a:pt x="1693" y="1067"/>
                  <a:pt x="1693" y="1067"/>
                </a:cubicBezTo>
                <a:cubicBezTo>
                  <a:pt x="1705" y="1067"/>
                  <a:pt x="1715" y="1057"/>
                  <a:pt x="1715" y="1045"/>
                </a:cubicBezTo>
                <a:cubicBezTo>
                  <a:pt x="1715" y="1033"/>
                  <a:pt x="1705" y="1024"/>
                  <a:pt x="1693" y="1024"/>
                </a:cubicBezTo>
                <a:cubicBezTo>
                  <a:pt x="1505" y="1024"/>
                  <a:pt x="1505" y="1024"/>
                  <a:pt x="1505" y="1024"/>
                </a:cubicBezTo>
                <a:cubicBezTo>
                  <a:pt x="1501" y="1024"/>
                  <a:pt x="1498" y="1020"/>
                  <a:pt x="1498" y="1016"/>
                </a:cubicBezTo>
                <a:cubicBezTo>
                  <a:pt x="1498" y="1012"/>
                  <a:pt x="1501" y="1009"/>
                  <a:pt x="1505" y="1009"/>
                </a:cubicBezTo>
                <a:cubicBezTo>
                  <a:pt x="1712" y="1009"/>
                  <a:pt x="1712" y="1009"/>
                  <a:pt x="1712" y="1009"/>
                </a:cubicBezTo>
                <a:cubicBezTo>
                  <a:pt x="1724" y="1009"/>
                  <a:pt x="1733" y="999"/>
                  <a:pt x="1733" y="987"/>
                </a:cubicBezTo>
                <a:cubicBezTo>
                  <a:pt x="1733" y="975"/>
                  <a:pt x="1724" y="966"/>
                  <a:pt x="1712" y="966"/>
                </a:cubicBezTo>
                <a:cubicBezTo>
                  <a:pt x="1504" y="966"/>
                  <a:pt x="1504" y="966"/>
                  <a:pt x="1504" y="966"/>
                </a:cubicBezTo>
                <a:cubicBezTo>
                  <a:pt x="1500" y="966"/>
                  <a:pt x="1496" y="962"/>
                  <a:pt x="1496" y="958"/>
                </a:cubicBezTo>
                <a:cubicBezTo>
                  <a:pt x="1496" y="954"/>
                  <a:pt x="1500" y="951"/>
                  <a:pt x="1504" y="951"/>
                </a:cubicBezTo>
                <a:cubicBezTo>
                  <a:pt x="1697" y="951"/>
                  <a:pt x="1697" y="951"/>
                  <a:pt x="1697" y="951"/>
                </a:cubicBezTo>
                <a:cubicBezTo>
                  <a:pt x="1709" y="951"/>
                  <a:pt x="1718" y="941"/>
                  <a:pt x="1718" y="929"/>
                </a:cubicBezTo>
                <a:cubicBezTo>
                  <a:pt x="1718" y="918"/>
                  <a:pt x="1709" y="908"/>
                  <a:pt x="1697" y="908"/>
                </a:cubicBezTo>
                <a:cubicBezTo>
                  <a:pt x="1550" y="908"/>
                  <a:pt x="1550" y="908"/>
                  <a:pt x="1550" y="908"/>
                </a:cubicBezTo>
                <a:cubicBezTo>
                  <a:pt x="1546" y="908"/>
                  <a:pt x="1543" y="905"/>
                  <a:pt x="1543" y="901"/>
                </a:cubicBezTo>
                <a:cubicBezTo>
                  <a:pt x="1543" y="897"/>
                  <a:pt x="1546" y="893"/>
                  <a:pt x="1550" y="893"/>
                </a:cubicBezTo>
                <a:cubicBezTo>
                  <a:pt x="1681" y="893"/>
                  <a:pt x="1681" y="893"/>
                  <a:pt x="1681" y="893"/>
                </a:cubicBezTo>
                <a:cubicBezTo>
                  <a:pt x="1701" y="893"/>
                  <a:pt x="1718" y="877"/>
                  <a:pt x="1718" y="857"/>
                </a:cubicBezTo>
                <a:cubicBezTo>
                  <a:pt x="1718" y="837"/>
                  <a:pt x="1701" y="821"/>
                  <a:pt x="1681" y="821"/>
                </a:cubicBezTo>
                <a:cubicBezTo>
                  <a:pt x="1673" y="821"/>
                  <a:pt x="1673" y="821"/>
                  <a:pt x="1673" y="821"/>
                </a:cubicBezTo>
                <a:cubicBezTo>
                  <a:pt x="1669" y="821"/>
                  <a:pt x="1666" y="818"/>
                  <a:pt x="1666" y="814"/>
                </a:cubicBezTo>
                <a:cubicBezTo>
                  <a:pt x="1666" y="810"/>
                  <a:pt x="1669" y="807"/>
                  <a:pt x="1673" y="807"/>
                </a:cubicBezTo>
                <a:cubicBezTo>
                  <a:pt x="1683" y="807"/>
                  <a:pt x="1683" y="807"/>
                  <a:pt x="1683" y="807"/>
                </a:cubicBezTo>
                <a:cubicBezTo>
                  <a:pt x="1694" y="807"/>
                  <a:pt x="1704" y="797"/>
                  <a:pt x="1704" y="785"/>
                </a:cubicBezTo>
                <a:cubicBezTo>
                  <a:pt x="1704" y="773"/>
                  <a:pt x="1694" y="763"/>
                  <a:pt x="1683" y="763"/>
                </a:cubicBezTo>
                <a:cubicBezTo>
                  <a:pt x="1607" y="763"/>
                  <a:pt x="1607" y="763"/>
                  <a:pt x="1607" y="763"/>
                </a:cubicBezTo>
                <a:cubicBezTo>
                  <a:pt x="1595" y="763"/>
                  <a:pt x="1585" y="773"/>
                  <a:pt x="1585" y="785"/>
                </a:cubicBezTo>
                <a:cubicBezTo>
                  <a:pt x="1585" y="797"/>
                  <a:pt x="1595" y="807"/>
                  <a:pt x="1607" y="807"/>
                </a:cubicBezTo>
                <a:cubicBezTo>
                  <a:pt x="1623" y="807"/>
                  <a:pt x="1623" y="807"/>
                  <a:pt x="1623" y="807"/>
                </a:cubicBezTo>
                <a:cubicBezTo>
                  <a:pt x="1627" y="807"/>
                  <a:pt x="1631" y="810"/>
                  <a:pt x="1631" y="814"/>
                </a:cubicBezTo>
                <a:cubicBezTo>
                  <a:pt x="1631" y="818"/>
                  <a:pt x="1627" y="821"/>
                  <a:pt x="1623" y="821"/>
                </a:cubicBezTo>
                <a:cubicBezTo>
                  <a:pt x="1455" y="821"/>
                  <a:pt x="1455" y="821"/>
                  <a:pt x="1455" y="821"/>
                </a:cubicBezTo>
                <a:cubicBezTo>
                  <a:pt x="1451" y="821"/>
                  <a:pt x="1448" y="818"/>
                  <a:pt x="1448" y="814"/>
                </a:cubicBezTo>
                <a:cubicBezTo>
                  <a:pt x="1448" y="810"/>
                  <a:pt x="1451" y="807"/>
                  <a:pt x="1455" y="807"/>
                </a:cubicBezTo>
                <a:cubicBezTo>
                  <a:pt x="1549" y="807"/>
                  <a:pt x="1549" y="807"/>
                  <a:pt x="1549" y="807"/>
                </a:cubicBezTo>
                <a:cubicBezTo>
                  <a:pt x="1561" y="807"/>
                  <a:pt x="1571" y="797"/>
                  <a:pt x="1571" y="785"/>
                </a:cubicBezTo>
                <a:cubicBezTo>
                  <a:pt x="1571" y="773"/>
                  <a:pt x="1561" y="763"/>
                  <a:pt x="1549" y="763"/>
                </a:cubicBezTo>
                <a:cubicBezTo>
                  <a:pt x="1321" y="763"/>
                  <a:pt x="1321" y="763"/>
                  <a:pt x="1321" y="763"/>
                </a:cubicBezTo>
                <a:cubicBezTo>
                  <a:pt x="1317" y="763"/>
                  <a:pt x="1314" y="760"/>
                  <a:pt x="1314" y="756"/>
                </a:cubicBezTo>
                <a:cubicBezTo>
                  <a:pt x="1314" y="752"/>
                  <a:pt x="1317" y="749"/>
                  <a:pt x="1321" y="749"/>
                </a:cubicBezTo>
                <a:cubicBezTo>
                  <a:pt x="1454" y="749"/>
                  <a:pt x="1454" y="749"/>
                  <a:pt x="1454" y="749"/>
                </a:cubicBezTo>
                <a:cubicBezTo>
                  <a:pt x="1466" y="749"/>
                  <a:pt x="1475" y="739"/>
                  <a:pt x="1475" y="727"/>
                </a:cubicBezTo>
                <a:cubicBezTo>
                  <a:pt x="1475" y="715"/>
                  <a:pt x="1466" y="706"/>
                  <a:pt x="1454" y="706"/>
                </a:cubicBezTo>
                <a:cubicBezTo>
                  <a:pt x="1287" y="706"/>
                  <a:pt x="1287" y="706"/>
                  <a:pt x="1287" y="706"/>
                </a:cubicBezTo>
                <a:cubicBezTo>
                  <a:pt x="1283" y="706"/>
                  <a:pt x="1280" y="702"/>
                  <a:pt x="1280" y="698"/>
                </a:cubicBezTo>
                <a:cubicBezTo>
                  <a:pt x="1280" y="694"/>
                  <a:pt x="1283" y="691"/>
                  <a:pt x="1287" y="691"/>
                </a:cubicBezTo>
                <a:cubicBezTo>
                  <a:pt x="1436" y="691"/>
                  <a:pt x="1436" y="691"/>
                  <a:pt x="1436" y="691"/>
                </a:cubicBezTo>
                <a:cubicBezTo>
                  <a:pt x="1448" y="691"/>
                  <a:pt x="1458" y="681"/>
                  <a:pt x="1458" y="669"/>
                </a:cubicBezTo>
                <a:cubicBezTo>
                  <a:pt x="1458" y="657"/>
                  <a:pt x="1448" y="648"/>
                  <a:pt x="1436" y="648"/>
                </a:cubicBezTo>
                <a:cubicBezTo>
                  <a:pt x="1068" y="648"/>
                  <a:pt x="1068" y="648"/>
                  <a:pt x="1068" y="648"/>
                </a:cubicBezTo>
                <a:cubicBezTo>
                  <a:pt x="1064" y="648"/>
                  <a:pt x="1061" y="644"/>
                  <a:pt x="1061" y="640"/>
                </a:cubicBezTo>
                <a:cubicBezTo>
                  <a:pt x="1061" y="636"/>
                  <a:pt x="1064" y="633"/>
                  <a:pt x="1068" y="633"/>
                </a:cubicBezTo>
                <a:cubicBezTo>
                  <a:pt x="1526" y="633"/>
                  <a:pt x="1526" y="633"/>
                  <a:pt x="1526" y="633"/>
                </a:cubicBezTo>
                <a:cubicBezTo>
                  <a:pt x="1538" y="633"/>
                  <a:pt x="1548" y="623"/>
                  <a:pt x="1548" y="612"/>
                </a:cubicBezTo>
                <a:cubicBezTo>
                  <a:pt x="1548" y="600"/>
                  <a:pt x="1538" y="590"/>
                  <a:pt x="1526" y="590"/>
                </a:cubicBezTo>
                <a:cubicBezTo>
                  <a:pt x="1019" y="590"/>
                  <a:pt x="1019" y="590"/>
                  <a:pt x="1019" y="590"/>
                </a:cubicBezTo>
                <a:cubicBezTo>
                  <a:pt x="1015" y="590"/>
                  <a:pt x="1012" y="587"/>
                  <a:pt x="1012" y="583"/>
                </a:cubicBezTo>
                <a:cubicBezTo>
                  <a:pt x="1012" y="579"/>
                  <a:pt x="1015" y="575"/>
                  <a:pt x="1019" y="575"/>
                </a:cubicBezTo>
                <a:cubicBezTo>
                  <a:pt x="1528" y="575"/>
                  <a:pt x="1528" y="575"/>
                  <a:pt x="1528" y="575"/>
                </a:cubicBezTo>
                <a:cubicBezTo>
                  <a:pt x="1540" y="575"/>
                  <a:pt x="1550" y="566"/>
                  <a:pt x="1550" y="554"/>
                </a:cubicBezTo>
                <a:cubicBezTo>
                  <a:pt x="1550" y="542"/>
                  <a:pt x="1540" y="532"/>
                  <a:pt x="1528" y="532"/>
                </a:cubicBezTo>
                <a:cubicBezTo>
                  <a:pt x="1039" y="532"/>
                  <a:pt x="1039" y="532"/>
                  <a:pt x="1039" y="532"/>
                </a:cubicBezTo>
                <a:cubicBezTo>
                  <a:pt x="1035" y="532"/>
                  <a:pt x="1032" y="529"/>
                  <a:pt x="1032" y="525"/>
                </a:cubicBezTo>
                <a:cubicBezTo>
                  <a:pt x="1032" y="521"/>
                  <a:pt x="1035" y="518"/>
                  <a:pt x="1039" y="518"/>
                </a:cubicBezTo>
                <a:cubicBezTo>
                  <a:pt x="1553" y="518"/>
                  <a:pt x="1553" y="518"/>
                  <a:pt x="1553" y="518"/>
                </a:cubicBezTo>
                <a:cubicBezTo>
                  <a:pt x="1564" y="518"/>
                  <a:pt x="1574" y="508"/>
                  <a:pt x="1574" y="496"/>
                </a:cubicBezTo>
                <a:cubicBezTo>
                  <a:pt x="1574" y="484"/>
                  <a:pt x="1564" y="474"/>
                  <a:pt x="1553" y="474"/>
                </a:cubicBezTo>
                <a:cubicBezTo>
                  <a:pt x="1039" y="474"/>
                  <a:pt x="1039" y="474"/>
                  <a:pt x="1039" y="474"/>
                </a:cubicBezTo>
                <a:cubicBezTo>
                  <a:pt x="1035" y="474"/>
                  <a:pt x="1032" y="471"/>
                  <a:pt x="1032" y="467"/>
                </a:cubicBezTo>
                <a:cubicBezTo>
                  <a:pt x="1032" y="463"/>
                  <a:pt x="1035" y="460"/>
                  <a:pt x="1039" y="460"/>
                </a:cubicBezTo>
                <a:cubicBezTo>
                  <a:pt x="1592" y="460"/>
                  <a:pt x="1592" y="460"/>
                  <a:pt x="1592" y="460"/>
                </a:cubicBezTo>
                <a:cubicBezTo>
                  <a:pt x="1603" y="460"/>
                  <a:pt x="1613" y="450"/>
                  <a:pt x="1613" y="438"/>
                </a:cubicBezTo>
                <a:cubicBezTo>
                  <a:pt x="1613" y="426"/>
                  <a:pt x="1603" y="416"/>
                  <a:pt x="1592" y="416"/>
                </a:cubicBezTo>
                <a:cubicBezTo>
                  <a:pt x="855" y="416"/>
                  <a:pt x="855" y="416"/>
                  <a:pt x="855" y="416"/>
                </a:cubicBezTo>
                <a:cubicBezTo>
                  <a:pt x="851" y="416"/>
                  <a:pt x="848" y="413"/>
                  <a:pt x="848" y="409"/>
                </a:cubicBezTo>
                <a:cubicBezTo>
                  <a:pt x="848" y="405"/>
                  <a:pt x="851" y="402"/>
                  <a:pt x="855" y="402"/>
                </a:cubicBezTo>
                <a:cubicBezTo>
                  <a:pt x="1592" y="402"/>
                  <a:pt x="1592" y="402"/>
                  <a:pt x="1592" y="402"/>
                </a:cubicBezTo>
                <a:cubicBezTo>
                  <a:pt x="1603" y="402"/>
                  <a:pt x="1613" y="392"/>
                  <a:pt x="1613" y="380"/>
                </a:cubicBezTo>
                <a:cubicBezTo>
                  <a:pt x="1613" y="368"/>
                  <a:pt x="1603" y="359"/>
                  <a:pt x="1592" y="359"/>
                </a:cubicBezTo>
                <a:cubicBezTo>
                  <a:pt x="902" y="359"/>
                  <a:pt x="902" y="359"/>
                  <a:pt x="902" y="359"/>
                </a:cubicBezTo>
                <a:cubicBezTo>
                  <a:pt x="902" y="358"/>
                  <a:pt x="902" y="358"/>
                  <a:pt x="902" y="358"/>
                </a:cubicBezTo>
                <a:cubicBezTo>
                  <a:pt x="886" y="358"/>
                  <a:pt x="886" y="358"/>
                  <a:pt x="886" y="358"/>
                </a:cubicBezTo>
                <a:cubicBezTo>
                  <a:pt x="883" y="357"/>
                  <a:pt x="881" y="355"/>
                  <a:pt x="881" y="351"/>
                </a:cubicBezTo>
                <a:cubicBezTo>
                  <a:pt x="881" y="347"/>
                  <a:pt x="884" y="344"/>
                  <a:pt x="888" y="344"/>
                </a:cubicBezTo>
                <a:cubicBezTo>
                  <a:pt x="1553" y="344"/>
                  <a:pt x="1553" y="344"/>
                  <a:pt x="1553" y="344"/>
                </a:cubicBezTo>
                <a:cubicBezTo>
                  <a:pt x="1565" y="344"/>
                  <a:pt x="1575" y="334"/>
                  <a:pt x="1575" y="322"/>
                </a:cubicBezTo>
                <a:cubicBezTo>
                  <a:pt x="1575" y="311"/>
                  <a:pt x="1565" y="301"/>
                  <a:pt x="1553" y="301"/>
                </a:cubicBezTo>
                <a:cubicBezTo>
                  <a:pt x="940" y="301"/>
                  <a:pt x="940" y="301"/>
                  <a:pt x="940" y="301"/>
                </a:cubicBezTo>
                <a:cubicBezTo>
                  <a:pt x="936" y="301"/>
                  <a:pt x="933" y="298"/>
                  <a:pt x="933" y="294"/>
                </a:cubicBezTo>
                <a:cubicBezTo>
                  <a:pt x="933" y="290"/>
                  <a:pt x="936" y="286"/>
                  <a:pt x="940" y="286"/>
                </a:cubicBezTo>
                <a:cubicBezTo>
                  <a:pt x="1683" y="286"/>
                  <a:pt x="1683" y="286"/>
                  <a:pt x="1683" y="286"/>
                </a:cubicBezTo>
                <a:cubicBezTo>
                  <a:pt x="1695" y="286"/>
                  <a:pt x="1705" y="277"/>
                  <a:pt x="1705" y="265"/>
                </a:cubicBezTo>
                <a:cubicBezTo>
                  <a:pt x="1705" y="253"/>
                  <a:pt x="1695" y="243"/>
                  <a:pt x="1683" y="243"/>
                </a:cubicBezTo>
                <a:cubicBezTo>
                  <a:pt x="1145" y="243"/>
                  <a:pt x="1145" y="243"/>
                  <a:pt x="1145" y="243"/>
                </a:cubicBezTo>
                <a:cubicBezTo>
                  <a:pt x="1141" y="243"/>
                  <a:pt x="1137" y="240"/>
                  <a:pt x="1137" y="236"/>
                </a:cubicBezTo>
                <a:cubicBezTo>
                  <a:pt x="1137" y="232"/>
                  <a:pt x="1141" y="228"/>
                  <a:pt x="1145" y="228"/>
                </a:cubicBezTo>
                <a:cubicBezTo>
                  <a:pt x="1686" y="228"/>
                  <a:pt x="1686" y="228"/>
                  <a:pt x="1686" y="228"/>
                </a:cubicBezTo>
                <a:cubicBezTo>
                  <a:pt x="1698" y="228"/>
                  <a:pt x="1708" y="219"/>
                  <a:pt x="1708" y="207"/>
                </a:cubicBezTo>
                <a:cubicBezTo>
                  <a:pt x="1708" y="195"/>
                  <a:pt x="1698" y="185"/>
                  <a:pt x="1686" y="185"/>
                </a:cubicBezTo>
                <a:cubicBezTo>
                  <a:pt x="1075" y="185"/>
                  <a:pt x="1075" y="185"/>
                  <a:pt x="1075" y="185"/>
                </a:cubicBezTo>
                <a:cubicBezTo>
                  <a:pt x="1071" y="185"/>
                  <a:pt x="1068" y="182"/>
                  <a:pt x="1068" y="178"/>
                </a:cubicBezTo>
                <a:cubicBezTo>
                  <a:pt x="1068" y="174"/>
                  <a:pt x="1071" y="171"/>
                  <a:pt x="1075" y="171"/>
                </a:cubicBezTo>
                <a:cubicBezTo>
                  <a:pt x="1693" y="171"/>
                  <a:pt x="1693" y="171"/>
                  <a:pt x="1693" y="171"/>
                </a:cubicBezTo>
                <a:cubicBezTo>
                  <a:pt x="1705" y="171"/>
                  <a:pt x="1715" y="161"/>
                  <a:pt x="1715" y="149"/>
                </a:cubicBezTo>
                <a:cubicBezTo>
                  <a:pt x="1715" y="137"/>
                  <a:pt x="1705" y="127"/>
                  <a:pt x="1693" y="127"/>
                </a:cubicBezTo>
                <a:cubicBezTo>
                  <a:pt x="1225" y="127"/>
                  <a:pt x="1225" y="127"/>
                  <a:pt x="1225" y="127"/>
                </a:cubicBezTo>
                <a:cubicBezTo>
                  <a:pt x="1221" y="127"/>
                  <a:pt x="1218" y="124"/>
                  <a:pt x="1218" y="120"/>
                </a:cubicBezTo>
                <a:cubicBezTo>
                  <a:pt x="1218" y="116"/>
                  <a:pt x="1221" y="113"/>
                  <a:pt x="1225" y="113"/>
                </a:cubicBezTo>
                <a:cubicBezTo>
                  <a:pt x="1237" y="113"/>
                  <a:pt x="1237" y="113"/>
                  <a:pt x="1237" y="113"/>
                </a:cubicBezTo>
                <a:cubicBezTo>
                  <a:pt x="1249" y="113"/>
                  <a:pt x="1258" y="103"/>
                  <a:pt x="1258" y="91"/>
                </a:cubicBezTo>
                <a:cubicBezTo>
                  <a:pt x="1258" y="79"/>
                  <a:pt x="1249" y="70"/>
                  <a:pt x="1237" y="70"/>
                </a:cubicBezTo>
                <a:cubicBezTo>
                  <a:pt x="622" y="70"/>
                  <a:pt x="622" y="70"/>
                  <a:pt x="622" y="70"/>
                </a:cubicBezTo>
                <a:cubicBezTo>
                  <a:pt x="610" y="70"/>
                  <a:pt x="600" y="79"/>
                  <a:pt x="600" y="91"/>
                </a:cubicBezTo>
                <a:cubicBezTo>
                  <a:pt x="600" y="103"/>
                  <a:pt x="610" y="113"/>
                  <a:pt x="622" y="113"/>
                </a:cubicBezTo>
                <a:cubicBezTo>
                  <a:pt x="754" y="113"/>
                  <a:pt x="754" y="113"/>
                  <a:pt x="754" y="113"/>
                </a:cubicBezTo>
                <a:cubicBezTo>
                  <a:pt x="758" y="113"/>
                  <a:pt x="762" y="116"/>
                  <a:pt x="762" y="120"/>
                </a:cubicBezTo>
                <a:cubicBezTo>
                  <a:pt x="762" y="124"/>
                  <a:pt x="758" y="127"/>
                  <a:pt x="754" y="127"/>
                </a:cubicBezTo>
                <a:cubicBezTo>
                  <a:pt x="561" y="127"/>
                  <a:pt x="561" y="127"/>
                  <a:pt x="561" y="127"/>
                </a:cubicBezTo>
                <a:cubicBezTo>
                  <a:pt x="549" y="127"/>
                  <a:pt x="540" y="137"/>
                  <a:pt x="540" y="149"/>
                </a:cubicBezTo>
                <a:cubicBezTo>
                  <a:pt x="540" y="161"/>
                  <a:pt x="549" y="171"/>
                  <a:pt x="561" y="171"/>
                </a:cubicBezTo>
                <a:cubicBezTo>
                  <a:pt x="749" y="171"/>
                  <a:pt x="749" y="171"/>
                  <a:pt x="749" y="171"/>
                </a:cubicBezTo>
                <a:cubicBezTo>
                  <a:pt x="753" y="171"/>
                  <a:pt x="756" y="174"/>
                  <a:pt x="756" y="178"/>
                </a:cubicBezTo>
                <a:cubicBezTo>
                  <a:pt x="756" y="182"/>
                  <a:pt x="753" y="185"/>
                  <a:pt x="749" y="185"/>
                </a:cubicBezTo>
                <a:cubicBezTo>
                  <a:pt x="581" y="185"/>
                  <a:pt x="581" y="185"/>
                  <a:pt x="581" y="185"/>
                </a:cubicBezTo>
                <a:cubicBezTo>
                  <a:pt x="569" y="185"/>
                  <a:pt x="559" y="195"/>
                  <a:pt x="559" y="207"/>
                </a:cubicBezTo>
                <a:cubicBezTo>
                  <a:pt x="559" y="219"/>
                  <a:pt x="569" y="228"/>
                  <a:pt x="581" y="228"/>
                </a:cubicBezTo>
                <a:cubicBezTo>
                  <a:pt x="734" y="228"/>
                  <a:pt x="734" y="228"/>
                  <a:pt x="734" y="228"/>
                </a:cubicBezTo>
                <a:cubicBezTo>
                  <a:pt x="738" y="228"/>
                  <a:pt x="741" y="232"/>
                  <a:pt x="741" y="236"/>
                </a:cubicBezTo>
                <a:cubicBezTo>
                  <a:pt x="741" y="240"/>
                  <a:pt x="738" y="243"/>
                  <a:pt x="734" y="243"/>
                </a:cubicBezTo>
                <a:cubicBezTo>
                  <a:pt x="600" y="243"/>
                  <a:pt x="600" y="243"/>
                  <a:pt x="600" y="243"/>
                </a:cubicBezTo>
                <a:cubicBezTo>
                  <a:pt x="588" y="243"/>
                  <a:pt x="579" y="253"/>
                  <a:pt x="579" y="265"/>
                </a:cubicBezTo>
                <a:cubicBezTo>
                  <a:pt x="579" y="277"/>
                  <a:pt x="588" y="286"/>
                  <a:pt x="600" y="286"/>
                </a:cubicBezTo>
                <a:cubicBezTo>
                  <a:pt x="721" y="286"/>
                  <a:pt x="721" y="286"/>
                  <a:pt x="721" y="286"/>
                </a:cubicBezTo>
                <a:cubicBezTo>
                  <a:pt x="725" y="286"/>
                  <a:pt x="728" y="290"/>
                  <a:pt x="728" y="294"/>
                </a:cubicBezTo>
                <a:cubicBezTo>
                  <a:pt x="728" y="298"/>
                  <a:pt x="725" y="301"/>
                  <a:pt x="721" y="301"/>
                </a:cubicBezTo>
                <a:cubicBezTo>
                  <a:pt x="601" y="301"/>
                  <a:pt x="601" y="301"/>
                  <a:pt x="601" y="301"/>
                </a:cubicBezTo>
                <a:cubicBezTo>
                  <a:pt x="590" y="301"/>
                  <a:pt x="580" y="311"/>
                  <a:pt x="580" y="322"/>
                </a:cubicBezTo>
                <a:cubicBezTo>
                  <a:pt x="580" y="334"/>
                  <a:pt x="590" y="344"/>
                  <a:pt x="601" y="344"/>
                </a:cubicBezTo>
                <a:cubicBezTo>
                  <a:pt x="625" y="344"/>
                  <a:pt x="625" y="344"/>
                  <a:pt x="625" y="344"/>
                </a:cubicBezTo>
                <a:cubicBezTo>
                  <a:pt x="629" y="344"/>
                  <a:pt x="632" y="347"/>
                  <a:pt x="632" y="351"/>
                </a:cubicBezTo>
                <a:cubicBezTo>
                  <a:pt x="632" y="355"/>
                  <a:pt x="629" y="359"/>
                  <a:pt x="625" y="359"/>
                </a:cubicBezTo>
                <a:cubicBezTo>
                  <a:pt x="526" y="359"/>
                  <a:pt x="526" y="359"/>
                  <a:pt x="526" y="359"/>
                </a:cubicBezTo>
                <a:cubicBezTo>
                  <a:pt x="525" y="358"/>
                  <a:pt x="523" y="358"/>
                  <a:pt x="522" y="358"/>
                </a:cubicBezTo>
                <a:cubicBezTo>
                  <a:pt x="157" y="358"/>
                  <a:pt x="157" y="358"/>
                  <a:pt x="157" y="358"/>
                </a:cubicBezTo>
                <a:cubicBezTo>
                  <a:pt x="153" y="358"/>
                  <a:pt x="149" y="355"/>
                  <a:pt x="149" y="351"/>
                </a:cubicBezTo>
                <a:cubicBezTo>
                  <a:pt x="149" y="347"/>
                  <a:pt x="153" y="344"/>
                  <a:pt x="157" y="344"/>
                </a:cubicBezTo>
                <a:cubicBezTo>
                  <a:pt x="366" y="344"/>
                  <a:pt x="366" y="344"/>
                  <a:pt x="366" y="344"/>
                </a:cubicBezTo>
                <a:cubicBezTo>
                  <a:pt x="378" y="344"/>
                  <a:pt x="388" y="334"/>
                  <a:pt x="388" y="322"/>
                </a:cubicBezTo>
                <a:cubicBezTo>
                  <a:pt x="388" y="310"/>
                  <a:pt x="378" y="301"/>
                  <a:pt x="366" y="301"/>
                </a:cubicBezTo>
                <a:cubicBezTo>
                  <a:pt x="22" y="301"/>
                  <a:pt x="22" y="301"/>
                  <a:pt x="22" y="301"/>
                </a:cubicBezTo>
                <a:cubicBezTo>
                  <a:pt x="18" y="301"/>
                  <a:pt x="15" y="297"/>
                  <a:pt x="15" y="293"/>
                </a:cubicBezTo>
                <a:cubicBezTo>
                  <a:pt x="15" y="289"/>
                  <a:pt x="18" y="286"/>
                  <a:pt x="22" y="286"/>
                </a:cubicBezTo>
                <a:cubicBezTo>
                  <a:pt x="346" y="286"/>
                  <a:pt x="346" y="286"/>
                  <a:pt x="346" y="286"/>
                </a:cubicBezTo>
                <a:cubicBezTo>
                  <a:pt x="358" y="286"/>
                  <a:pt x="367" y="276"/>
                  <a:pt x="367" y="264"/>
                </a:cubicBezTo>
                <a:cubicBezTo>
                  <a:pt x="367" y="252"/>
                  <a:pt x="358" y="243"/>
                  <a:pt x="346" y="243"/>
                </a:cubicBezTo>
                <a:cubicBezTo>
                  <a:pt x="59" y="243"/>
                  <a:pt x="59" y="243"/>
                  <a:pt x="59" y="243"/>
                </a:cubicBezTo>
                <a:cubicBezTo>
                  <a:pt x="55" y="243"/>
                  <a:pt x="52" y="239"/>
                  <a:pt x="52" y="235"/>
                </a:cubicBezTo>
                <a:cubicBezTo>
                  <a:pt x="52" y="231"/>
                  <a:pt x="55" y="228"/>
                  <a:pt x="59" y="228"/>
                </a:cubicBezTo>
                <a:cubicBezTo>
                  <a:pt x="237" y="228"/>
                  <a:pt x="237" y="228"/>
                  <a:pt x="237" y="228"/>
                </a:cubicBezTo>
                <a:cubicBezTo>
                  <a:pt x="249" y="228"/>
                  <a:pt x="258" y="218"/>
                  <a:pt x="258" y="207"/>
                </a:cubicBezTo>
                <a:cubicBezTo>
                  <a:pt x="258" y="195"/>
                  <a:pt x="249" y="185"/>
                  <a:pt x="237" y="185"/>
                </a:cubicBezTo>
                <a:cubicBezTo>
                  <a:pt x="72" y="185"/>
                  <a:pt x="72" y="185"/>
                  <a:pt x="72" y="185"/>
                </a:cubicBezTo>
                <a:cubicBezTo>
                  <a:pt x="68" y="185"/>
                  <a:pt x="64" y="182"/>
                  <a:pt x="64" y="178"/>
                </a:cubicBezTo>
                <a:cubicBezTo>
                  <a:pt x="64" y="174"/>
                  <a:pt x="68" y="170"/>
                  <a:pt x="72" y="170"/>
                </a:cubicBezTo>
                <a:cubicBezTo>
                  <a:pt x="200" y="170"/>
                  <a:pt x="200" y="170"/>
                  <a:pt x="200" y="170"/>
                </a:cubicBezTo>
                <a:cubicBezTo>
                  <a:pt x="273" y="170"/>
                  <a:pt x="333" y="111"/>
                  <a:pt x="333" y="38"/>
                </a:cubicBezTo>
                <a:cubicBezTo>
                  <a:pt x="344" y="38"/>
                  <a:pt x="344" y="38"/>
                  <a:pt x="344" y="38"/>
                </a:cubicBezTo>
                <a:cubicBezTo>
                  <a:pt x="344" y="0"/>
                  <a:pt x="344" y="0"/>
                  <a:pt x="344" y="0"/>
                </a:cubicBezTo>
                <a:cubicBezTo>
                  <a:pt x="306" y="0"/>
                  <a:pt x="306" y="0"/>
                  <a:pt x="306" y="0"/>
                </a:cubicBezTo>
                <a:cubicBezTo>
                  <a:pt x="306" y="38"/>
                  <a:pt x="306" y="38"/>
                  <a:pt x="306" y="38"/>
                </a:cubicBezTo>
                <a:cubicBezTo>
                  <a:pt x="318" y="38"/>
                  <a:pt x="318" y="38"/>
                  <a:pt x="318" y="38"/>
                </a:cubicBezTo>
                <a:cubicBezTo>
                  <a:pt x="318" y="103"/>
                  <a:pt x="265" y="156"/>
                  <a:pt x="200" y="156"/>
                </a:cubicBezTo>
                <a:cubicBezTo>
                  <a:pt x="72" y="156"/>
                  <a:pt x="72" y="156"/>
                  <a:pt x="72" y="156"/>
                </a:cubicBezTo>
                <a:cubicBezTo>
                  <a:pt x="60" y="156"/>
                  <a:pt x="50" y="166"/>
                  <a:pt x="50" y="178"/>
                </a:cubicBezTo>
                <a:cubicBezTo>
                  <a:pt x="50" y="190"/>
                  <a:pt x="60" y="199"/>
                  <a:pt x="72" y="199"/>
                </a:cubicBezTo>
                <a:cubicBezTo>
                  <a:pt x="237" y="199"/>
                  <a:pt x="237" y="199"/>
                  <a:pt x="237" y="199"/>
                </a:cubicBezTo>
                <a:cubicBezTo>
                  <a:pt x="241" y="199"/>
                  <a:pt x="244" y="202"/>
                  <a:pt x="244" y="207"/>
                </a:cubicBezTo>
                <a:cubicBezTo>
                  <a:pt x="244" y="211"/>
                  <a:pt x="241" y="214"/>
                  <a:pt x="237" y="214"/>
                </a:cubicBezTo>
                <a:cubicBezTo>
                  <a:pt x="59" y="214"/>
                  <a:pt x="59" y="214"/>
                  <a:pt x="59" y="214"/>
                </a:cubicBezTo>
                <a:cubicBezTo>
                  <a:pt x="47" y="214"/>
                  <a:pt x="37" y="224"/>
                  <a:pt x="37" y="235"/>
                </a:cubicBezTo>
                <a:cubicBezTo>
                  <a:pt x="37" y="247"/>
                  <a:pt x="47" y="257"/>
                  <a:pt x="59" y="257"/>
                </a:cubicBezTo>
                <a:cubicBezTo>
                  <a:pt x="346" y="257"/>
                  <a:pt x="346" y="257"/>
                  <a:pt x="346" y="257"/>
                </a:cubicBezTo>
                <a:cubicBezTo>
                  <a:pt x="350" y="257"/>
                  <a:pt x="353" y="260"/>
                  <a:pt x="353" y="264"/>
                </a:cubicBezTo>
                <a:cubicBezTo>
                  <a:pt x="353" y="268"/>
                  <a:pt x="350" y="272"/>
                  <a:pt x="346" y="272"/>
                </a:cubicBezTo>
                <a:cubicBezTo>
                  <a:pt x="22" y="272"/>
                  <a:pt x="22" y="272"/>
                  <a:pt x="22" y="272"/>
                </a:cubicBezTo>
                <a:cubicBezTo>
                  <a:pt x="10" y="272"/>
                  <a:pt x="0" y="281"/>
                  <a:pt x="0" y="293"/>
                </a:cubicBezTo>
                <a:cubicBezTo>
                  <a:pt x="0" y="305"/>
                  <a:pt x="10" y="315"/>
                  <a:pt x="22" y="315"/>
                </a:cubicBezTo>
                <a:cubicBezTo>
                  <a:pt x="366" y="315"/>
                  <a:pt x="366" y="315"/>
                  <a:pt x="366" y="315"/>
                </a:cubicBezTo>
                <a:cubicBezTo>
                  <a:pt x="370" y="315"/>
                  <a:pt x="374" y="318"/>
                  <a:pt x="374" y="322"/>
                </a:cubicBezTo>
                <a:cubicBezTo>
                  <a:pt x="374" y="326"/>
                  <a:pt x="370" y="329"/>
                  <a:pt x="366" y="329"/>
                </a:cubicBezTo>
                <a:cubicBezTo>
                  <a:pt x="157" y="329"/>
                  <a:pt x="157" y="329"/>
                  <a:pt x="157" y="329"/>
                </a:cubicBezTo>
                <a:cubicBezTo>
                  <a:pt x="145" y="329"/>
                  <a:pt x="135" y="339"/>
                  <a:pt x="135" y="351"/>
                </a:cubicBezTo>
                <a:cubicBezTo>
                  <a:pt x="135" y="363"/>
                  <a:pt x="145" y="373"/>
                  <a:pt x="157" y="373"/>
                </a:cubicBezTo>
                <a:cubicBezTo>
                  <a:pt x="497" y="373"/>
                  <a:pt x="497" y="373"/>
                  <a:pt x="497" y="373"/>
                </a:cubicBezTo>
                <a:cubicBezTo>
                  <a:pt x="497" y="373"/>
                  <a:pt x="497" y="373"/>
                  <a:pt x="497" y="373"/>
                </a:cubicBezTo>
                <a:cubicBezTo>
                  <a:pt x="524" y="373"/>
                  <a:pt x="524" y="373"/>
                  <a:pt x="524" y="373"/>
                </a:cubicBezTo>
                <a:cubicBezTo>
                  <a:pt x="527" y="374"/>
                  <a:pt x="530" y="377"/>
                  <a:pt x="530" y="380"/>
                </a:cubicBezTo>
                <a:cubicBezTo>
                  <a:pt x="530" y="384"/>
                  <a:pt x="526" y="387"/>
                  <a:pt x="522" y="387"/>
                </a:cubicBezTo>
                <a:cubicBezTo>
                  <a:pt x="164" y="387"/>
                  <a:pt x="164" y="387"/>
                  <a:pt x="164" y="387"/>
                </a:cubicBezTo>
                <a:cubicBezTo>
                  <a:pt x="152" y="387"/>
                  <a:pt x="142" y="397"/>
                  <a:pt x="142" y="409"/>
                </a:cubicBezTo>
                <a:cubicBezTo>
                  <a:pt x="142" y="421"/>
                  <a:pt x="152" y="430"/>
                  <a:pt x="164" y="430"/>
                </a:cubicBezTo>
                <a:cubicBezTo>
                  <a:pt x="518" y="430"/>
                  <a:pt x="518" y="430"/>
                  <a:pt x="518" y="430"/>
                </a:cubicBezTo>
                <a:cubicBezTo>
                  <a:pt x="522" y="430"/>
                  <a:pt x="525" y="434"/>
                  <a:pt x="525" y="438"/>
                </a:cubicBezTo>
                <a:cubicBezTo>
                  <a:pt x="525" y="442"/>
                  <a:pt x="522" y="445"/>
                  <a:pt x="518" y="445"/>
                </a:cubicBezTo>
                <a:cubicBezTo>
                  <a:pt x="180" y="445"/>
                  <a:pt x="180" y="445"/>
                  <a:pt x="180" y="445"/>
                </a:cubicBezTo>
                <a:cubicBezTo>
                  <a:pt x="168" y="445"/>
                  <a:pt x="158" y="455"/>
                  <a:pt x="158" y="467"/>
                </a:cubicBezTo>
                <a:cubicBezTo>
                  <a:pt x="158" y="479"/>
                  <a:pt x="168" y="488"/>
                  <a:pt x="180" y="488"/>
                </a:cubicBezTo>
                <a:cubicBezTo>
                  <a:pt x="433" y="488"/>
                  <a:pt x="433" y="488"/>
                  <a:pt x="433" y="488"/>
                </a:cubicBezTo>
                <a:cubicBezTo>
                  <a:pt x="437" y="488"/>
                  <a:pt x="440" y="492"/>
                  <a:pt x="440" y="496"/>
                </a:cubicBezTo>
                <a:cubicBezTo>
                  <a:pt x="440" y="500"/>
                  <a:pt x="437" y="503"/>
                  <a:pt x="433" y="503"/>
                </a:cubicBezTo>
                <a:cubicBezTo>
                  <a:pt x="162" y="503"/>
                  <a:pt x="162" y="503"/>
                  <a:pt x="162" y="503"/>
                </a:cubicBezTo>
                <a:cubicBezTo>
                  <a:pt x="150" y="503"/>
                  <a:pt x="140" y="513"/>
                  <a:pt x="140" y="524"/>
                </a:cubicBezTo>
                <a:cubicBezTo>
                  <a:pt x="140" y="536"/>
                  <a:pt x="150" y="546"/>
                  <a:pt x="162" y="546"/>
                </a:cubicBezTo>
                <a:cubicBezTo>
                  <a:pt x="381" y="546"/>
                  <a:pt x="381" y="546"/>
                  <a:pt x="381" y="546"/>
                </a:cubicBezTo>
                <a:cubicBezTo>
                  <a:pt x="385" y="546"/>
                  <a:pt x="388" y="549"/>
                  <a:pt x="388" y="553"/>
                </a:cubicBezTo>
                <a:cubicBezTo>
                  <a:pt x="388" y="557"/>
                  <a:pt x="385" y="561"/>
                  <a:pt x="381" y="561"/>
                </a:cubicBezTo>
                <a:cubicBezTo>
                  <a:pt x="190" y="561"/>
                  <a:pt x="190" y="561"/>
                  <a:pt x="190" y="561"/>
                </a:cubicBezTo>
                <a:cubicBezTo>
                  <a:pt x="178" y="561"/>
                  <a:pt x="168" y="570"/>
                  <a:pt x="168" y="582"/>
                </a:cubicBezTo>
                <a:cubicBezTo>
                  <a:pt x="168" y="594"/>
                  <a:pt x="178" y="604"/>
                  <a:pt x="190" y="604"/>
                </a:cubicBezTo>
                <a:cubicBezTo>
                  <a:pt x="266" y="604"/>
                  <a:pt x="266" y="604"/>
                  <a:pt x="266" y="604"/>
                </a:cubicBezTo>
                <a:cubicBezTo>
                  <a:pt x="270" y="604"/>
                  <a:pt x="273" y="607"/>
                  <a:pt x="273" y="611"/>
                </a:cubicBezTo>
                <a:cubicBezTo>
                  <a:pt x="273" y="615"/>
                  <a:pt x="270" y="619"/>
                  <a:pt x="266" y="619"/>
                </a:cubicBezTo>
                <a:cubicBezTo>
                  <a:pt x="236" y="619"/>
                  <a:pt x="236" y="619"/>
                  <a:pt x="236" y="619"/>
                </a:cubicBezTo>
                <a:cubicBezTo>
                  <a:pt x="224" y="619"/>
                  <a:pt x="215" y="628"/>
                  <a:pt x="215" y="640"/>
                </a:cubicBezTo>
                <a:cubicBezTo>
                  <a:pt x="215" y="652"/>
                  <a:pt x="224" y="662"/>
                  <a:pt x="236" y="662"/>
                </a:cubicBezTo>
                <a:cubicBezTo>
                  <a:pt x="276" y="662"/>
                  <a:pt x="276" y="662"/>
                  <a:pt x="276" y="662"/>
                </a:cubicBezTo>
                <a:cubicBezTo>
                  <a:pt x="280" y="662"/>
                  <a:pt x="283" y="665"/>
                  <a:pt x="283" y="669"/>
                </a:cubicBezTo>
                <a:cubicBezTo>
                  <a:pt x="283" y="673"/>
                  <a:pt x="280" y="676"/>
                  <a:pt x="276" y="676"/>
                </a:cubicBezTo>
                <a:cubicBezTo>
                  <a:pt x="273" y="676"/>
                  <a:pt x="273" y="676"/>
                  <a:pt x="273" y="676"/>
                </a:cubicBezTo>
                <a:cubicBezTo>
                  <a:pt x="261" y="676"/>
                  <a:pt x="252" y="686"/>
                  <a:pt x="252" y="698"/>
                </a:cubicBezTo>
                <a:cubicBezTo>
                  <a:pt x="252" y="710"/>
                  <a:pt x="261" y="720"/>
                  <a:pt x="273" y="720"/>
                </a:cubicBezTo>
                <a:cubicBezTo>
                  <a:pt x="353" y="720"/>
                  <a:pt x="353" y="720"/>
                  <a:pt x="353" y="720"/>
                </a:cubicBezTo>
                <a:cubicBezTo>
                  <a:pt x="357" y="720"/>
                  <a:pt x="360" y="723"/>
                  <a:pt x="360" y="727"/>
                </a:cubicBezTo>
                <a:cubicBezTo>
                  <a:pt x="360" y="731"/>
                  <a:pt x="357" y="734"/>
                  <a:pt x="353" y="734"/>
                </a:cubicBezTo>
                <a:cubicBezTo>
                  <a:pt x="337" y="734"/>
                  <a:pt x="337" y="734"/>
                  <a:pt x="337" y="734"/>
                </a:cubicBezTo>
                <a:cubicBezTo>
                  <a:pt x="325" y="734"/>
                  <a:pt x="316" y="744"/>
                  <a:pt x="316" y="756"/>
                </a:cubicBezTo>
                <a:cubicBezTo>
                  <a:pt x="316" y="768"/>
                  <a:pt x="325" y="777"/>
                  <a:pt x="337" y="777"/>
                </a:cubicBezTo>
                <a:cubicBezTo>
                  <a:pt x="529" y="777"/>
                  <a:pt x="529" y="777"/>
                  <a:pt x="529" y="777"/>
                </a:cubicBezTo>
                <a:cubicBezTo>
                  <a:pt x="533" y="777"/>
                  <a:pt x="537" y="781"/>
                  <a:pt x="537" y="785"/>
                </a:cubicBezTo>
                <a:cubicBezTo>
                  <a:pt x="537" y="789"/>
                  <a:pt x="533" y="792"/>
                  <a:pt x="529" y="792"/>
                </a:cubicBezTo>
                <a:cubicBezTo>
                  <a:pt x="377" y="792"/>
                  <a:pt x="377" y="792"/>
                  <a:pt x="377" y="792"/>
                </a:cubicBezTo>
                <a:cubicBezTo>
                  <a:pt x="365" y="792"/>
                  <a:pt x="356" y="802"/>
                  <a:pt x="356" y="814"/>
                </a:cubicBezTo>
                <a:cubicBezTo>
                  <a:pt x="356" y="825"/>
                  <a:pt x="365" y="835"/>
                  <a:pt x="377" y="835"/>
                </a:cubicBezTo>
                <a:cubicBezTo>
                  <a:pt x="607" y="835"/>
                  <a:pt x="607" y="835"/>
                  <a:pt x="607" y="835"/>
                </a:cubicBezTo>
                <a:cubicBezTo>
                  <a:pt x="611" y="835"/>
                  <a:pt x="615" y="838"/>
                  <a:pt x="615" y="842"/>
                </a:cubicBezTo>
                <a:cubicBezTo>
                  <a:pt x="615" y="846"/>
                  <a:pt x="611" y="850"/>
                  <a:pt x="607" y="850"/>
                </a:cubicBezTo>
                <a:cubicBezTo>
                  <a:pt x="417" y="850"/>
                  <a:pt x="417" y="850"/>
                  <a:pt x="417" y="850"/>
                </a:cubicBezTo>
                <a:cubicBezTo>
                  <a:pt x="405" y="850"/>
                  <a:pt x="396" y="859"/>
                  <a:pt x="396" y="871"/>
                </a:cubicBezTo>
                <a:cubicBezTo>
                  <a:pt x="396" y="883"/>
                  <a:pt x="405" y="893"/>
                  <a:pt x="417" y="893"/>
                </a:cubicBezTo>
                <a:cubicBezTo>
                  <a:pt x="593" y="893"/>
                  <a:pt x="593" y="893"/>
                  <a:pt x="593" y="893"/>
                </a:cubicBezTo>
                <a:cubicBezTo>
                  <a:pt x="597" y="893"/>
                  <a:pt x="600" y="896"/>
                  <a:pt x="600" y="900"/>
                </a:cubicBezTo>
                <a:cubicBezTo>
                  <a:pt x="600" y="904"/>
                  <a:pt x="597" y="908"/>
                  <a:pt x="593" y="908"/>
                </a:cubicBezTo>
                <a:cubicBezTo>
                  <a:pt x="446" y="908"/>
                  <a:pt x="446" y="908"/>
                  <a:pt x="446" y="908"/>
                </a:cubicBezTo>
                <a:cubicBezTo>
                  <a:pt x="434" y="908"/>
                  <a:pt x="425" y="917"/>
                  <a:pt x="425" y="929"/>
                </a:cubicBezTo>
                <a:cubicBezTo>
                  <a:pt x="425" y="941"/>
                  <a:pt x="434" y="951"/>
                  <a:pt x="446" y="951"/>
                </a:cubicBezTo>
                <a:cubicBezTo>
                  <a:pt x="551" y="951"/>
                  <a:pt x="551" y="951"/>
                  <a:pt x="551" y="951"/>
                </a:cubicBezTo>
                <a:cubicBezTo>
                  <a:pt x="555" y="951"/>
                  <a:pt x="558" y="954"/>
                  <a:pt x="558" y="958"/>
                </a:cubicBezTo>
                <a:cubicBezTo>
                  <a:pt x="558" y="962"/>
                  <a:pt x="555" y="965"/>
                  <a:pt x="551" y="965"/>
                </a:cubicBezTo>
                <a:cubicBezTo>
                  <a:pt x="438" y="965"/>
                  <a:pt x="438" y="965"/>
                  <a:pt x="438" y="965"/>
                </a:cubicBezTo>
                <a:cubicBezTo>
                  <a:pt x="426" y="965"/>
                  <a:pt x="417" y="975"/>
                  <a:pt x="417" y="987"/>
                </a:cubicBezTo>
                <a:cubicBezTo>
                  <a:pt x="417" y="999"/>
                  <a:pt x="426" y="1009"/>
                  <a:pt x="438" y="1009"/>
                </a:cubicBezTo>
                <a:cubicBezTo>
                  <a:pt x="495" y="1009"/>
                  <a:pt x="495" y="1009"/>
                  <a:pt x="495" y="1009"/>
                </a:cubicBezTo>
                <a:cubicBezTo>
                  <a:pt x="499" y="1009"/>
                  <a:pt x="502" y="1012"/>
                  <a:pt x="502" y="1016"/>
                </a:cubicBezTo>
                <a:cubicBezTo>
                  <a:pt x="502" y="1020"/>
                  <a:pt x="499" y="1023"/>
                  <a:pt x="495" y="1023"/>
                </a:cubicBezTo>
                <a:cubicBezTo>
                  <a:pt x="443" y="1023"/>
                  <a:pt x="443" y="1023"/>
                  <a:pt x="443" y="1023"/>
                </a:cubicBezTo>
                <a:cubicBezTo>
                  <a:pt x="431" y="1023"/>
                  <a:pt x="422" y="1033"/>
                  <a:pt x="422" y="1045"/>
                </a:cubicBezTo>
                <a:cubicBezTo>
                  <a:pt x="422" y="1057"/>
                  <a:pt x="431" y="1066"/>
                  <a:pt x="443" y="1066"/>
                </a:cubicBezTo>
                <a:cubicBezTo>
                  <a:pt x="472" y="1066"/>
                  <a:pt x="472" y="1066"/>
                  <a:pt x="472" y="1066"/>
                </a:cubicBezTo>
                <a:cubicBezTo>
                  <a:pt x="476" y="1066"/>
                  <a:pt x="479" y="1070"/>
                  <a:pt x="479" y="1074"/>
                </a:cubicBezTo>
                <a:cubicBezTo>
                  <a:pt x="479" y="1078"/>
                  <a:pt x="476" y="1081"/>
                  <a:pt x="472" y="1081"/>
                </a:cubicBezTo>
                <a:cubicBezTo>
                  <a:pt x="443" y="1081"/>
                  <a:pt x="443" y="1081"/>
                  <a:pt x="443" y="1081"/>
                </a:cubicBezTo>
                <a:cubicBezTo>
                  <a:pt x="431" y="1081"/>
                  <a:pt x="422" y="1091"/>
                  <a:pt x="422" y="1103"/>
                </a:cubicBezTo>
                <a:cubicBezTo>
                  <a:pt x="422" y="1115"/>
                  <a:pt x="431" y="1124"/>
                  <a:pt x="443" y="1124"/>
                </a:cubicBezTo>
                <a:cubicBezTo>
                  <a:pt x="462" y="1124"/>
                  <a:pt x="462" y="1124"/>
                  <a:pt x="462" y="1124"/>
                </a:cubicBezTo>
                <a:cubicBezTo>
                  <a:pt x="1017" y="1124"/>
                  <a:pt x="1017" y="1124"/>
                  <a:pt x="1017" y="1124"/>
                </a:cubicBezTo>
                <a:cubicBezTo>
                  <a:pt x="1037" y="1124"/>
                  <a:pt x="1053" y="1108"/>
                  <a:pt x="1053" y="1088"/>
                </a:cubicBezTo>
                <a:cubicBezTo>
                  <a:pt x="1053" y="1068"/>
                  <a:pt x="1037" y="1052"/>
                  <a:pt x="1017" y="1052"/>
                </a:cubicBezTo>
                <a:cubicBezTo>
                  <a:pt x="976" y="1052"/>
                  <a:pt x="976" y="1052"/>
                  <a:pt x="976" y="1052"/>
                </a:cubicBezTo>
                <a:cubicBezTo>
                  <a:pt x="964" y="1052"/>
                  <a:pt x="955" y="1042"/>
                  <a:pt x="955" y="1030"/>
                </a:cubicBezTo>
                <a:cubicBezTo>
                  <a:pt x="955" y="1018"/>
                  <a:pt x="964" y="1009"/>
                  <a:pt x="976" y="1009"/>
                </a:cubicBezTo>
                <a:cubicBezTo>
                  <a:pt x="979" y="1009"/>
                  <a:pt x="979" y="1009"/>
                  <a:pt x="979" y="1009"/>
                </a:cubicBezTo>
                <a:cubicBezTo>
                  <a:pt x="990" y="1009"/>
                  <a:pt x="1000" y="999"/>
                  <a:pt x="1000" y="987"/>
                </a:cubicBezTo>
                <a:cubicBezTo>
                  <a:pt x="1000" y="975"/>
                  <a:pt x="990" y="965"/>
                  <a:pt x="979" y="965"/>
                </a:cubicBezTo>
                <a:cubicBezTo>
                  <a:pt x="941" y="965"/>
                  <a:pt x="941" y="965"/>
                  <a:pt x="941" y="965"/>
                </a:cubicBezTo>
                <a:cubicBezTo>
                  <a:pt x="937" y="965"/>
                  <a:pt x="933" y="962"/>
                  <a:pt x="933" y="958"/>
                </a:cubicBezTo>
                <a:cubicBezTo>
                  <a:pt x="933" y="954"/>
                  <a:pt x="937" y="951"/>
                  <a:pt x="941" y="951"/>
                </a:cubicBezTo>
                <a:cubicBezTo>
                  <a:pt x="1017" y="951"/>
                  <a:pt x="1017" y="951"/>
                  <a:pt x="1017" y="951"/>
                </a:cubicBezTo>
                <a:cubicBezTo>
                  <a:pt x="1029" y="951"/>
                  <a:pt x="1039" y="941"/>
                  <a:pt x="1039" y="929"/>
                </a:cubicBezTo>
                <a:cubicBezTo>
                  <a:pt x="1039" y="917"/>
                  <a:pt x="1029" y="908"/>
                  <a:pt x="1017" y="908"/>
                </a:cubicBezTo>
                <a:cubicBezTo>
                  <a:pt x="919" y="908"/>
                  <a:pt x="919" y="908"/>
                  <a:pt x="919" y="908"/>
                </a:cubicBezTo>
                <a:cubicBezTo>
                  <a:pt x="915" y="908"/>
                  <a:pt x="912" y="904"/>
                  <a:pt x="912" y="900"/>
                </a:cubicBezTo>
                <a:cubicBezTo>
                  <a:pt x="912" y="896"/>
                  <a:pt x="915" y="893"/>
                  <a:pt x="919" y="893"/>
                </a:cubicBezTo>
                <a:cubicBezTo>
                  <a:pt x="1053" y="893"/>
                  <a:pt x="1053" y="893"/>
                  <a:pt x="1053" y="893"/>
                </a:cubicBezTo>
                <a:cubicBezTo>
                  <a:pt x="1065" y="893"/>
                  <a:pt x="1075" y="883"/>
                  <a:pt x="1075" y="871"/>
                </a:cubicBezTo>
                <a:cubicBezTo>
                  <a:pt x="1075" y="859"/>
                  <a:pt x="1065" y="850"/>
                  <a:pt x="1053" y="850"/>
                </a:cubicBezTo>
                <a:cubicBezTo>
                  <a:pt x="914" y="850"/>
                  <a:pt x="914" y="850"/>
                  <a:pt x="914" y="850"/>
                </a:cubicBezTo>
                <a:cubicBezTo>
                  <a:pt x="910" y="850"/>
                  <a:pt x="906" y="846"/>
                  <a:pt x="906" y="842"/>
                </a:cubicBezTo>
                <a:cubicBezTo>
                  <a:pt x="906" y="838"/>
                  <a:pt x="910" y="835"/>
                  <a:pt x="914" y="835"/>
                </a:cubicBezTo>
                <a:cubicBezTo>
                  <a:pt x="1049" y="835"/>
                  <a:pt x="1049" y="835"/>
                  <a:pt x="1049" y="835"/>
                </a:cubicBezTo>
                <a:cubicBezTo>
                  <a:pt x="1061" y="835"/>
                  <a:pt x="1071" y="825"/>
                  <a:pt x="1071" y="814"/>
                </a:cubicBezTo>
                <a:cubicBezTo>
                  <a:pt x="1071" y="802"/>
                  <a:pt x="1061" y="792"/>
                  <a:pt x="1049" y="792"/>
                </a:cubicBezTo>
                <a:cubicBezTo>
                  <a:pt x="905" y="792"/>
                  <a:pt x="905" y="792"/>
                  <a:pt x="905" y="792"/>
                </a:cubicBezTo>
                <a:cubicBezTo>
                  <a:pt x="901" y="792"/>
                  <a:pt x="898" y="789"/>
                  <a:pt x="898" y="785"/>
                </a:cubicBezTo>
                <a:cubicBezTo>
                  <a:pt x="898" y="781"/>
                  <a:pt x="901" y="777"/>
                  <a:pt x="905" y="777"/>
                </a:cubicBezTo>
                <a:cubicBezTo>
                  <a:pt x="1104" y="777"/>
                  <a:pt x="1104" y="777"/>
                  <a:pt x="1104" y="777"/>
                </a:cubicBezTo>
                <a:cubicBezTo>
                  <a:pt x="1116" y="777"/>
                  <a:pt x="1125" y="768"/>
                  <a:pt x="1125" y="756"/>
                </a:cubicBezTo>
                <a:cubicBezTo>
                  <a:pt x="1125" y="744"/>
                  <a:pt x="1116" y="734"/>
                  <a:pt x="1104" y="734"/>
                </a:cubicBezTo>
                <a:cubicBezTo>
                  <a:pt x="791" y="734"/>
                  <a:pt x="791" y="734"/>
                  <a:pt x="791" y="734"/>
                </a:cubicBezTo>
                <a:cubicBezTo>
                  <a:pt x="787" y="734"/>
                  <a:pt x="784" y="731"/>
                  <a:pt x="784" y="727"/>
                </a:cubicBezTo>
                <a:cubicBezTo>
                  <a:pt x="784" y="723"/>
                  <a:pt x="787" y="720"/>
                  <a:pt x="791" y="720"/>
                </a:cubicBezTo>
                <a:cubicBezTo>
                  <a:pt x="1046" y="720"/>
                  <a:pt x="1046" y="720"/>
                  <a:pt x="1046" y="720"/>
                </a:cubicBezTo>
                <a:cubicBezTo>
                  <a:pt x="1058" y="720"/>
                  <a:pt x="1068" y="710"/>
                  <a:pt x="1068" y="698"/>
                </a:cubicBezTo>
                <a:cubicBezTo>
                  <a:pt x="1068" y="686"/>
                  <a:pt x="1058" y="676"/>
                  <a:pt x="1046" y="676"/>
                </a:cubicBezTo>
                <a:cubicBezTo>
                  <a:pt x="763" y="676"/>
                  <a:pt x="763" y="676"/>
                  <a:pt x="763" y="676"/>
                </a:cubicBezTo>
                <a:cubicBezTo>
                  <a:pt x="759" y="676"/>
                  <a:pt x="755" y="673"/>
                  <a:pt x="755" y="669"/>
                </a:cubicBezTo>
                <a:cubicBezTo>
                  <a:pt x="755" y="665"/>
                  <a:pt x="759" y="662"/>
                  <a:pt x="763" y="662"/>
                </a:cubicBezTo>
                <a:cubicBezTo>
                  <a:pt x="1011" y="662"/>
                  <a:pt x="1011" y="662"/>
                  <a:pt x="1011" y="662"/>
                </a:cubicBezTo>
                <a:cubicBezTo>
                  <a:pt x="1022" y="662"/>
                  <a:pt x="1032" y="652"/>
                  <a:pt x="1032" y="640"/>
                </a:cubicBezTo>
                <a:cubicBezTo>
                  <a:pt x="1032" y="628"/>
                  <a:pt x="1022" y="619"/>
                  <a:pt x="1011" y="619"/>
                </a:cubicBezTo>
                <a:cubicBezTo>
                  <a:pt x="805" y="619"/>
                  <a:pt x="805" y="619"/>
                  <a:pt x="805" y="619"/>
                </a:cubicBezTo>
                <a:cubicBezTo>
                  <a:pt x="801" y="619"/>
                  <a:pt x="798" y="615"/>
                  <a:pt x="798" y="611"/>
                </a:cubicBezTo>
                <a:cubicBezTo>
                  <a:pt x="798" y="607"/>
                  <a:pt x="801" y="604"/>
                  <a:pt x="805" y="604"/>
                </a:cubicBezTo>
                <a:cubicBezTo>
                  <a:pt x="860" y="604"/>
                  <a:pt x="860" y="604"/>
                  <a:pt x="860" y="604"/>
                </a:cubicBezTo>
                <a:cubicBezTo>
                  <a:pt x="872" y="604"/>
                  <a:pt x="881" y="594"/>
                  <a:pt x="881" y="582"/>
                </a:cubicBezTo>
                <a:cubicBezTo>
                  <a:pt x="881" y="570"/>
                  <a:pt x="872" y="561"/>
                  <a:pt x="860" y="561"/>
                </a:cubicBezTo>
                <a:cubicBezTo>
                  <a:pt x="805" y="561"/>
                  <a:pt x="805" y="561"/>
                  <a:pt x="805" y="561"/>
                </a:cubicBezTo>
                <a:cubicBezTo>
                  <a:pt x="801" y="561"/>
                  <a:pt x="798" y="557"/>
                  <a:pt x="798" y="553"/>
                </a:cubicBezTo>
                <a:cubicBezTo>
                  <a:pt x="798" y="549"/>
                  <a:pt x="801" y="546"/>
                  <a:pt x="805" y="546"/>
                </a:cubicBezTo>
                <a:cubicBezTo>
                  <a:pt x="972" y="546"/>
                  <a:pt x="972" y="546"/>
                  <a:pt x="972" y="546"/>
                </a:cubicBezTo>
                <a:cubicBezTo>
                  <a:pt x="984" y="546"/>
                  <a:pt x="993" y="536"/>
                  <a:pt x="993" y="524"/>
                </a:cubicBezTo>
                <a:cubicBezTo>
                  <a:pt x="993" y="513"/>
                  <a:pt x="984" y="503"/>
                  <a:pt x="972" y="503"/>
                </a:cubicBezTo>
                <a:cubicBezTo>
                  <a:pt x="846" y="503"/>
                  <a:pt x="846" y="503"/>
                  <a:pt x="846" y="503"/>
                </a:cubicBezTo>
                <a:cubicBezTo>
                  <a:pt x="842" y="503"/>
                  <a:pt x="839" y="500"/>
                  <a:pt x="839" y="496"/>
                </a:cubicBezTo>
                <a:cubicBezTo>
                  <a:pt x="839" y="492"/>
                  <a:pt x="842" y="488"/>
                  <a:pt x="846" y="488"/>
                </a:cubicBezTo>
                <a:cubicBezTo>
                  <a:pt x="969" y="488"/>
                  <a:pt x="969" y="488"/>
                  <a:pt x="969" y="488"/>
                </a:cubicBezTo>
                <a:cubicBezTo>
                  <a:pt x="981" y="488"/>
                  <a:pt x="991" y="479"/>
                  <a:pt x="991" y="467"/>
                </a:cubicBezTo>
                <a:cubicBezTo>
                  <a:pt x="991" y="455"/>
                  <a:pt x="981" y="445"/>
                  <a:pt x="969" y="445"/>
                </a:cubicBezTo>
                <a:cubicBezTo>
                  <a:pt x="768" y="445"/>
                  <a:pt x="768" y="445"/>
                  <a:pt x="768" y="445"/>
                </a:cubicBezTo>
                <a:cubicBezTo>
                  <a:pt x="764" y="445"/>
                  <a:pt x="761" y="442"/>
                  <a:pt x="761" y="438"/>
                </a:cubicBezTo>
                <a:cubicBezTo>
                  <a:pt x="761" y="434"/>
                  <a:pt x="764" y="430"/>
                  <a:pt x="768" y="430"/>
                </a:cubicBezTo>
                <a:cubicBezTo>
                  <a:pt x="804" y="430"/>
                  <a:pt x="804" y="430"/>
                  <a:pt x="804" y="430"/>
                </a:cubicBezTo>
                <a:cubicBezTo>
                  <a:pt x="816" y="430"/>
                  <a:pt x="826" y="421"/>
                  <a:pt x="826" y="409"/>
                </a:cubicBezTo>
                <a:cubicBezTo>
                  <a:pt x="826" y="397"/>
                  <a:pt x="816" y="387"/>
                  <a:pt x="804" y="387"/>
                </a:cubicBezTo>
                <a:cubicBezTo>
                  <a:pt x="766" y="387"/>
                  <a:pt x="766" y="387"/>
                  <a:pt x="766" y="387"/>
                </a:cubicBezTo>
                <a:cubicBezTo>
                  <a:pt x="762" y="387"/>
                  <a:pt x="759" y="384"/>
                  <a:pt x="759" y="380"/>
                </a:cubicBezTo>
                <a:cubicBezTo>
                  <a:pt x="759" y="376"/>
                  <a:pt x="762" y="373"/>
                  <a:pt x="766" y="373"/>
                </a:cubicBezTo>
                <a:cubicBezTo>
                  <a:pt x="885" y="373"/>
                  <a:pt x="885" y="373"/>
                  <a:pt x="885" y="373"/>
                </a:cubicBezTo>
                <a:cubicBezTo>
                  <a:pt x="886" y="373"/>
                  <a:pt x="887" y="373"/>
                  <a:pt x="888" y="373"/>
                </a:cubicBezTo>
                <a:cubicBezTo>
                  <a:pt x="1592" y="373"/>
                  <a:pt x="1592" y="373"/>
                  <a:pt x="1592" y="373"/>
                </a:cubicBezTo>
                <a:cubicBezTo>
                  <a:pt x="1596" y="373"/>
                  <a:pt x="1599" y="376"/>
                  <a:pt x="1599" y="380"/>
                </a:cubicBezTo>
                <a:cubicBezTo>
                  <a:pt x="1599" y="384"/>
                  <a:pt x="1596" y="388"/>
                  <a:pt x="1592" y="388"/>
                </a:cubicBezTo>
                <a:cubicBezTo>
                  <a:pt x="855" y="388"/>
                  <a:pt x="855" y="388"/>
                  <a:pt x="855" y="388"/>
                </a:cubicBezTo>
                <a:cubicBezTo>
                  <a:pt x="843" y="388"/>
                  <a:pt x="834" y="397"/>
                  <a:pt x="834" y="409"/>
                </a:cubicBezTo>
                <a:cubicBezTo>
                  <a:pt x="834" y="421"/>
                  <a:pt x="843" y="431"/>
                  <a:pt x="855" y="431"/>
                </a:cubicBezTo>
                <a:cubicBezTo>
                  <a:pt x="1592" y="431"/>
                  <a:pt x="1592" y="431"/>
                  <a:pt x="1592" y="431"/>
                </a:cubicBezTo>
                <a:cubicBezTo>
                  <a:pt x="1596" y="431"/>
                  <a:pt x="1599" y="434"/>
                  <a:pt x="1599" y="438"/>
                </a:cubicBezTo>
                <a:cubicBezTo>
                  <a:pt x="1599" y="442"/>
                  <a:pt x="1596" y="445"/>
                  <a:pt x="1592" y="445"/>
                </a:cubicBezTo>
                <a:cubicBezTo>
                  <a:pt x="1039" y="445"/>
                  <a:pt x="1039" y="445"/>
                  <a:pt x="1039" y="445"/>
                </a:cubicBezTo>
                <a:cubicBezTo>
                  <a:pt x="1027" y="445"/>
                  <a:pt x="1017" y="455"/>
                  <a:pt x="1017" y="467"/>
                </a:cubicBezTo>
                <a:cubicBezTo>
                  <a:pt x="1017" y="479"/>
                  <a:pt x="1027" y="489"/>
                  <a:pt x="1039" y="489"/>
                </a:cubicBezTo>
                <a:cubicBezTo>
                  <a:pt x="1553" y="489"/>
                  <a:pt x="1553" y="489"/>
                  <a:pt x="1553" y="489"/>
                </a:cubicBezTo>
                <a:cubicBezTo>
                  <a:pt x="1557" y="489"/>
                  <a:pt x="1560" y="492"/>
                  <a:pt x="1560" y="496"/>
                </a:cubicBezTo>
                <a:cubicBezTo>
                  <a:pt x="1560" y="500"/>
                  <a:pt x="1557" y="503"/>
                  <a:pt x="1553" y="503"/>
                </a:cubicBezTo>
                <a:cubicBezTo>
                  <a:pt x="1039" y="503"/>
                  <a:pt x="1039" y="503"/>
                  <a:pt x="1039" y="503"/>
                </a:cubicBezTo>
                <a:cubicBezTo>
                  <a:pt x="1027" y="503"/>
                  <a:pt x="1017" y="513"/>
                  <a:pt x="1017" y="525"/>
                </a:cubicBezTo>
                <a:cubicBezTo>
                  <a:pt x="1017" y="537"/>
                  <a:pt x="1027" y="546"/>
                  <a:pt x="1039" y="546"/>
                </a:cubicBezTo>
                <a:cubicBezTo>
                  <a:pt x="1528" y="546"/>
                  <a:pt x="1528" y="546"/>
                  <a:pt x="1528" y="546"/>
                </a:cubicBezTo>
                <a:cubicBezTo>
                  <a:pt x="1532" y="546"/>
                  <a:pt x="1536" y="550"/>
                  <a:pt x="1536" y="554"/>
                </a:cubicBezTo>
                <a:cubicBezTo>
                  <a:pt x="1536" y="558"/>
                  <a:pt x="1532" y="561"/>
                  <a:pt x="1528" y="561"/>
                </a:cubicBezTo>
                <a:cubicBezTo>
                  <a:pt x="1019" y="561"/>
                  <a:pt x="1019" y="561"/>
                  <a:pt x="1019" y="561"/>
                </a:cubicBezTo>
                <a:cubicBezTo>
                  <a:pt x="1007" y="561"/>
                  <a:pt x="997" y="571"/>
                  <a:pt x="997" y="583"/>
                </a:cubicBezTo>
                <a:cubicBezTo>
                  <a:pt x="997" y="595"/>
                  <a:pt x="1007" y="604"/>
                  <a:pt x="1019" y="604"/>
                </a:cubicBezTo>
                <a:cubicBezTo>
                  <a:pt x="1526" y="604"/>
                  <a:pt x="1526" y="604"/>
                  <a:pt x="1526" y="604"/>
                </a:cubicBezTo>
                <a:cubicBezTo>
                  <a:pt x="1530" y="604"/>
                  <a:pt x="1534" y="607"/>
                  <a:pt x="1534" y="612"/>
                </a:cubicBezTo>
                <a:cubicBezTo>
                  <a:pt x="1534" y="616"/>
                  <a:pt x="1530" y="619"/>
                  <a:pt x="1526" y="619"/>
                </a:cubicBezTo>
                <a:cubicBezTo>
                  <a:pt x="1068" y="619"/>
                  <a:pt x="1068" y="619"/>
                  <a:pt x="1068" y="619"/>
                </a:cubicBezTo>
                <a:cubicBezTo>
                  <a:pt x="1056" y="619"/>
                  <a:pt x="1046" y="629"/>
                  <a:pt x="1046" y="640"/>
                </a:cubicBezTo>
                <a:cubicBezTo>
                  <a:pt x="1046" y="652"/>
                  <a:pt x="1056" y="662"/>
                  <a:pt x="1068" y="662"/>
                </a:cubicBezTo>
                <a:cubicBezTo>
                  <a:pt x="1436" y="662"/>
                  <a:pt x="1436" y="662"/>
                  <a:pt x="1436" y="662"/>
                </a:cubicBezTo>
                <a:cubicBezTo>
                  <a:pt x="1440" y="662"/>
                  <a:pt x="1443" y="665"/>
                  <a:pt x="1443" y="669"/>
                </a:cubicBezTo>
                <a:cubicBezTo>
                  <a:pt x="1443" y="673"/>
                  <a:pt x="1440" y="677"/>
                  <a:pt x="1436" y="677"/>
                </a:cubicBezTo>
                <a:cubicBezTo>
                  <a:pt x="1287" y="677"/>
                  <a:pt x="1287" y="677"/>
                  <a:pt x="1287" y="677"/>
                </a:cubicBezTo>
                <a:cubicBezTo>
                  <a:pt x="1276" y="677"/>
                  <a:pt x="1266" y="686"/>
                  <a:pt x="1266" y="698"/>
                </a:cubicBezTo>
                <a:cubicBezTo>
                  <a:pt x="1266" y="710"/>
                  <a:pt x="1276" y="720"/>
                  <a:pt x="1287" y="720"/>
                </a:cubicBezTo>
                <a:cubicBezTo>
                  <a:pt x="1454" y="720"/>
                  <a:pt x="1454" y="720"/>
                  <a:pt x="1454" y="720"/>
                </a:cubicBezTo>
                <a:cubicBezTo>
                  <a:pt x="1458" y="720"/>
                  <a:pt x="1461" y="723"/>
                  <a:pt x="1461" y="727"/>
                </a:cubicBezTo>
                <a:cubicBezTo>
                  <a:pt x="1461" y="731"/>
                  <a:pt x="1458" y="734"/>
                  <a:pt x="1454" y="734"/>
                </a:cubicBezTo>
                <a:cubicBezTo>
                  <a:pt x="1321" y="734"/>
                  <a:pt x="1321" y="734"/>
                  <a:pt x="1321" y="734"/>
                </a:cubicBezTo>
                <a:cubicBezTo>
                  <a:pt x="1309" y="734"/>
                  <a:pt x="1300" y="744"/>
                  <a:pt x="1300" y="756"/>
                </a:cubicBezTo>
                <a:cubicBezTo>
                  <a:pt x="1300" y="768"/>
                  <a:pt x="1309" y="778"/>
                  <a:pt x="1321" y="778"/>
                </a:cubicBezTo>
                <a:cubicBezTo>
                  <a:pt x="1549" y="778"/>
                  <a:pt x="1549" y="778"/>
                  <a:pt x="1549" y="778"/>
                </a:cubicBezTo>
                <a:cubicBezTo>
                  <a:pt x="1553" y="778"/>
                  <a:pt x="1556" y="781"/>
                  <a:pt x="1556" y="785"/>
                </a:cubicBezTo>
                <a:cubicBezTo>
                  <a:pt x="1556" y="789"/>
                  <a:pt x="1553" y="792"/>
                  <a:pt x="1549" y="792"/>
                </a:cubicBezTo>
                <a:cubicBezTo>
                  <a:pt x="1455" y="792"/>
                  <a:pt x="1455" y="792"/>
                  <a:pt x="1455" y="792"/>
                </a:cubicBezTo>
                <a:cubicBezTo>
                  <a:pt x="1443" y="792"/>
                  <a:pt x="1434" y="802"/>
                  <a:pt x="1434" y="814"/>
                </a:cubicBezTo>
                <a:cubicBezTo>
                  <a:pt x="1434" y="826"/>
                  <a:pt x="1443" y="835"/>
                  <a:pt x="1455" y="835"/>
                </a:cubicBezTo>
                <a:cubicBezTo>
                  <a:pt x="1623" y="835"/>
                  <a:pt x="1623" y="835"/>
                  <a:pt x="1623" y="835"/>
                </a:cubicBezTo>
                <a:cubicBezTo>
                  <a:pt x="1635" y="835"/>
                  <a:pt x="1645" y="826"/>
                  <a:pt x="1645" y="814"/>
                </a:cubicBezTo>
                <a:cubicBezTo>
                  <a:pt x="1645" y="802"/>
                  <a:pt x="1635" y="792"/>
                  <a:pt x="1623" y="792"/>
                </a:cubicBezTo>
                <a:cubicBezTo>
                  <a:pt x="1607" y="792"/>
                  <a:pt x="1607" y="792"/>
                  <a:pt x="1607" y="792"/>
                </a:cubicBezTo>
                <a:cubicBezTo>
                  <a:pt x="1603" y="792"/>
                  <a:pt x="1600" y="789"/>
                  <a:pt x="1600" y="785"/>
                </a:cubicBezTo>
                <a:cubicBezTo>
                  <a:pt x="1600" y="781"/>
                  <a:pt x="1603" y="778"/>
                  <a:pt x="1607" y="778"/>
                </a:cubicBezTo>
                <a:cubicBezTo>
                  <a:pt x="1683" y="778"/>
                  <a:pt x="1683" y="778"/>
                  <a:pt x="1683" y="778"/>
                </a:cubicBezTo>
                <a:cubicBezTo>
                  <a:pt x="1687" y="778"/>
                  <a:pt x="1690" y="781"/>
                  <a:pt x="1690" y="785"/>
                </a:cubicBezTo>
                <a:cubicBezTo>
                  <a:pt x="1690" y="789"/>
                  <a:pt x="1687" y="792"/>
                  <a:pt x="1683" y="792"/>
                </a:cubicBezTo>
                <a:cubicBezTo>
                  <a:pt x="1673" y="792"/>
                  <a:pt x="1673" y="792"/>
                  <a:pt x="1673" y="792"/>
                </a:cubicBezTo>
                <a:cubicBezTo>
                  <a:pt x="1662" y="792"/>
                  <a:pt x="1652" y="802"/>
                  <a:pt x="1652" y="814"/>
                </a:cubicBezTo>
                <a:cubicBezTo>
                  <a:pt x="1652" y="826"/>
                  <a:pt x="1662" y="835"/>
                  <a:pt x="1673" y="835"/>
                </a:cubicBezTo>
                <a:cubicBezTo>
                  <a:pt x="1681" y="835"/>
                  <a:pt x="1681" y="835"/>
                  <a:pt x="1681" y="835"/>
                </a:cubicBezTo>
                <a:cubicBezTo>
                  <a:pt x="1693" y="835"/>
                  <a:pt x="1703" y="845"/>
                  <a:pt x="1703" y="857"/>
                </a:cubicBezTo>
                <a:cubicBezTo>
                  <a:pt x="1703" y="869"/>
                  <a:pt x="1693" y="879"/>
                  <a:pt x="1681" y="879"/>
                </a:cubicBezTo>
                <a:cubicBezTo>
                  <a:pt x="1550" y="879"/>
                  <a:pt x="1550" y="879"/>
                  <a:pt x="1550" y="879"/>
                </a:cubicBezTo>
                <a:cubicBezTo>
                  <a:pt x="1538" y="879"/>
                  <a:pt x="1529" y="889"/>
                  <a:pt x="1529" y="901"/>
                </a:cubicBezTo>
                <a:cubicBezTo>
                  <a:pt x="1529" y="913"/>
                  <a:pt x="1538" y="922"/>
                  <a:pt x="1550" y="922"/>
                </a:cubicBezTo>
                <a:cubicBezTo>
                  <a:pt x="1697" y="922"/>
                  <a:pt x="1697" y="922"/>
                  <a:pt x="1697" y="922"/>
                </a:cubicBezTo>
                <a:cubicBezTo>
                  <a:pt x="1701" y="922"/>
                  <a:pt x="1704" y="925"/>
                  <a:pt x="1704" y="929"/>
                </a:cubicBezTo>
                <a:cubicBezTo>
                  <a:pt x="1704" y="934"/>
                  <a:pt x="1701" y="937"/>
                  <a:pt x="1697" y="937"/>
                </a:cubicBezTo>
                <a:cubicBezTo>
                  <a:pt x="1504" y="937"/>
                  <a:pt x="1504" y="937"/>
                  <a:pt x="1504" y="937"/>
                </a:cubicBezTo>
                <a:cubicBezTo>
                  <a:pt x="1492" y="937"/>
                  <a:pt x="1482" y="946"/>
                  <a:pt x="1482" y="958"/>
                </a:cubicBezTo>
                <a:cubicBezTo>
                  <a:pt x="1482" y="970"/>
                  <a:pt x="1492" y="980"/>
                  <a:pt x="1504" y="980"/>
                </a:cubicBezTo>
                <a:cubicBezTo>
                  <a:pt x="1712" y="980"/>
                  <a:pt x="1712" y="980"/>
                  <a:pt x="1712" y="980"/>
                </a:cubicBezTo>
                <a:cubicBezTo>
                  <a:pt x="1716" y="980"/>
                  <a:pt x="1719" y="983"/>
                  <a:pt x="1719" y="987"/>
                </a:cubicBezTo>
                <a:cubicBezTo>
                  <a:pt x="1719" y="991"/>
                  <a:pt x="1716" y="995"/>
                  <a:pt x="1712" y="995"/>
                </a:cubicBezTo>
                <a:cubicBezTo>
                  <a:pt x="1505" y="995"/>
                  <a:pt x="1505" y="995"/>
                  <a:pt x="1505" y="995"/>
                </a:cubicBezTo>
                <a:cubicBezTo>
                  <a:pt x="1494" y="995"/>
                  <a:pt x="1484" y="1004"/>
                  <a:pt x="1484" y="1016"/>
                </a:cubicBezTo>
                <a:cubicBezTo>
                  <a:pt x="1484" y="1028"/>
                  <a:pt x="1494" y="1038"/>
                  <a:pt x="1505" y="1038"/>
                </a:cubicBezTo>
                <a:cubicBezTo>
                  <a:pt x="1693" y="1038"/>
                  <a:pt x="1693" y="1038"/>
                  <a:pt x="1693" y="1038"/>
                </a:cubicBezTo>
                <a:cubicBezTo>
                  <a:pt x="1697" y="1038"/>
                  <a:pt x="1701" y="1041"/>
                  <a:pt x="1701" y="1045"/>
                </a:cubicBezTo>
                <a:cubicBezTo>
                  <a:pt x="1701" y="1049"/>
                  <a:pt x="1697" y="1052"/>
                  <a:pt x="1693" y="1052"/>
                </a:cubicBezTo>
                <a:cubicBezTo>
                  <a:pt x="1635" y="1052"/>
                  <a:pt x="1635" y="1052"/>
                  <a:pt x="1635" y="1052"/>
                </a:cubicBezTo>
                <a:cubicBezTo>
                  <a:pt x="1623" y="1052"/>
                  <a:pt x="1613" y="1062"/>
                  <a:pt x="1613" y="1074"/>
                </a:cubicBezTo>
                <a:cubicBezTo>
                  <a:pt x="1613" y="1086"/>
                  <a:pt x="1623" y="1096"/>
                  <a:pt x="1635" y="1096"/>
                </a:cubicBezTo>
                <a:cubicBezTo>
                  <a:pt x="1658" y="1096"/>
                  <a:pt x="1658" y="1096"/>
                  <a:pt x="1658" y="1096"/>
                </a:cubicBezTo>
                <a:cubicBezTo>
                  <a:pt x="1662" y="1096"/>
                  <a:pt x="1665" y="1099"/>
                  <a:pt x="1665" y="1103"/>
                </a:cubicBezTo>
                <a:cubicBezTo>
                  <a:pt x="1665" y="1107"/>
                  <a:pt x="1662" y="1110"/>
                  <a:pt x="1658" y="1110"/>
                </a:cubicBezTo>
                <a:cubicBezTo>
                  <a:pt x="1650" y="1110"/>
                  <a:pt x="1650" y="1110"/>
                  <a:pt x="1650" y="1110"/>
                </a:cubicBezTo>
                <a:cubicBezTo>
                  <a:pt x="1630" y="1110"/>
                  <a:pt x="1614" y="1126"/>
                  <a:pt x="1614" y="1146"/>
                </a:cubicBezTo>
                <a:cubicBezTo>
                  <a:pt x="1614" y="1166"/>
                  <a:pt x="1630" y="1182"/>
                  <a:pt x="1650" y="1182"/>
                </a:cubicBezTo>
                <a:cubicBezTo>
                  <a:pt x="1789" y="1182"/>
                  <a:pt x="1789" y="1182"/>
                  <a:pt x="1789" y="1182"/>
                </a:cubicBezTo>
                <a:cubicBezTo>
                  <a:pt x="1801" y="1182"/>
                  <a:pt x="1811" y="1173"/>
                  <a:pt x="1811" y="1161"/>
                </a:cubicBezTo>
                <a:cubicBezTo>
                  <a:pt x="1811" y="1149"/>
                  <a:pt x="1801" y="1139"/>
                  <a:pt x="1789" y="1139"/>
                </a:cubicBezTo>
                <a:cubicBezTo>
                  <a:pt x="1766" y="1139"/>
                  <a:pt x="1766" y="1139"/>
                  <a:pt x="1766" y="1139"/>
                </a:cubicBezTo>
                <a:cubicBezTo>
                  <a:pt x="1762" y="1139"/>
                  <a:pt x="1759" y="1136"/>
                  <a:pt x="1759" y="1132"/>
                </a:cubicBezTo>
                <a:cubicBezTo>
                  <a:pt x="1759" y="1128"/>
                  <a:pt x="1762" y="1125"/>
                  <a:pt x="1766" y="1125"/>
                </a:cubicBezTo>
                <a:cubicBezTo>
                  <a:pt x="1824" y="1125"/>
                  <a:pt x="1824" y="1125"/>
                  <a:pt x="1824" y="1125"/>
                </a:cubicBezTo>
                <a:cubicBezTo>
                  <a:pt x="1836" y="1125"/>
                  <a:pt x="1846" y="1115"/>
                  <a:pt x="1846" y="1103"/>
                </a:cubicBezTo>
                <a:cubicBezTo>
                  <a:pt x="1846" y="1091"/>
                  <a:pt x="1836" y="1081"/>
                  <a:pt x="1824" y="1081"/>
                </a:cubicBezTo>
                <a:cubicBezTo>
                  <a:pt x="1797" y="1081"/>
                  <a:pt x="1797" y="1081"/>
                  <a:pt x="1797" y="1081"/>
                </a:cubicBezTo>
                <a:cubicBezTo>
                  <a:pt x="1793" y="1081"/>
                  <a:pt x="1790" y="1078"/>
                  <a:pt x="1790" y="1074"/>
                </a:cubicBezTo>
                <a:cubicBezTo>
                  <a:pt x="1790" y="1070"/>
                  <a:pt x="1793" y="1067"/>
                  <a:pt x="1797" y="1067"/>
                </a:cubicBezTo>
                <a:cubicBezTo>
                  <a:pt x="1843" y="1067"/>
                  <a:pt x="1843" y="1067"/>
                  <a:pt x="1843" y="1067"/>
                </a:cubicBezTo>
                <a:cubicBezTo>
                  <a:pt x="1855" y="1067"/>
                  <a:pt x="1864" y="1057"/>
                  <a:pt x="1864" y="1045"/>
                </a:cubicBezTo>
                <a:cubicBezTo>
                  <a:pt x="1864" y="1033"/>
                  <a:pt x="1855" y="1024"/>
                  <a:pt x="1843" y="1024"/>
                </a:cubicBezTo>
                <a:cubicBezTo>
                  <a:pt x="1791" y="1023"/>
                  <a:pt x="1791" y="1023"/>
                  <a:pt x="1791" y="1023"/>
                </a:cubicBezTo>
                <a:cubicBezTo>
                  <a:pt x="1787" y="1023"/>
                  <a:pt x="1784" y="1020"/>
                  <a:pt x="1784" y="1016"/>
                </a:cubicBezTo>
                <a:cubicBezTo>
                  <a:pt x="1784" y="1012"/>
                  <a:pt x="1787" y="1009"/>
                  <a:pt x="1791" y="1009"/>
                </a:cubicBezTo>
                <a:cubicBezTo>
                  <a:pt x="1876" y="1009"/>
                  <a:pt x="1876" y="1009"/>
                  <a:pt x="1876" y="1009"/>
                </a:cubicBezTo>
                <a:cubicBezTo>
                  <a:pt x="1945" y="1009"/>
                  <a:pt x="2002" y="955"/>
                  <a:pt x="2008" y="887"/>
                </a:cubicBezTo>
                <a:cubicBezTo>
                  <a:pt x="2015" y="884"/>
                  <a:pt x="2020" y="878"/>
                  <a:pt x="2020" y="870"/>
                </a:cubicBezTo>
                <a:cubicBezTo>
                  <a:pt x="2020" y="860"/>
                  <a:pt x="2011" y="851"/>
                  <a:pt x="2001" y="851"/>
                </a:cubicBezTo>
                <a:close/>
                <a:moveTo>
                  <a:pt x="868" y="358"/>
                </a:moveTo>
                <a:cubicBezTo>
                  <a:pt x="766" y="358"/>
                  <a:pt x="766" y="358"/>
                  <a:pt x="766" y="358"/>
                </a:cubicBezTo>
                <a:cubicBezTo>
                  <a:pt x="754" y="358"/>
                  <a:pt x="744" y="368"/>
                  <a:pt x="744" y="380"/>
                </a:cubicBezTo>
                <a:cubicBezTo>
                  <a:pt x="744" y="392"/>
                  <a:pt x="754" y="402"/>
                  <a:pt x="766" y="402"/>
                </a:cubicBezTo>
                <a:cubicBezTo>
                  <a:pt x="804" y="402"/>
                  <a:pt x="804" y="402"/>
                  <a:pt x="804" y="402"/>
                </a:cubicBezTo>
                <a:cubicBezTo>
                  <a:pt x="809" y="402"/>
                  <a:pt x="812" y="405"/>
                  <a:pt x="812" y="409"/>
                </a:cubicBezTo>
                <a:cubicBezTo>
                  <a:pt x="812" y="413"/>
                  <a:pt x="809" y="416"/>
                  <a:pt x="804" y="416"/>
                </a:cubicBezTo>
                <a:cubicBezTo>
                  <a:pt x="768" y="416"/>
                  <a:pt x="768" y="416"/>
                  <a:pt x="768" y="416"/>
                </a:cubicBezTo>
                <a:cubicBezTo>
                  <a:pt x="756" y="416"/>
                  <a:pt x="747" y="426"/>
                  <a:pt x="747" y="438"/>
                </a:cubicBezTo>
                <a:cubicBezTo>
                  <a:pt x="747" y="450"/>
                  <a:pt x="756" y="459"/>
                  <a:pt x="768" y="459"/>
                </a:cubicBezTo>
                <a:cubicBezTo>
                  <a:pt x="969" y="459"/>
                  <a:pt x="969" y="459"/>
                  <a:pt x="969" y="459"/>
                </a:cubicBezTo>
                <a:cubicBezTo>
                  <a:pt x="973" y="459"/>
                  <a:pt x="977" y="463"/>
                  <a:pt x="977" y="467"/>
                </a:cubicBezTo>
                <a:cubicBezTo>
                  <a:pt x="977" y="471"/>
                  <a:pt x="973" y="474"/>
                  <a:pt x="969" y="474"/>
                </a:cubicBezTo>
                <a:cubicBezTo>
                  <a:pt x="846" y="474"/>
                  <a:pt x="846" y="474"/>
                  <a:pt x="846" y="474"/>
                </a:cubicBezTo>
                <a:cubicBezTo>
                  <a:pt x="834" y="474"/>
                  <a:pt x="824" y="484"/>
                  <a:pt x="824" y="496"/>
                </a:cubicBezTo>
                <a:cubicBezTo>
                  <a:pt x="824" y="507"/>
                  <a:pt x="834" y="517"/>
                  <a:pt x="846" y="517"/>
                </a:cubicBezTo>
                <a:cubicBezTo>
                  <a:pt x="972" y="517"/>
                  <a:pt x="972" y="517"/>
                  <a:pt x="972" y="517"/>
                </a:cubicBezTo>
                <a:cubicBezTo>
                  <a:pt x="976" y="517"/>
                  <a:pt x="979" y="520"/>
                  <a:pt x="979" y="524"/>
                </a:cubicBezTo>
                <a:cubicBezTo>
                  <a:pt x="979" y="529"/>
                  <a:pt x="976" y="532"/>
                  <a:pt x="972" y="532"/>
                </a:cubicBezTo>
                <a:cubicBezTo>
                  <a:pt x="805" y="532"/>
                  <a:pt x="805" y="532"/>
                  <a:pt x="805" y="532"/>
                </a:cubicBezTo>
                <a:cubicBezTo>
                  <a:pt x="793" y="532"/>
                  <a:pt x="783" y="541"/>
                  <a:pt x="783" y="553"/>
                </a:cubicBezTo>
                <a:cubicBezTo>
                  <a:pt x="783" y="565"/>
                  <a:pt x="793" y="575"/>
                  <a:pt x="805" y="575"/>
                </a:cubicBezTo>
                <a:cubicBezTo>
                  <a:pt x="860" y="575"/>
                  <a:pt x="860" y="575"/>
                  <a:pt x="860" y="575"/>
                </a:cubicBezTo>
                <a:cubicBezTo>
                  <a:pt x="864" y="575"/>
                  <a:pt x="867" y="578"/>
                  <a:pt x="867" y="582"/>
                </a:cubicBezTo>
                <a:cubicBezTo>
                  <a:pt x="867" y="586"/>
                  <a:pt x="864" y="590"/>
                  <a:pt x="860" y="590"/>
                </a:cubicBezTo>
                <a:cubicBezTo>
                  <a:pt x="805" y="590"/>
                  <a:pt x="805" y="590"/>
                  <a:pt x="805" y="590"/>
                </a:cubicBezTo>
                <a:cubicBezTo>
                  <a:pt x="793" y="590"/>
                  <a:pt x="783" y="599"/>
                  <a:pt x="783" y="611"/>
                </a:cubicBezTo>
                <a:cubicBezTo>
                  <a:pt x="783" y="623"/>
                  <a:pt x="793" y="633"/>
                  <a:pt x="805" y="633"/>
                </a:cubicBezTo>
                <a:cubicBezTo>
                  <a:pt x="1011" y="633"/>
                  <a:pt x="1011" y="633"/>
                  <a:pt x="1011" y="633"/>
                </a:cubicBezTo>
                <a:cubicBezTo>
                  <a:pt x="1015" y="633"/>
                  <a:pt x="1018" y="636"/>
                  <a:pt x="1018" y="640"/>
                </a:cubicBezTo>
                <a:cubicBezTo>
                  <a:pt x="1018" y="644"/>
                  <a:pt x="1015" y="647"/>
                  <a:pt x="1011" y="647"/>
                </a:cubicBezTo>
                <a:cubicBezTo>
                  <a:pt x="763" y="647"/>
                  <a:pt x="763" y="647"/>
                  <a:pt x="763" y="647"/>
                </a:cubicBezTo>
                <a:cubicBezTo>
                  <a:pt x="751" y="647"/>
                  <a:pt x="741" y="657"/>
                  <a:pt x="741" y="669"/>
                </a:cubicBezTo>
                <a:cubicBezTo>
                  <a:pt x="741" y="681"/>
                  <a:pt x="751" y="691"/>
                  <a:pt x="763" y="691"/>
                </a:cubicBezTo>
                <a:cubicBezTo>
                  <a:pt x="1046" y="691"/>
                  <a:pt x="1046" y="691"/>
                  <a:pt x="1046" y="691"/>
                </a:cubicBezTo>
                <a:cubicBezTo>
                  <a:pt x="1050" y="691"/>
                  <a:pt x="1054" y="694"/>
                  <a:pt x="1054" y="698"/>
                </a:cubicBezTo>
                <a:cubicBezTo>
                  <a:pt x="1054" y="702"/>
                  <a:pt x="1050" y="705"/>
                  <a:pt x="1046" y="705"/>
                </a:cubicBezTo>
                <a:cubicBezTo>
                  <a:pt x="791" y="705"/>
                  <a:pt x="791" y="705"/>
                  <a:pt x="791" y="705"/>
                </a:cubicBezTo>
                <a:cubicBezTo>
                  <a:pt x="779" y="705"/>
                  <a:pt x="770" y="715"/>
                  <a:pt x="770" y="727"/>
                </a:cubicBezTo>
                <a:cubicBezTo>
                  <a:pt x="770" y="739"/>
                  <a:pt x="779" y="748"/>
                  <a:pt x="791" y="748"/>
                </a:cubicBezTo>
                <a:cubicBezTo>
                  <a:pt x="1104" y="748"/>
                  <a:pt x="1104" y="748"/>
                  <a:pt x="1104" y="748"/>
                </a:cubicBezTo>
                <a:cubicBezTo>
                  <a:pt x="1108" y="748"/>
                  <a:pt x="1111" y="752"/>
                  <a:pt x="1111" y="756"/>
                </a:cubicBezTo>
                <a:cubicBezTo>
                  <a:pt x="1111" y="760"/>
                  <a:pt x="1108" y="763"/>
                  <a:pt x="1104" y="763"/>
                </a:cubicBezTo>
                <a:cubicBezTo>
                  <a:pt x="905" y="763"/>
                  <a:pt x="905" y="763"/>
                  <a:pt x="905" y="763"/>
                </a:cubicBezTo>
                <a:cubicBezTo>
                  <a:pt x="893" y="763"/>
                  <a:pt x="883" y="773"/>
                  <a:pt x="883" y="785"/>
                </a:cubicBezTo>
                <a:cubicBezTo>
                  <a:pt x="883" y="797"/>
                  <a:pt x="893" y="806"/>
                  <a:pt x="905" y="806"/>
                </a:cubicBezTo>
                <a:cubicBezTo>
                  <a:pt x="1049" y="806"/>
                  <a:pt x="1049" y="806"/>
                  <a:pt x="1049" y="806"/>
                </a:cubicBezTo>
                <a:cubicBezTo>
                  <a:pt x="1053" y="806"/>
                  <a:pt x="1057" y="810"/>
                  <a:pt x="1057" y="814"/>
                </a:cubicBezTo>
                <a:cubicBezTo>
                  <a:pt x="1057" y="818"/>
                  <a:pt x="1053" y="821"/>
                  <a:pt x="1049" y="821"/>
                </a:cubicBezTo>
                <a:cubicBezTo>
                  <a:pt x="914" y="821"/>
                  <a:pt x="914" y="821"/>
                  <a:pt x="914" y="821"/>
                </a:cubicBezTo>
                <a:cubicBezTo>
                  <a:pt x="902" y="821"/>
                  <a:pt x="892" y="831"/>
                  <a:pt x="892" y="842"/>
                </a:cubicBezTo>
                <a:cubicBezTo>
                  <a:pt x="892" y="854"/>
                  <a:pt x="902" y="864"/>
                  <a:pt x="914" y="864"/>
                </a:cubicBezTo>
                <a:cubicBezTo>
                  <a:pt x="1053" y="864"/>
                  <a:pt x="1053" y="864"/>
                  <a:pt x="1053" y="864"/>
                </a:cubicBezTo>
                <a:cubicBezTo>
                  <a:pt x="1057" y="864"/>
                  <a:pt x="1061" y="867"/>
                  <a:pt x="1061" y="871"/>
                </a:cubicBezTo>
                <a:cubicBezTo>
                  <a:pt x="1061" y="875"/>
                  <a:pt x="1057" y="879"/>
                  <a:pt x="1053" y="879"/>
                </a:cubicBezTo>
                <a:cubicBezTo>
                  <a:pt x="919" y="879"/>
                  <a:pt x="919" y="879"/>
                  <a:pt x="919" y="879"/>
                </a:cubicBezTo>
                <a:cubicBezTo>
                  <a:pt x="907" y="879"/>
                  <a:pt x="898" y="888"/>
                  <a:pt x="898" y="900"/>
                </a:cubicBezTo>
                <a:cubicBezTo>
                  <a:pt x="898" y="912"/>
                  <a:pt x="907" y="922"/>
                  <a:pt x="919" y="922"/>
                </a:cubicBezTo>
                <a:cubicBezTo>
                  <a:pt x="1017" y="922"/>
                  <a:pt x="1017" y="922"/>
                  <a:pt x="1017" y="922"/>
                </a:cubicBezTo>
                <a:cubicBezTo>
                  <a:pt x="1021" y="922"/>
                  <a:pt x="1024" y="925"/>
                  <a:pt x="1024" y="929"/>
                </a:cubicBezTo>
                <a:cubicBezTo>
                  <a:pt x="1024" y="933"/>
                  <a:pt x="1021" y="936"/>
                  <a:pt x="1017" y="936"/>
                </a:cubicBezTo>
                <a:cubicBezTo>
                  <a:pt x="941" y="936"/>
                  <a:pt x="941" y="936"/>
                  <a:pt x="941" y="936"/>
                </a:cubicBezTo>
                <a:cubicBezTo>
                  <a:pt x="929" y="936"/>
                  <a:pt x="919" y="946"/>
                  <a:pt x="919" y="958"/>
                </a:cubicBezTo>
                <a:cubicBezTo>
                  <a:pt x="919" y="970"/>
                  <a:pt x="929" y="980"/>
                  <a:pt x="941" y="980"/>
                </a:cubicBezTo>
                <a:cubicBezTo>
                  <a:pt x="979" y="980"/>
                  <a:pt x="979" y="980"/>
                  <a:pt x="979" y="980"/>
                </a:cubicBezTo>
                <a:cubicBezTo>
                  <a:pt x="983" y="980"/>
                  <a:pt x="986" y="983"/>
                  <a:pt x="986" y="987"/>
                </a:cubicBezTo>
                <a:cubicBezTo>
                  <a:pt x="986" y="991"/>
                  <a:pt x="983" y="994"/>
                  <a:pt x="979" y="994"/>
                </a:cubicBezTo>
                <a:cubicBezTo>
                  <a:pt x="976" y="994"/>
                  <a:pt x="976" y="994"/>
                  <a:pt x="976" y="994"/>
                </a:cubicBezTo>
                <a:cubicBezTo>
                  <a:pt x="956" y="994"/>
                  <a:pt x="940" y="1010"/>
                  <a:pt x="940" y="1030"/>
                </a:cubicBezTo>
                <a:cubicBezTo>
                  <a:pt x="940" y="1050"/>
                  <a:pt x="956" y="1066"/>
                  <a:pt x="976" y="1066"/>
                </a:cubicBezTo>
                <a:cubicBezTo>
                  <a:pt x="1017" y="1066"/>
                  <a:pt x="1017" y="1066"/>
                  <a:pt x="1017" y="1066"/>
                </a:cubicBezTo>
                <a:cubicBezTo>
                  <a:pt x="1029" y="1066"/>
                  <a:pt x="1039" y="1076"/>
                  <a:pt x="1039" y="1088"/>
                </a:cubicBezTo>
                <a:cubicBezTo>
                  <a:pt x="1039" y="1100"/>
                  <a:pt x="1029" y="1110"/>
                  <a:pt x="1017" y="1110"/>
                </a:cubicBezTo>
                <a:cubicBezTo>
                  <a:pt x="443" y="1110"/>
                  <a:pt x="443" y="1110"/>
                  <a:pt x="443" y="1110"/>
                </a:cubicBezTo>
                <a:cubicBezTo>
                  <a:pt x="439" y="1110"/>
                  <a:pt x="436" y="1107"/>
                  <a:pt x="436" y="1103"/>
                </a:cubicBezTo>
                <a:cubicBezTo>
                  <a:pt x="436" y="1099"/>
                  <a:pt x="439" y="1095"/>
                  <a:pt x="443" y="1095"/>
                </a:cubicBezTo>
                <a:cubicBezTo>
                  <a:pt x="472" y="1095"/>
                  <a:pt x="472" y="1095"/>
                  <a:pt x="472" y="1095"/>
                </a:cubicBezTo>
                <a:cubicBezTo>
                  <a:pt x="484" y="1095"/>
                  <a:pt x="493" y="1086"/>
                  <a:pt x="493" y="1074"/>
                </a:cubicBezTo>
                <a:cubicBezTo>
                  <a:pt x="493" y="1062"/>
                  <a:pt x="484" y="1052"/>
                  <a:pt x="472" y="1052"/>
                </a:cubicBezTo>
                <a:cubicBezTo>
                  <a:pt x="443" y="1052"/>
                  <a:pt x="443" y="1052"/>
                  <a:pt x="443" y="1052"/>
                </a:cubicBezTo>
                <a:cubicBezTo>
                  <a:pt x="439" y="1052"/>
                  <a:pt x="436" y="1049"/>
                  <a:pt x="436" y="1045"/>
                </a:cubicBezTo>
                <a:cubicBezTo>
                  <a:pt x="436" y="1041"/>
                  <a:pt x="439" y="1037"/>
                  <a:pt x="443" y="1037"/>
                </a:cubicBezTo>
                <a:cubicBezTo>
                  <a:pt x="495" y="1037"/>
                  <a:pt x="495" y="1037"/>
                  <a:pt x="495" y="1037"/>
                </a:cubicBezTo>
                <a:cubicBezTo>
                  <a:pt x="507" y="1037"/>
                  <a:pt x="517" y="1028"/>
                  <a:pt x="517" y="1016"/>
                </a:cubicBezTo>
                <a:cubicBezTo>
                  <a:pt x="517" y="1004"/>
                  <a:pt x="507" y="994"/>
                  <a:pt x="495" y="994"/>
                </a:cubicBezTo>
                <a:cubicBezTo>
                  <a:pt x="438" y="994"/>
                  <a:pt x="438" y="994"/>
                  <a:pt x="438" y="994"/>
                </a:cubicBezTo>
                <a:cubicBezTo>
                  <a:pt x="434" y="994"/>
                  <a:pt x="431" y="991"/>
                  <a:pt x="431" y="987"/>
                </a:cubicBezTo>
                <a:cubicBezTo>
                  <a:pt x="431" y="983"/>
                  <a:pt x="434" y="980"/>
                  <a:pt x="438" y="980"/>
                </a:cubicBezTo>
                <a:cubicBezTo>
                  <a:pt x="551" y="980"/>
                  <a:pt x="551" y="980"/>
                  <a:pt x="551" y="980"/>
                </a:cubicBezTo>
                <a:cubicBezTo>
                  <a:pt x="563" y="980"/>
                  <a:pt x="572" y="970"/>
                  <a:pt x="572" y="958"/>
                </a:cubicBezTo>
                <a:cubicBezTo>
                  <a:pt x="572" y="946"/>
                  <a:pt x="563" y="936"/>
                  <a:pt x="551" y="936"/>
                </a:cubicBezTo>
                <a:cubicBezTo>
                  <a:pt x="446" y="936"/>
                  <a:pt x="446" y="936"/>
                  <a:pt x="446" y="936"/>
                </a:cubicBezTo>
                <a:cubicBezTo>
                  <a:pt x="442" y="936"/>
                  <a:pt x="439" y="933"/>
                  <a:pt x="439" y="929"/>
                </a:cubicBezTo>
                <a:cubicBezTo>
                  <a:pt x="439" y="925"/>
                  <a:pt x="442" y="922"/>
                  <a:pt x="446" y="922"/>
                </a:cubicBezTo>
                <a:cubicBezTo>
                  <a:pt x="593" y="922"/>
                  <a:pt x="593" y="922"/>
                  <a:pt x="593" y="922"/>
                </a:cubicBezTo>
                <a:cubicBezTo>
                  <a:pt x="605" y="922"/>
                  <a:pt x="614" y="912"/>
                  <a:pt x="614" y="900"/>
                </a:cubicBezTo>
                <a:cubicBezTo>
                  <a:pt x="614" y="888"/>
                  <a:pt x="605" y="879"/>
                  <a:pt x="593" y="879"/>
                </a:cubicBezTo>
                <a:cubicBezTo>
                  <a:pt x="417" y="879"/>
                  <a:pt x="417" y="879"/>
                  <a:pt x="417" y="879"/>
                </a:cubicBezTo>
                <a:cubicBezTo>
                  <a:pt x="413" y="879"/>
                  <a:pt x="410" y="875"/>
                  <a:pt x="410" y="871"/>
                </a:cubicBezTo>
                <a:cubicBezTo>
                  <a:pt x="410" y="867"/>
                  <a:pt x="413" y="864"/>
                  <a:pt x="417" y="864"/>
                </a:cubicBezTo>
                <a:cubicBezTo>
                  <a:pt x="607" y="864"/>
                  <a:pt x="607" y="864"/>
                  <a:pt x="607" y="864"/>
                </a:cubicBezTo>
                <a:cubicBezTo>
                  <a:pt x="619" y="864"/>
                  <a:pt x="629" y="854"/>
                  <a:pt x="629" y="842"/>
                </a:cubicBezTo>
                <a:cubicBezTo>
                  <a:pt x="629" y="831"/>
                  <a:pt x="619" y="821"/>
                  <a:pt x="607" y="821"/>
                </a:cubicBezTo>
                <a:cubicBezTo>
                  <a:pt x="377" y="821"/>
                  <a:pt x="377" y="821"/>
                  <a:pt x="377" y="821"/>
                </a:cubicBezTo>
                <a:cubicBezTo>
                  <a:pt x="373" y="821"/>
                  <a:pt x="370" y="818"/>
                  <a:pt x="370" y="814"/>
                </a:cubicBezTo>
                <a:cubicBezTo>
                  <a:pt x="370" y="810"/>
                  <a:pt x="373" y="806"/>
                  <a:pt x="377" y="806"/>
                </a:cubicBezTo>
                <a:cubicBezTo>
                  <a:pt x="529" y="806"/>
                  <a:pt x="529" y="806"/>
                  <a:pt x="529" y="806"/>
                </a:cubicBezTo>
                <a:cubicBezTo>
                  <a:pt x="541" y="806"/>
                  <a:pt x="551" y="797"/>
                  <a:pt x="551" y="785"/>
                </a:cubicBezTo>
                <a:cubicBezTo>
                  <a:pt x="551" y="773"/>
                  <a:pt x="541" y="763"/>
                  <a:pt x="529" y="763"/>
                </a:cubicBezTo>
                <a:cubicBezTo>
                  <a:pt x="337" y="763"/>
                  <a:pt x="337" y="763"/>
                  <a:pt x="337" y="763"/>
                </a:cubicBezTo>
                <a:cubicBezTo>
                  <a:pt x="333" y="763"/>
                  <a:pt x="330" y="760"/>
                  <a:pt x="330" y="756"/>
                </a:cubicBezTo>
                <a:cubicBezTo>
                  <a:pt x="330" y="752"/>
                  <a:pt x="333" y="748"/>
                  <a:pt x="337" y="748"/>
                </a:cubicBezTo>
                <a:cubicBezTo>
                  <a:pt x="353" y="748"/>
                  <a:pt x="353" y="748"/>
                  <a:pt x="353" y="748"/>
                </a:cubicBezTo>
                <a:cubicBezTo>
                  <a:pt x="365" y="748"/>
                  <a:pt x="375" y="739"/>
                  <a:pt x="375" y="727"/>
                </a:cubicBezTo>
                <a:cubicBezTo>
                  <a:pt x="375" y="715"/>
                  <a:pt x="365" y="705"/>
                  <a:pt x="353" y="705"/>
                </a:cubicBezTo>
                <a:cubicBezTo>
                  <a:pt x="273" y="705"/>
                  <a:pt x="273" y="705"/>
                  <a:pt x="273" y="705"/>
                </a:cubicBezTo>
                <a:cubicBezTo>
                  <a:pt x="269" y="705"/>
                  <a:pt x="266" y="702"/>
                  <a:pt x="266" y="698"/>
                </a:cubicBezTo>
                <a:cubicBezTo>
                  <a:pt x="266" y="694"/>
                  <a:pt x="269" y="691"/>
                  <a:pt x="273" y="691"/>
                </a:cubicBezTo>
                <a:cubicBezTo>
                  <a:pt x="276" y="691"/>
                  <a:pt x="276" y="691"/>
                  <a:pt x="276" y="691"/>
                </a:cubicBezTo>
                <a:cubicBezTo>
                  <a:pt x="288" y="691"/>
                  <a:pt x="297" y="681"/>
                  <a:pt x="297" y="669"/>
                </a:cubicBezTo>
                <a:cubicBezTo>
                  <a:pt x="297" y="657"/>
                  <a:pt x="288" y="647"/>
                  <a:pt x="276" y="647"/>
                </a:cubicBezTo>
                <a:cubicBezTo>
                  <a:pt x="236" y="647"/>
                  <a:pt x="236" y="647"/>
                  <a:pt x="236" y="647"/>
                </a:cubicBezTo>
                <a:cubicBezTo>
                  <a:pt x="232" y="647"/>
                  <a:pt x="229" y="644"/>
                  <a:pt x="229" y="640"/>
                </a:cubicBezTo>
                <a:cubicBezTo>
                  <a:pt x="229" y="636"/>
                  <a:pt x="232" y="633"/>
                  <a:pt x="236" y="633"/>
                </a:cubicBezTo>
                <a:cubicBezTo>
                  <a:pt x="266" y="633"/>
                  <a:pt x="266" y="633"/>
                  <a:pt x="266" y="633"/>
                </a:cubicBezTo>
                <a:cubicBezTo>
                  <a:pt x="278" y="633"/>
                  <a:pt x="288" y="623"/>
                  <a:pt x="288" y="611"/>
                </a:cubicBezTo>
                <a:cubicBezTo>
                  <a:pt x="288" y="599"/>
                  <a:pt x="278" y="590"/>
                  <a:pt x="266" y="590"/>
                </a:cubicBezTo>
                <a:cubicBezTo>
                  <a:pt x="190" y="590"/>
                  <a:pt x="190" y="590"/>
                  <a:pt x="190" y="590"/>
                </a:cubicBezTo>
                <a:cubicBezTo>
                  <a:pt x="186" y="590"/>
                  <a:pt x="182" y="586"/>
                  <a:pt x="182" y="582"/>
                </a:cubicBezTo>
                <a:cubicBezTo>
                  <a:pt x="182" y="578"/>
                  <a:pt x="186" y="575"/>
                  <a:pt x="190" y="575"/>
                </a:cubicBezTo>
                <a:cubicBezTo>
                  <a:pt x="381" y="575"/>
                  <a:pt x="381" y="575"/>
                  <a:pt x="381" y="575"/>
                </a:cubicBezTo>
                <a:cubicBezTo>
                  <a:pt x="393" y="575"/>
                  <a:pt x="402" y="565"/>
                  <a:pt x="402" y="553"/>
                </a:cubicBezTo>
                <a:cubicBezTo>
                  <a:pt x="402" y="541"/>
                  <a:pt x="393" y="532"/>
                  <a:pt x="381" y="532"/>
                </a:cubicBezTo>
                <a:cubicBezTo>
                  <a:pt x="162" y="532"/>
                  <a:pt x="162" y="532"/>
                  <a:pt x="162" y="532"/>
                </a:cubicBezTo>
                <a:cubicBezTo>
                  <a:pt x="158" y="532"/>
                  <a:pt x="154" y="529"/>
                  <a:pt x="154" y="524"/>
                </a:cubicBezTo>
                <a:cubicBezTo>
                  <a:pt x="154" y="520"/>
                  <a:pt x="158" y="517"/>
                  <a:pt x="162" y="517"/>
                </a:cubicBezTo>
                <a:cubicBezTo>
                  <a:pt x="433" y="517"/>
                  <a:pt x="433" y="517"/>
                  <a:pt x="433" y="517"/>
                </a:cubicBezTo>
                <a:cubicBezTo>
                  <a:pt x="445" y="517"/>
                  <a:pt x="454" y="507"/>
                  <a:pt x="454" y="496"/>
                </a:cubicBezTo>
                <a:cubicBezTo>
                  <a:pt x="454" y="484"/>
                  <a:pt x="445" y="474"/>
                  <a:pt x="433" y="474"/>
                </a:cubicBezTo>
                <a:cubicBezTo>
                  <a:pt x="180" y="474"/>
                  <a:pt x="180" y="474"/>
                  <a:pt x="180" y="474"/>
                </a:cubicBezTo>
                <a:cubicBezTo>
                  <a:pt x="176" y="474"/>
                  <a:pt x="173" y="471"/>
                  <a:pt x="173" y="467"/>
                </a:cubicBezTo>
                <a:cubicBezTo>
                  <a:pt x="173" y="463"/>
                  <a:pt x="176" y="459"/>
                  <a:pt x="180" y="459"/>
                </a:cubicBezTo>
                <a:cubicBezTo>
                  <a:pt x="518" y="459"/>
                  <a:pt x="518" y="459"/>
                  <a:pt x="518" y="459"/>
                </a:cubicBezTo>
                <a:cubicBezTo>
                  <a:pt x="530" y="459"/>
                  <a:pt x="540" y="450"/>
                  <a:pt x="540" y="438"/>
                </a:cubicBezTo>
                <a:cubicBezTo>
                  <a:pt x="540" y="426"/>
                  <a:pt x="530" y="416"/>
                  <a:pt x="518" y="416"/>
                </a:cubicBezTo>
                <a:cubicBezTo>
                  <a:pt x="164" y="416"/>
                  <a:pt x="164" y="416"/>
                  <a:pt x="164" y="416"/>
                </a:cubicBezTo>
                <a:cubicBezTo>
                  <a:pt x="160" y="416"/>
                  <a:pt x="156" y="413"/>
                  <a:pt x="156" y="409"/>
                </a:cubicBezTo>
                <a:cubicBezTo>
                  <a:pt x="156" y="405"/>
                  <a:pt x="160" y="402"/>
                  <a:pt x="164" y="402"/>
                </a:cubicBezTo>
                <a:cubicBezTo>
                  <a:pt x="522" y="402"/>
                  <a:pt x="522" y="402"/>
                  <a:pt x="522" y="402"/>
                </a:cubicBezTo>
                <a:cubicBezTo>
                  <a:pt x="534" y="402"/>
                  <a:pt x="544" y="392"/>
                  <a:pt x="544" y="380"/>
                </a:cubicBezTo>
                <a:cubicBezTo>
                  <a:pt x="544" y="378"/>
                  <a:pt x="543" y="375"/>
                  <a:pt x="543" y="373"/>
                </a:cubicBezTo>
                <a:cubicBezTo>
                  <a:pt x="625" y="373"/>
                  <a:pt x="625" y="373"/>
                  <a:pt x="625" y="373"/>
                </a:cubicBezTo>
                <a:cubicBezTo>
                  <a:pt x="636" y="373"/>
                  <a:pt x="646" y="363"/>
                  <a:pt x="646" y="351"/>
                </a:cubicBezTo>
                <a:cubicBezTo>
                  <a:pt x="646" y="339"/>
                  <a:pt x="636" y="330"/>
                  <a:pt x="625" y="330"/>
                </a:cubicBezTo>
                <a:cubicBezTo>
                  <a:pt x="601" y="330"/>
                  <a:pt x="601" y="330"/>
                  <a:pt x="601" y="330"/>
                </a:cubicBezTo>
                <a:cubicBezTo>
                  <a:pt x="597" y="330"/>
                  <a:pt x="594" y="326"/>
                  <a:pt x="594" y="322"/>
                </a:cubicBezTo>
                <a:cubicBezTo>
                  <a:pt x="594" y="318"/>
                  <a:pt x="597" y="315"/>
                  <a:pt x="601" y="315"/>
                </a:cubicBezTo>
                <a:cubicBezTo>
                  <a:pt x="721" y="315"/>
                  <a:pt x="721" y="315"/>
                  <a:pt x="721" y="315"/>
                </a:cubicBezTo>
                <a:cubicBezTo>
                  <a:pt x="733" y="315"/>
                  <a:pt x="743" y="305"/>
                  <a:pt x="743" y="294"/>
                </a:cubicBezTo>
                <a:cubicBezTo>
                  <a:pt x="743" y="282"/>
                  <a:pt x="733" y="272"/>
                  <a:pt x="721" y="272"/>
                </a:cubicBezTo>
                <a:cubicBezTo>
                  <a:pt x="600" y="272"/>
                  <a:pt x="600" y="272"/>
                  <a:pt x="600" y="272"/>
                </a:cubicBezTo>
                <a:cubicBezTo>
                  <a:pt x="596" y="272"/>
                  <a:pt x="593" y="269"/>
                  <a:pt x="593" y="265"/>
                </a:cubicBezTo>
                <a:cubicBezTo>
                  <a:pt x="593" y="261"/>
                  <a:pt x="596" y="257"/>
                  <a:pt x="600" y="257"/>
                </a:cubicBezTo>
                <a:cubicBezTo>
                  <a:pt x="734" y="257"/>
                  <a:pt x="734" y="257"/>
                  <a:pt x="734" y="257"/>
                </a:cubicBezTo>
                <a:cubicBezTo>
                  <a:pt x="746" y="257"/>
                  <a:pt x="756" y="248"/>
                  <a:pt x="756" y="236"/>
                </a:cubicBezTo>
                <a:cubicBezTo>
                  <a:pt x="756" y="224"/>
                  <a:pt x="746" y="214"/>
                  <a:pt x="734" y="214"/>
                </a:cubicBezTo>
                <a:cubicBezTo>
                  <a:pt x="581" y="214"/>
                  <a:pt x="581" y="214"/>
                  <a:pt x="581" y="214"/>
                </a:cubicBezTo>
                <a:cubicBezTo>
                  <a:pt x="577" y="214"/>
                  <a:pt x="573" y="211"/>
                  <a:pt x="573" y="207"/>
                </a:cubicBezTo>
                <a:cubicBezTo>
                  <a:pt x="573" y="203"/>
                  <a:pt x="577" y="200"/>
                  <a:pt x="581" y="200"/>
                </a:cubicBezTo>
                <a:cubicBezTo>
                  <a:pt x="749" y="200"/>
                  <a:pt x="749" y="200"/>
                  <a:pt x="749" y="200"/>
                </a:cubicBezTo>
                <a:cubicBezTo>
                  <a:pt x="760" y="200"/>
                  <a:pt x="770" y="190"/>
                  <a:pt x="770" y="178"/>
                </a:cubicBezTo>
                <a:cubicBezTo>
                  <a:pt x="770" y="166"/>
                  <a:pt x="760" y="156"/>
                  <a:pt x="749" y="156"/>
                </a:cubicBezTo>
                <a:cubicBezTo>
                  <a:pt x="561" y="156"/>
                  <a:pt x="561" y="156"/>
                  <a:pt x="561" y="156"/>
                </a:cubicBezTo>
                <a:cubicBezTo>
                  <a:pt x="557" y="156"/>
                  <a:pt x="554" y="153"/>
                  <a:pt x="554" y="149"/>
                </a:cubicBezTo>
                <a:cubicBezTo>
                  <a:pt x="554" y="145"/>
                  <a:pt x="557" y="142"/>
                  <a:pt x="561" y="142"/>
                </a:cubicBezTo>
                <a:cubicBezTo>
                  <a:pt x="754" y="142"/>
                  <a:pt x="754" y="142"/>
                  <a:pt x="754" y="142"/>
                </a:cubicBezTo>
                <a:cubicBezTo>
                  <a:pt x="766" y="142"/>
                  <a:pt x="776" y="132"/>
                  <a:pt x="776" y="120"/>
                </a:cubicBezTo>
                <a:cubicBezTo>
                  <a:pt x="776" y="108"/>
                  <a:pt x="766" y="99"/>
                  <a:pt x="754" y="99"/>
                </a:cubicBezTo>
                <a:cubicBezTo>
                  <a:pt x="622" y="99"/>
                  <a:pt x="622" y="99"/>
                  <a:pt x="622" y="99"/>
                </a:cubicBezTo>
                <a:cubicBezTo>
                  <a:pt x="618" y="99"/>
                  <a:pt x="614" y="95"/>
                  <a:pt x="614" y="91"/>
                </a:cubicBezTo>
                <a:cubicBezTo>
                  <a:pt x="614" y="87"/>
                  <a:pt x="618" y="84"/>
                  <a:pt x="622" y="84"/>
                </a:cubicBezTo>
                <a:cubicBezTo>
                  <a:pt x="1237" y="84"/>
                  <a:pt x="1237" y="84"/>
                  <a:pt x="1237" y="84"/>
                </a:cubicBezTo>
                <a:cubicBezTo>
                  <a:pt x="1241" y="84"/>
                  <a:pt x="1244" y="87"/>
                  <a:pt x="1244" y="91"/>
                </a:cubicBezTo>
                <a:cubicBezTo>
                  <a:pt x="1244" y="95"/>
                  <a:pt x="1241" y="99"/>
                  <a:pt x="1237" y="99"/>
                </a:cubicBezTo>
                <a:cubicBezTo>
                  <a:pt x="1225" y="99"/>
                  <a:pt x="1225" y="99"/>
                  <a:pt x="1225" y="99"/>
                </a:cubicBezTo>
                <a:cubicBezTo>
                  <a:pt x="1213" y="99"/>
                  <a:pt x="1203" y="108"/>
                  <a:pt x="1203" y="120"/>
                </a:cubicBezTo>
                <a:cubicBezTo>
                  <a:pt x="1203" y="132"/>
                  <a:pt x="1213" y="142"/>
                  <a:pt x="1225" y="142"/>
                </a:cubicBezTo>
                <a:cubicBezTo>
                  <a:pt x="1693" y="142"/>
                  <a:pt x="1693" y="142"/>
                  <a:pt x="1693" y="142"/>
                </a:cubicBezTo>
                <a:cubicBezTo>
                  <a:pt x="1697" y="142"/>
                  <a:pt x="1701" y="145"/>
                  <a:pt x="1701" y="149"/>
                </a:cubicBezTo>
                <a:cubicBezTo>
                  <a:pt x="1701" y="153"/>
                  <a:pt x="1697" y="156"/>
                  <a:pt x="1693" y="156"/>
                </a:cubicBezTo>
                <a:cubicBezTo>
                  <a:pt x="1075" y="156"/>
                  <a:pt x="1075" y="156"/>
                  <a:pt x="1075" y="156"/>
                </a:cubicBezTo>
                <a:cubicBezTo>
                  <a:pt x="1063" y="156"/>
                  <a:pt x="1054" y="166"/>
                  <a:pt x="1054" y="178"/>
                </a:cubicBezTo>
                <a:cubicBezTo>
                  <a:pt x="1054" y="190"/>
                  <a:pt x="1063" y="200"/>
                  <a:pt x="1075" y="200"/>
                </a:cubicBezTo>
                <a:cubicBezTo>
                  <a:pt x="1686" y="200"/>
                  <a:pt x="1686" y="200"/>
                  <a:pt x="1686" y="200"/>
                </a:cubicBezTo>
                <a:cubicBezTo>
                  <a:pt x="1690" y="200"/>
                  <a:pt x="1693" y="203"/>
                  <a:pt x="1693" y="207"/>
                </a:cubicBezTo>
                <a:cubicBezTo>
                  <a:pt x="1693" y="211"/>
                  <a:pt x="1690" y="214"/>
                  <a:pt x="1686" y="214"/>
                </a:cubicBezTo>
                <a:cubicBezTo>
                  <a:pt x="1145" y="214"/>
                  <a:pt x="1145" y="214"/>
                  <a:pt x="1145" y="214"/>
                </a:cubicBezTo>
                <a:cubicBezTo>
                  <a:pt x="1133" y="214"/>
                  <a:pt x="1123" y="224"/>
                  <a:pt x="1123" y="236"/>
                </a:cubicBezTo>
                <a:cubicBezTo>
                  <a:pt x="1123" y="248"/>
                  <a:pt x="1133" y="257"/>
                  <a:pt x="1145" y="257"/>
                </a:cubicBezTo>
                <a:cubicBezTo>
                  <a:pt x="1683" y="257"/>
                  <a:pt x="1683" y="257"/>
                  <a:pt x="1683" y="257"/>
                </a:cubicBezTo>
                <a:cubicBezTo>
                  <a:pt x="1687" y="257"/>
                  <a:pt x="1691" y="261"/>
                  <a:pt x="1691" y="265"/>
                </a:cubicBezTo>
                <a:cubicBezTo>
                  <a:pt x="1691" y="269"/>
                  <a:pt x="1687" y="272"/>
                  <a:pt x="1683" y="272"/>
                </a:cubicBezTo>
                <a:cubicBezTo>
                  <a:pt x="940" y="272"/>
                  <a:pt x="940" y="272"/>
                  <a:pt x="940" y="272"/>
                </a:cubicBezTo>
                <a:cubicBezTo>
                  <a:pt x="929" y="272"/>
                  <a:pt x="919" y="282"/>
                  <a:pt x="919" y="294"/>
                </a:cubicBezTo>
                <a:cubicBezTo>
                  <a:pt x="919" y="305"/>
                  <a:pt x="929" y="315"/>
                  <a:pt x="940" y="315"/>
                </a:cubicBezTo>
                <a:cubicBezTo>
                  <a:pt x="1553" y="315"/>
                  <a:pt x="1553" y="315"/>
                  <a:pt x="1553" y="315"/>
                </a:cubicBezTo>
                <a:cubicBezTo>
                  <a:pt x="1557" y="315"/>
                  <a:pt x="1561" y="318"/>
                  <a:pt x="1561" y="322"/>
                </a:cubicBezTo>
                <a:cubicBezTo>
                  <a:pt x="1561" y="326"/>
                  <a:pt x="1557" y="330"/>
                  <a:pt x="1553" y="330"/>
                </a:cubicBezTo>
                <a:cubicBezTo>
                  <a:pt x="888" y="330"/>
                  <a:pt x="888" y="330"/>
                  <a:pt x="888" y="330"/>
                </a:cubicBezTo>
                <a:cubicBezTo>
                  <a:pt x="876" y="330"/>
                  <a:pt x="867" y="339"/>
                  <a:pt x="867" y="351"/>
                </a:cubicBezTo>
                <a:cubicBezTo>
                  <a:pt x="867" y="354"/>
                  <a:pt x="867" y="356"/>
                  <a:pt x="868" y="358"/>
                </a:cubicBezTo>
                <a:close/>
              </a:path>
            </a:pathLst>
          </a:custGeom>
          <a:solidFill>
            <a:srgbClr val="FFFFFF"/>
          </a:solidFill>
          <a:ln>
            <a:noFill/>
          </a:ln>
        </p:spPr>
        <p:txBody>
          <a:bodyPr vert="horz" wrap="square" lIns="67893" tIns="33945" rIns="67893" bIns="33945" numCol="1" anchor="t" anchorCtr="0" compatLnSpc="1">
            <a:prstTxWarp prst="textNoShape">
              <a:avLst/>
            </a:prstTxWarp>
          </a:bodyPr>
          <a:lstStyle/>
          <a:p>
            <a:endParaRPr lang="en-US" sz="1114"/>
          </a:p>
        </p:txBody>
      </p:sp>
    </p:spTree>
    <p:extLst>
      <p:ext uri="{BB962C8B-B14F-4D97-AF65-F5344CB8AC3E}">
        <p14:creationId xmlns:p14="http://schemas.microsoft.com/office/powerpoint/2010/main" val="3241310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090427"/>
          </a:xfrm>
          <a:noFill/>
        </p:spPr>
        <p:txBody>
          <a:bodyPr tIns="91440" bIns="91440" anchor="t" anchorCtr="0">
            <a:spAutoFit/>
          </a:bodyPr>
          <a:lstStyle>
            <a:lvl1pPr>
              <a:defRPr sz="6540" spc="-91" baseline="0">
                <a:gradFill>
                  <a:gsLst>
                    <a:gs pos="100000">
                      <a:schemeClr val="tx1"/>
                    </a:gs>
                    <a:gs pos="0">
                      <a:schemeClr val="tx1"/>
                    </a:gs>
                  </a:gsLst>
                  <a:lin ang="5400000" scaled="0"/>
                </a:gradFill>
              </a:defRPr>
            </a:lvl1pPr>
          </a:lstStyle>
          <a:p>
            <a:r>
              <a:rPr lang="en-US"/>
              <a:t>Section tit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3890335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1">
    <p:spTree>
      <p:nvGrpSpPr>
        <p:cNvPr id="1" name=""/>
        <p:cNvGrpSpPr/>
        <p:nvPr/>
      </p:nvGrpSpPr>
      <p:grpSpPr>
        <a:xfrm>
          <a:off x="0" y="0"/>
          <a:ext cx="0" cy="0"/>
          <a:chOff x="0" y="0"/>
          <a:chExt cx="0" cy="0"/>
        </a:xfrm>
      </p:grpSpPr>
      <p:sp>
        <p:nvSpPr>
          <p:cNvPr id="8" name="Rectangle 7"/>
          <p:cNvSpPr/>
          <p:nvPr userDrawn="1"/>
        </p:nvSpPr>
        <p:spPr bwMode="gray">
          <a:xfrm>
            <a:off x="150853" y="1084729"/>
            <a:ext cx="5487829" cy="408734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5" tIns="134444" rIns="168055" bIns="134444" numCol="1" spcCol="0" rtlCol="0" fromWordArt="0" anchor="t" anchorCtr="0" forceAA="0" compatLnSpc="1">
            <a:prstTxWarp prst="textNoShape">
              <a:avLst/>
            </a:prstTxWarp>
            <a:noAutofit/>
          </a:bodyPr>
          <a:lstStyle/>
          <a:p>
            <a:pPr algn="ctr" defTabSz="856883" fontAlgn="base">
              <a:lnSpc>
                <a:spcPct val="90000"/>
              </a:lnSpc>
              <a:spcBef>
                <a:spcPct val="0"/>
              </a:spcBef>
              <a:spcAft>
                <a:spcPct val="0"/>
              </a:spcAft>
            </a:pPr>
            <a:endParaRPr lang="en-US" sz="225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1514475"/>
            <a:ext cx="5487829" cy="2743426"/>
          </a:xfrm>
          <a:noFill/>
        </p:spPr>
        <p:txBody>
          <a:bodyPr vert="horz" lIns="137160" tIns="182880" rIns="146304" bIns="91440" rtlCol="0" anchor="t" anchorCtr="0">
            <a:normAutofit/>
          </a:bodyPr>
          <a:lstStyle>
            <a:lvl1pPr marL="0" indent="0">
              <a:defRPr lang="en-US" sz="4125" spc="-92"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257675"/>
            <a:ext cx="5487829" cy="914400"/>
          </a:xfrm>
        </p:spPr>
        <p:txBody>
          <a:bodyPr lIns="137160" tIns="91440">
            <a:noAutofit/>
          </a:bodyPr>
          <a:lstStyle>
            <a:lvl1pPr marL="0" indent="0">
              <a:spcBef>
                <a:spcPts val="0"/>
              </a:spcBef>
              <a:buNone/>
              <a:defRPr sz="1875">
                <a:solidFill>
                  <a:schemeClr val="bg1"/>
                </a:solidFill>
              </a:defRPr>
            </a:lvl1pPr>
            <a:lvl2pPr marL="264069" indent="0">
              <a:buNone/>
              <a:defRPr sz="1875">
                <a:solidFill>
                  <a:schemeClr val="bg1"/>
                </a:solidFill>
              </a:defRPr>
            </a:lvl2pPr>
            <a:lvl3pPr marL="551696" indent="0">
              <a:buNone/>
              <a:defRPr sz="1875">
                <a:solidFill>
                  <a:schemeClr val="bg1"/>
                </a:solidFill>
              </a:defRPr>
            </a:lvl3pPr>
            <a:lvl4pPr marL="815766" indent="0">
              <a:buNone/>
              <a:defRPr sz="1875">
                <a:solidFill>
                  <a:schemeClr val="bg1"/>
                </a:solidFill>
              </a:defRPr>
            </a:lvl4pPr>
            <a:lvl5pPr marL="1036444" indent="0">
              <a:buNone/>
              <a:defRPr sz="1875">
                <a:solidFill>
                  <a:schemeClr val="bg1"/>
                </a:solidFill>
              </a:defRPr>
            </a:lvl5pPr>
          </a:lstStyle>
          <a:p>
            <a:pPr lvl="0"/>
            <a:r>
              <a:rPr lang="en-US"/>
              <a:t>Speaker Nam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52789" y="6239514"/>
            <a:ext cx="1551760" cy="338715"/>
          </a:xfrm>
          <a:prstGeom prst="rect">
            <a:avLst/>
          </a:prstGeom>
          <a:noFill/>
          <a:ln>
            <a:noFill/>
          </a:ln>
        </p:spPr>
      </p:pic>
      <p:sp>
        <p:nvSpPr>
          <p:cNvPr id="18" name="Footer Placeholder 6"/>
          <p:cNvSpPr txBox="1">
            <a:spLocks/>
          </p:cNvSpPr>
          <p:nvPr userDrawn="1"/>
        </p:nvSpPr>
        <p:spPr>
          <a:xfrm>
            <a:off x="242112" y="1116421"/>
            <a:ext cx="2537673" cy="380127"/>
          </a:xfrm>
          <a:prstGeom prst="rect">
            <a:avLst/>
          </a:prstGeom>
        </p:spPr>
        <p:txBody>
          <a:bodyPr vert="horz" lIns="71418" tIns="35708" rIns="71418" bIns="35708" rtlCol="0" anchor="ctr"/>
          <a:lstStyle>
            <a:defPPr>
              <a:defRPr lang="en-US"/>
            </a:defPPr>
            <a:lvl1pPr marL="0" algn="l" defTabSz="1088105" rtl="0" eaLnBrk="1" latinLnBrk="0" hangingPunct="1">
              <a:defRPr sz="1400" b="1" kern="1200" baseline="0">
                <a:solidFill>
                  <a:schemeClr val="bg1"/>
                </a:solidFill>
                <a:latin typeface="+mj-lt"/>
                <a:ea typeface="Segoe UI" pitchFamily="34" charset="0"/>
                <a:cs typeface="Segoe UI" pitchFamily="34" charset="0"/>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algn="l" defTabSz="1020098" rtl="0" eaLnBrk="1" latinLnBrk="0" hangingPunct="1"/>
            <a:r>
              <a:rPr lang="en-IN" sz="1313" b="0" kern="1200" baseline="0">
                <a:solidFill>
                  <a:schemeClr val="bg1"/>
                </a:solidFill>
                <a:latin typeface="+mn-lt"/>
                <a:ea typeface="Segoe UI" pitchFamily="34" charset="0"/>
                <a:cs typeface="Segoe UI" pitchFamily="34" charset="0"/>
              </a:rPr>
              <a:t>Microsoft Technology </a:t>
            </a:r>
            <a:r>
              <a:rPr lang="en-US" sz="1313" b="0" kern="1200" baseline="0" noProof="0">
                <a:solidFill>
                  <a:schemeClr val="bg1"/>
                </a:solidFill>
                <a:latin typeface="+mn-lt"/>
                <a:ea typeface="Segoe UI" pitchFamily="34" charset="0"/>
                <a:cs typeface="Segoe UI" pitchFamily="34" charset="0"/>
              </a:rPr>
              <a:t>Centers</a:t>
            </a:r>
          </a:p>
        </p:txBody>
      </p:sp>
      <p:pic>
        <p:nvPicPr>
          <p:cNvPr id="3" name="Picture 2">
            <a:extLst>
              <a:ext uri="{FF2B5EF4-FFF2-40B4-BE49-F238E27FC236}">
                <a16:creationId xmlns:a16="http://schemas.microsoft.com/office/drawing/2014/main" id="{2C41EA29-B0E7-4D4B-B561-23128EB7B4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085541"/>
            <a:ext cx="12192000" cy="5778500"/>
          </a:xfrm>
          <a:prstGeom prst="rect">
            <a:avLst/>
          </a:prstGeom>
        </p:spPr>
      </p:pic>
    </p:spTree>
    <p:extLst>
      <p:ext uri="{BB962C8B-B14F-4D97-AF65-F5344CB8AC3E}">
        <p14:creationId xmlns:p14="http://schemas.microsoft.com/office/powerpoint/2010/main" val="2853893364"/>
      </p:ext>
    </p:extLst>
  </p:cSld>
  <p:clrMapOvr>
    <a:masterClrMapping/>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791854"/>
            <a:ext cx="11018838" cy="4477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3">
            <a:extLst>
              <a:ext uri="{FF2B5EF4-FFF2-40B4-BE49-F238E27FC236}">
                <a16:creationId xmlns:a16="http://schemas.microsoft.com/office/drawing/2014/main" id="{723A0537-EC5A-4C83-B945-47409FBF89BC}"/>
              </a:ext>
            </a:extLst>
          </p:cNvPr>
          <p:cNvSpPr>
            <a:spLocks noGrp="1"/>
          </p:cNvSpPr>
          <p:nvPr>
            <p:ph type="body" sz="quarter" idx="19"/>
          </p:nvPr>
        </p:nvSpPr>
        <p:spPr>
          <a:xfrm>
            <a:off x="588963" y="1108075"/>
            <a:ext cx="11017250" cy="369332"/>
          </a:xfrm>
        </p:spPr>
        <p:txBody>
          <a:bodyPr/>
          <a:lstStyle>
            <a:lvl1pPr marL="0" indent="0" algn="l" defTabSz="914400" rtl="0" eaLnBrk="1" latinLnBrk="0" hangingPunct="1">
              <a:buNone/>
              <a:defRPr lang="en-US" sz="2400" b="1" kern="1200" dirty="0" smtClean="0">
                <a:gradFill>
                  <a:gsLst>
                    <a:gs pos="2917">
                      <a:schemeClr val="accent1"/>
                    </a:gs>
                    <a:gs pos="100000">
                      <a:schemeClr val="accent1"/>
                    </a:gs>
                  </a:gsLst>
                  <a:lin ang="5400000" scaled="0"/>
                </a:gradFill>
                <a:latin typeface="+mj-lt"/>
                <a:ea typeface="+mn-ea"/>
                <a:cs typeface="+mn-cs"/>
              </a:defRPr>
            </a:lvl1pPr>
            <a:lvl2pPr marL="0" indent="0" algn="l" defTabSz="914400" rtl="0" eaLnBrk="1" latinLnBrk="0" hangingPunct="1">
              <a:buNone/>
              <a:defRPr lang="en-US" sz="2400" b="1" kern="1200" dirty="0" smtClean="0">
                <a:gradFill>
                  <a:gsLst>
                    <a:gs pos="2917">
                      <a:schemeClr val="accent1"/>
                    </a:gs>
                    <a:gs pos="100000">
                      <a:schemeClr val="accent1"/>
                    </a:gs>
                  </a:gsLst>
                  <a:lin ang="5400000" scaled="0"/>
                </a:gradFill>
                <a:latin typeface="+mj-lt"/>
                <a:ea typeface="+mn-ea"/>
                <a:cs typeface="+mn-cs"/>
              </a:defRPr>
            </a:lvl2pPr>
            <a:lvl3pPr marL="0" indent="0" algn="l" defTabSz="914400" rtl="0" eaLnBrk="1" latinLnBrk="0" hangingPunct="1">
              <a:buNone/>
              <a:defRPr lang="en-US" sz="2400" b="1" kern="1200" dirty="0" smtClean="0">
                <a:gradFill>
                  <a:gsLst>
                    <a:gs pos="2917">
                      <a:schemeClr val="accent1"/>
                    </a:gs>
                    <a:gs pos="100000">
                      <a:schemeClr val="accent1"/>
                    </a:gs>
                  </a:gsLst>
                  <a:lin ang="5400000" scaled="0"/>
                </a:gradFill>
                <a:latin typeface="+mj-lt"/>
                <a:ea typeface="+mn-ea"/>
                <a:cs typeface="+mn-cs"/>
              </a:defRPr>
            </a:lvl3pPr>
            <a:lvl4pPr marL="0" indent="0" algn="l" defTabSz="914400" rtl="0" eaLnBrk="1" latinLnBrk="0" hangingPunct="1">
              <a:buNone/>
              <a:defRPr lang="en-US" sz="2400" b="1" kern="1200" dirty="0" smtClean="0">
                <a:gradFill>
                  <a:gsLst>
                    <a:gs pos="2917">
                      <a:schemeClr val="accent1"/>
                    </a:gs>
                    <a:gs pos="100000">
                      <a:schemeClr val="accent1"/>
                    </a:gs>
                  </a:gsLst>
                  <a:lin ang="5400000" scaled="0"/>
                </a:gradFill>
                <a:latin typeface="+mj-lt"/>
                <a:ea typeface="+mn-ea"/>
                <a:cs typeface="+mn-cs"/>
              </a:defRPr>
            </a:lvl4pPr>
            <a:lvl5pPr marL="0" indent="0" algn="l" defTabSz="914400" rtl="0" eaLnBrk="1" latinLnBrk="0" hangingPunct="1">
              <a:buNone/>
              <a:defRPr lang="en-US" sz="2400" b="1" kern="1200" dirty="0">
                <a:gradFill>
                  <a:gsLst>
                    <a:gs pos="2917">
                      <a:schemeClr val="accent1"/>
                    </a:gs>
                    <a:gs pos="100000">
                      <a:schemeClr val="accent1"/>
                    </a:gs>
                  </a:gsLst>
                  <a:lin ang="5400000" scaled="0"/>
                </a:gradFill>
                <a:latin typeface="+mj-lt"/>
                <a:ea typeface="+mn-ea"/>
                <a:cs typeface="+mn-cs"/>
              </a:defRPr>
            </a:lvl5pPr>
          </a:lstStyle>
          <a:p>
            <a:pPr lvl="0"/>
            <a:r>
              <a:rPr lang="en-US"/>
              <a:t>Click to edit Master text style</a:t>
            </a:r>
          </a:p>
        </p:txBody>
      </p:sp>
    </p:spTree>
    <p:extLst>
      <p:ext uri="{BB962C8B-B14F-4D97-AF65-F5344CB8AC3E}">
        <p14:creationId xmlns:p14="http://schemas.microsoft.com/office/powerpoint/2010/main" val="33819313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33244-EAFE-452E-81B2-2845DEE060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4348246-350A-4081-857A-58EEBCE225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C1A44E2-832F-43C6-B3EC-75656D7A5105}"/>
              </a:ext>
            </a:extLst>
          </p:cNvPr>
          <p:cNvSpPr>
            <a:spLocks noGrp="1"/>
          </p:cNvSpPr>
          <p:nvPr>
            <p:ph type="dt" sz="half" idx="10"/>
          </p:nvPr>
        </p:nvSpPr>
        <p:spPr/>
        <p:txBody>
          <a:bodyPr/>
          <a:lstStyle/>
          <a:p>
            <a:fld id="{68A62D11-FE86-4F7B-8DC1-4653EB02B303}" type="datetimeFigureOut">
              <a:rPr lang="en-US" smtClean="0"/>
              <a:t>6/26/2020</a:t>
            </a:fld>
            <a:endParaRPr lang="en-US"/>
          </a:p>
        </p:txBody>
      </p:sp>
      <p:sp>
        <p:nvSpPr>
          <p:cNvPr id="5" name="Footer Placeholder 4">
            <a:extLst>
              <a:ext uri="{FF2B5EF4-FFF2-40B4-BE49-F238E27FC236}">
                <a16:creationId xmlns:a16="http://schemas.microsoft.com/office/drawing/2014/main" id="{BFC604DD-5810-4B32-B795-F0E30051C9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F7CA2A-3D22-4127-ACD0-C35882C1F589}"/>
              </a:ext>
            </a:extLst>
          </p:cNvPr>
          <p:cNvSpPr>
            <a:spLocks noGrp="1"/>
          </p:cNvSpPr>
          <p:nvPr>
            <p:ph type="sldNum" sz="quarter" idx="12"/>
          </p:nvPr>
        </p:nvSpPr>
        <p:spPr/>
        <p:txBody>
          <a:bodyPr/>
          <a:lstStyle/>
          <a:p>
            <a:fld id="{1021D1CF-CDD4-4C74-9462-A061C4BFF58E}" type="slidenum">
              <a:rPr lang="en-US" smtClean="0"/>
              <a:t>‹#›</a:t>
            </a:fld>
            <a:endParaRPr lang="en-US"/>
          </a:p>
        </p:txBody>
      </p:sp>
    </p:spTree>
    <p:extLst>
      <p:ext uri="{BB962C8B-B14F-4D97-AF65-F5344CB8AC3E}">
        <p14:creationId xmlns:p14="http://schemas.microsoft.com/office/powerpoint/2010/main" val="1601866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384" y="6043943"/>
            <a:ext cx="1880002" cy="805829"/>
          </a:xfrm>
          <a:prstGeom prst="rect">
            <a:avLst/>
          </a:prstGeom>
        </p:spPr>
      </p:pic>
      <p:sp>
        <p:nvSpPr>
          <p:cNvPr id="6"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137F5A6-59D9-9242-AE3B-E235E9FEDF56}" type="slidenum">
              <a:rPr kumimoji="0" lang="en-US" sz="980" b="0" i="0" u="none" strike="noStrike" kern="1200" cap="none" spc="0" normalizeH="0" baseline="0" noProof="0" smtClean="0">
                <a:ln>
                  <a:noFill/>
                </a:ln>
                <a:solidFill>
                  <a:srgbClr val="505050"/>
                </a:solidFill>
                <a:effectLst/>
                <a:uLnTx/>
                <a:uFillTx/>
                <a:latin typeface="Segoe UI Semilight"/>
                <a:ea typeface="+mn-ea"/>
                <a:cs typeface="Segoe UI Light"/>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a:ln>
                <a:noFill/>
              </a:ln>
              <a:solidFill>
                <a:srgbClr val="505050"/>
              </a:solidFill>
              <a:effectLst/>
              <a:uLnTx/>
              <a:uFillTx/>
              <a:latin typeface="Segoe UI Semilight"/>
              <a:ea typeface="+mn-ea"/>
              <a:cs typeface="Segoe UI Light"/>
            </a:endParaRPr>
          </a:p>
        </p:txBody>
      </p:sp>
      <p:sp>
        <p:nvSpPr>
          <p:cNvPr id="7" name="Picture Placeholder 6">
            <a:extLst>
              <a:ext uri="{FF2B5EF4-FFF2-40B4-BE49-F238E27FC236}">
                <a16:creationId xmlns:a16="http://schemas.microsoft.com/office/drawing/2014/main" id="{E4EAF22A-6E65-4CB9-946C-1E385590CB6B}"/>
              </a:ext>
            </a:extLst>
          </p:cNvPr>
          <p:cNvSpPr>
            <a:spLocks noGrp="1"/>
          </p:cNvSpPr>
          <p:nvPr>
            <p:ph type="pic" sz="quarter" idx="11"/>
          </p:nvPr>
        </p:nvSpPr>
        <p:spPr>
          <a:xfrm>
            <a:off x="541338" y="3940175"/>
            <a:ext cx="1576387" cy="1385888"/>
          </a:xfrm>
        </p:spPr>
        <p:txBody>
          <a:bodyPr/>
          <a:lstStyle/>
          <a:p>
            <a:endParaRPr lang="en-US"/>
          </a:p>
        </p:txBody>
      </p:sp>
      <p:sp>
        <p:nvSpPr>
          <p:cNvPr id="8" name="Picture Placeholder 6">
            <a:extLst>
              <a:ext uri="{FF2B5EF4-FFF2-40B4-BE49-F238E27FC236}">
                <a16:creationId xmlns:a16="http://schemas.microsoft.com/office/drawing/2014/main" id="{88F8273E-D56D-49AA-A428-ADE331150791}"/>
              </a:ext>
            </a:extLst>
          </p:cNvPr>
          <p:cNvSpPr>
            <a:spLocks noGrp="1"/>
          </p:cNvSpPr>
          <p:nvPr>
            <p:ph type="pic" sz="quarter" idx="12"/>
          </p:nvPr>
        </p:nvSpPr>
        <p:spPr>
          <a:xfrm>
            <a:off x="2179638" y="3940175"/>
            <a:ext cx="1576387" cy="1385888"/>
          </a:xfrm>
        </p:spPr>
        <p:txBody>
          <a:bodyPr/>
          <a:lstStyle/>
          <a:p>
            <a:endParaRPr lang="en-US"/>
          </a:p>
        </p:txBody>
      </p:sp>
      <p:sp>
        <p:nvSpPr>
          <p:cNvPr id="9" name="Picture Placeholder 6">
            <a:extLst>
              <a:ext uri="{FF2B5EF4-FFF2-40B4-BE49-F238E27FC236}">
                <a16:creationId xmlns:a16="http://schemas.microsoft.com/office/drawing/2014/main" id="{B017EAEE-72AE-49EA-BF99-E37D4C83A405}"/>
              </a:ext>
            </a:extLst>
          </p:cNvPr>
          <p:cNvSpPr>
            <a:spLocks noGrp="1"/>
          </p:cNvSpPr>
          <p:nvPr>
            <p:ph type="pic" sz="quarter" idx="13"/>
          </p:nvPr>
        </p:nvSpPr>
        <p:spPr>
          <a:xfrm>
            <a:off x="3817938" y="3940175"/>
            <a:ext cx="1576387" cy="1385888"/>
          </a:xfrm>
        </p:spPr>
        <p:txBody>
          <a:bodyPr/>
          <a:lstStyle/>
          <a:p>
            <a:endParaRPr lang="en-US"/>
          </a:p>
        </p:txBody>
      </p:sp>
    </p:spTree>
    <p:extLst>
      <p:ext uri="{BB962C8B-B14F-4D97-AF65-F5344CB8AC3E}">
        <p14:creationId xmlns:p14="http://schemas.microsoft.com/office/powerpoint/2010/main" val="2524983461"/>
      </p:ext>
    </p:extLst>
  </p:cSld>
  <p:clrMapOvr>
    <a:masterClrMapping/>
  </p:clrMapOvr>
  <p:transition spd="med">
    <p:pull/>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34AD578-7835-4677-B4A0-E7EBE31E6CBE}"/>
              </a:ext>
            </a:extLst>
          </p:cNvPr>
          <p:cNvSpPr>
            <a:spLocks noGrp="1"/>
          </p:cNvSpPr>
          <p:nvPr>
            <p:ph type="sldNum" sz="quarter" idx="10"/>
          </p:nvPr>
        </p:nvSpPr>
        <p:spPr/>
        <p:txBody>
          <a:bodyPr/>
          <a:lstStyle/>
          <a:p>
            <a:fld id="{FE0CDD28-ECB8-48A8-A396-B720C5432FDB}" type="slidenum">
              <a:rPr lang="en-IN" smtClean="0"/>
              <a:pPr/>
              <a:t>‹#›</a:t>
            </a:fld>
            <a:endParaRPr lang="en-IN"/>
          </a:p>
        </p:txBody>
      </p:sp>
      <p:sp>
        <p:nvSpPr>
          <p:cNvPr id="5" name="Title 4">
            <a:extLst>
              <a:ext uri="{FF2B5EF4-FFF2-40B4-BE49-F238E27FC236}">
                <a16:creationId xmlns:a16="http://schemas.microsoft.com/office/drawing/2014/main" id="{6FAF5401-BB9E-4E79-8696-E4C67DEC3FC8}"/>
              </a:ext>
            </a:extLst>
          </p:cNvPr>
          <p:cNvSpPr>
            <a:spLocks noGrp="1"/>
          </p:cNvSpPr>
          <p:nvPr>
            <p:ph type="title"/>
          </p:nvPr>
        </p:nvSpPr>
        <p:spPr/>
        <p:txBody>
          <a:bodyPr/>
          <a:lstStyle>
            <a:lvl1pPr algn="l" defTabSz="914367" rtl="0" eaLnBrk="1" latinLnBrk="0" hangingPunct="1">
              <a:lnSpc>
                <a:spcPct val="90000"/>
              </a:lnSpc>
              <a:spcBef>
                <a:spcPct val="0"/>
              </a:spcBef>
              <a:buNone/>
              <a:defRPr lang="en-US" sz="3200" b="0" kern="1200" cap="none" spc="-100"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p>
        </p:txBody>
      </p:sp>
      <p:sp>
        <p:nvSpPr>
          <p:cNvPr id="18" name="Text Placeholder 17">
            <a:extLst>
              <a:ext uri="{FF2B5EF4-FFF2-40B4-BE49-F238E27FC236}">
                <a16:creationId xmlns:a16="http://schemas.microsoft.com/office/drawing/2014/main" id="{16B711AC-1A02-4A48-B8F8-C6A09A0C5815}"/>
              </a:ext>
            </a:extLst>
          </p:cNvPr>
          <p:cNvSpPr>
            <a:spLocks noGrp="1"/>
          </p:cNvSpPr>
          <p:nvPr>
            <p:ph type="body" sz="quarter" idx="12" hasCustomPrompt="1"/>
          </p:nvPr>
        </p:nvSpPr>
        <p:spPr>
          <a:xfrm>
            <a:off x="457200" y="1835451"/>
            <a:ext cx="5544838" cy="4655773"/>
          </a:xfr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lvl1pPr marL="336145" indent="-336145">
              <a:defRPr lang="en-IN" sz="1600" kern="1200" dirty="0">
                <a:solidFill>
                  <a:schemeClr val="tx1"/>
                </a:solidFill>
                <a:latin typeface="+mn-lt"/>
                <a:ea typeface="+mn-ea"/>
                <a:cs typeface="Segoe UI Semibold" panose="020B0702040204020203" pitchFamily="34" charset="0"/>
              </a:defRPr>
            </a:lvl1pPr>
            <a:lvl2pPr marL="336145" indent="-336145">
              <a:defRPr lang="en-US" sz="1800" smtClean="0">
                <a:solidFill>
                  <a:schemeClr val="lt1"/>
                </a:solidFill>
              </a:defRPr>
            </a:lvl2pPr>
            <a:lvl3pPr marL="336145" indent="-336145">
              <a:defRPr lang="en-US" smtClean="0">
                <a:solidFill>
                  <a:schemeClr val="lt1"/>
                </a:solidFill>
              </a:defRPr>
            </a:lvl3pPr>
            <a:lvl4pPr marL="336145" indent="-336145">
              <a:defRPr lang="en-US" sz="1800" smtClean="0">
                <a:solidFill>
                  <a:schemeClr val="lt1"/>
                </a:solidFill>
              </a:defRPr>
            </a:lvl4pPr>
            <a:lvl5pPr marL="336145" indent="-336145">
              <a:defRPr lang="en-IN" sz="1800">
                <a:solidFill>
                  <a:schemeClr val="lt1"/>
                </a:solidFill>
              </a:defRPr>
            </a:lvl5pPr>
          </a:lstStyle>
          <a:p>
            <a:pPr marL="174625" lvl="0" indent="-174625" algn="l" defTabSz="932472" rtl="0" eaLnBrk="1" fontAlgn="base" latinLnBrk="0" hangingPunct="1">
              <a:spcBef>
                <a:spcPct val="0"/>
              </a:spcBef>
              <a:spcAft>
                <a:spcPct val="0"/>
              </a:spcAft>
              <a:buFont typeface="Arial" panose="020B0604020202020204" pitchFamily="34" charset="0"/>
              <a:buChar char="•"/>
              <a:defRPr/>
            </a:pPr>
            <a:r>
              <a:rPr lang="en-US"/>
              <a:t>Enter Text</a:t>
            </a:r>
            <a:endParaRPr lang="en-IN"/>
          </a:p>
        </p:txBody>
      </p:sp>
      <p:sp>
        <p:nvSpPr>
          <p:cNvPr id="19" name="Text Placeholder 17">
            <a:extLst>
              <a:ext uri="{FF2B5EF4-FFF2-40B4-BE49-F238E27FC236}">
                <a16:creationId xmlns:a16="http://schemas.microsoft.com/office/drawing/2014/main" id="{D8770E54-D3B1-4124-8B20-4E48B9BE11E3}"/>
              </a:ext>
            </a:extLst>
          </p:cNvPr>
          <p:cNvSpPr>
            <a:spLocks noGrp="1"/>
          </p:cNvSpPr>
          <p:nvPr>
            <p:ph type="body" sz="quarter" idx="13" hasCustomPrompt="1"/>
          </p:nvPr>
        </p:nvSpPr>
        <p:spPr>
          <a:xfrm>
            <a:off x="6192239" y="1835451"/>
            <a:ext cx="5544838" cy="4655773"/>
          </a:xfr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45720" numCol="1" spcCol="0" rtlCol="0" fromWordArt="0" anchor="t" anchorCtr="0" forceAA="0" compatLnSpc="1">
            <a:prstTxWarp prst="textNoShape">
              <a:avLst/>
            </a:prstTxWarp>
            <a:noAutofit/>
          </a:bodyPr>
          <a:lstStyle>
            <a:lvl1pPr marL="336145" indent="-336145">
              <a:defRPr lang="en-IN" sz="1600" kern="1200" dirty="0">
                <a:solidFill>
                  <a:schemeClr val="tx1"/>
                </a:solidFill>
                <a:latin typeface="+mn-lt"/>
                <a:ea typeface="+mn-ea"/>
                <a:cs typeface="Segoe UI Semibold" panose="020B0702040204020203" pitchFamily="34" charset="0"/>
              </a:defRPr>
            </a:lvl1pPr>
            <a:lvl2pPr marL="336145" indent="-336145">
              <a:defRPr lang="en-US" sz="1800" smtClean="0">
                <a:solidFill>
                  <a:schemeClr val="lt1"/>
                </a:solidFill>
              </a:defRPr>
            </a:lvl2pPr>
            <a:lvl3pPr marL="336145" indent="-336145">
              <a:defRPr lang="en-US" smtClean="0">
                <a:solidFill>
                  <a:schemeClr val="lt1"/>
                </a:solidFill>
              </a:defRPr>
            </a:lvl3pPr>
            <a:lvl4pPr marL="336145" indent="-336145">
              <a:defRPr lang="en-US" sz="1800" smtClean="0">
                <a:solidFill>
                  <a:schemeClr val="lt1"/>
                </a:solidFill>
              </a:defRPr>
            </a:lvl4pPr>
            <a:lvl5pPr marL="336145" indent="-336145">
              <a:defRPr lang="en-IN" sz="1800">
                <a:solidFill>
                  <a:schemeClr val="lt1"/>
                </a:solidFill>
              </a:defRPr>
            </a:lvl5pPr>
          </a:lstStyle>
          <a:p>
            <a:pPr marL="174625" lvl="0" indent="-174625" algn="l" defTabSz="932472" rtl="0" eaLnBrk="1" fontAlgn="base" latinLnBrk="0" hangingPunct="1">
              <a:spcBef>
                <a:spcPct val="0"/>
              </a:spcBef>
              <a:spcAft>
                <a:spcPct val="0"/>
              </a:spcAft>
              <a:buFont typeface="Arial" panose="020B0604020202020204" pitchFamily="34" charset="0"/>
              <a:buChar char="•"/>
              <a:defRPr/>
            </a:pPr>
            <a:r>
              <a:rPr lang="en-US"/>
              <a:t>Enter Text</a:t>
            </a:r>
            <a:endParaRPr lang="en-IN"/>
          </a:p>
        </p:txBody>
      </p:sp>
      <p:sp>
        <p:nvSpPr>
          <p:cNvPr id="21" name="Text Placeholder 17">
            <a:extLst>
              <a:ext uri="{FF2B5EF4-FFF2-40B4-BE49-F238E27FC236}">
                <a16:creationId xmlns:a16="http://schemas.microsoft.com/office/drawing/2014/main" id="{98AE2816-5E19-43F8-BF19-5FF8D69E5305}"/>
              </a:ext>
            </a:extLst>
          </p:cNvPr>
          <p:cNvSpPr>
            <a:spLocks noGrp="1"/>
          </p:cNvSpPr>
          <p:nvPr>
            <p:ph type="body" sz="quarter" idx="15" hasCustomPrompt="1"/>
          </p:nvPr>
        </p:nvSpPr>
        <p:spPr>
          <a:xfrm>
            <a:off x="6192239" y="1440245"/>
            <a:ext cx="5544838" cy="411480"/>
          </a:xfr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IN" sz="1800" b="0" i="0" u="none" strike="noStrike" cap="all" normalizeH="0" dirty="0">
                <a:ln w="3175">
                  <a:noFill/>
                </a:ln>
                <a:solidFill>
                  <a:schemeClr val="bg1"/>
                </a:solidFill>
                <a:effectLst/>
                <a:uLnTx/>
                <a:uFillTx/>
                <a:latin typeface="Segoe UI Semibold"/>
                <a:cs typeface="Segoe UI" pitchFamily="34" charset="0"/>
              </a:defRPr>
            </a:lvl1pPr>
          </a:lstStyle>
          <a:p>
            <a:pPr marL="336145" lvl="0" indent="-336145" algn="ctr" defTabSz="932293" fontAlgn="base">
              <a:lnSpc>
                <a:spcPct val="100000"/>
              </a:lnSpc>
              <a:spcBef>
                <a:spcPct val="0"/>
              </a:spcBef>
              <a:spcAft>
                <a:spcPct val="0"/>
              </a:spcAft>
              <a:buSzTx/>
            </a:pPr>
            <a:r>
              <a:rPr lang="en-US"/>
              <a:t>Enter TITLE</a:t>
            </a:r>
            <a:endParaRPr lang="en-IN"/>
          </a:p>
        </p:txBody>
      </p:sp>
      <p:sp>
        <p:nvSpPr>
          <p:cNvPr id="22" name="Text Placeholder 17">
            <a:extLst>
              <a:ext uri="{FF2B5EF4-FFF2-40B4-BE49-F238E27FC236}">
                <a16:creationId xmlns:a16="http://schemas.microsoft.com/office/drawing/2014/main" id="{24DBA2E4-DA4E-4643-9989-811FEAC6BF3A}"/>
              </a:ext>
            </a:extLst>
          </p:cNvPr>
          <p:cNvSpPr>
            <a:spLocks noGrp="1"/>
          </p:cNvSpPr>
          <p:nvPr>
            <p:ph type="body" sz="quarter" idx="16" hasCustomPrompt="1"/>
          </p:nvPr>
        </p:nvSpPr>
        <p:spPr>
          <a:xfrm>
            <a:off x="457200" y="1440245"/>
            <a:ext cx="5544838" cy="411480"/>
          </a:xfr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kumimoji="0" lang="en-IN" sz="1800" b="0" i="0" u="none" strike="noStrike" cap="all" normalizeH="0" dirty="0">
                <a:ln w="3175">
                  <a:noFill/>
                </a:ln>
                <a:solidFill>
                  <a:schemeClr val="bg1"/>
                </a:solidFill>
                <a:effectLst/>
                <a:uLnTx/>
                <a:uFillTx/>
                <a:latin typeface="Segoe UI Semibold"/>
                <a:cs typeface="Segoe UI" pitchFamily="34" charset="0"/>
              </a:defRPr>
            </a:lvl1pPr>
          </a:lstStyle>
          <a:p>
            <a:pPr marL="336145" lvl="0" indent="-336145" algn="ctr" defTabSz="932293" fontAlgn="base">
              <a:lnSpc>
                <a:spcPct val="100000"/>
              </a:lnSpc>
              <a:spcBef>
                <a:spcPct val="0"/>
              </a:spcBef>
              <a:spcAft>
                <a:spcPct val="0"/>
              </a:spcAft>
              <a:buSzTx/>
            </a:pPr>
            <a:r>
              <a:rPr lang="en-US"/>
              <a:t>Enter TITLE</a:t>
            </a:r>
            <a:endParaRPr lang="en-IN"/>
          </a:p>
        </p:txBody>
      </p:sp>
    </p:spTree>
    <p:extLst>
      <p:ext uri="{BB962C8B-B14F-4D97-AF65-F5344CB8AC3E}">
        <p14:creationId xmlns:p14="http://schemas.microsoft.com/office/powerpoint/2010/main" val="16637527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5D948-841D-472A-9862-E208BC0EE1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76B2381-4DDA-4AB4-B013-ABFA7F6FD87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AAA5E3-97BE-4FC1-BCCC-DFA9C3FF460F}"/>
              </a:ext>
            </a:extLst>
          </p:cNvPr>
          <p:cNvSpPr>
            <a:spLocks noGrp="1"/>
          </p:cNvSpPr>
          <p:nvPr>
            <p:ph type="dt" sz="half" idx="10"/>
          </p:nvPr>
        </p:nvSpPr>
        <p:spPr/>
        <p:txBody>
          <a:bodyPr/>
          <a:lstStyle/>
          <a:p>
            <a:fld id="{A2B32D49-EEE2-44C2-A1DF-53567D7A36B8}" type="datetimeFigureOut">
              <a:rPr lang="en-US" smtClean="0"/>
              <a:t>6/26/2020</a:t>
            </a:fld>
            <a:endParaRPr lang="en-US"/>
          </a:p>
        </p:txBody>
      </p:sp>
      <p:sp>
        <p:nvSpPr>
          <p:cNvPr id="5" name="Footer Placeholder 4">
            <a:extLst>
              <a:ext uri="{FF2B5EF4-FFF2-40B4-BE49-F238E27FC236}">
                <a16:creationId xmlns:a16="http://schemas.microsoft.com/office/drawing/2014/main" id="{D33F1026-7FCD-4B9A-BC1E-58B261AF09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CB259C-C6FA-4450-8232-7BA9CEB8E9F4}"/>
              </a:ext>
            </a:extLst>
          </p:cNvPr>
          <p:cNvSpPr>
            <a:spLocks noGrp="1"/>
          </p:cNvSpPr>
          <p:nvPr>
            <p:ph type="sldNum" sz="quarter" idx="12"/>
          </p:nvPr>
        </p:nvSpPr>
        <p:spPr/>
        <p:txBody>
          <a:bodyPr/>
          <a:lstStyle/>
          <a:p>
            <a:fld id="{844ACFD3-9EBE-4441-898D-0C478F8066D7}" type="slidenum">
              <a:rPr lang="en-US" smtClean="0"/>
              <a:t>‹#›</a:t>
            </a:fld>
            <a:endParaRPr lang="en-US"/>
          </a:p>
        </p:txBody>
      </p:sp>
    </p:spTree>
    <p:extLst>
      <p:ext uri="{BB962C8B-B14F-4D97-AF65-F5344CB8AC3E}">
        <p14:creationId xmlns:p14="http://schemas.microsoft.com/office/powerpoint/2010/main" val="240948583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5_Title Slide">
    <p:bg>
      <p:bgRef idx="1001">
        <a:schemeClr val="bg1"/>
      </p:bgRef>
    </p:bg>
    <p:spTree>
      <p:nvGrpSpPr>
        <p:cNvPr id="1" name=""/>
        <p:cNvGrpSpPr/>
        <p:nvPr/>
      </p:nvGrpSpPr>
      <p:grpSpPr>
        <a:xfrm>
          <a:off x="0" y="0"/>
          <a:ext cx="0" cy="0"/>
          <a:chOff x="0" y="0"/>
          <a:chExt cx="0" cy="0"/>
        </a:xfrm>
      </p:grpSpPr>
      <p:sp>
        <p:nvSpPr>
          <p:cNvPr id="35" name="Rectangle 34"/>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4840694" cy="1793090"/>
          </a:xfrm>
          <a:noFill/>
        </p:spPr>
        <p:txBody>
          <a:bodyPr lIns="146304" tIns="91440" rIns="146304" bIns="91440" anchor="t"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4840694"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3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pic>
        <p:nvPicPr>
          <p:cNvPr id="507" name="Picture 506"/>
          <p:cNvPicPr>
            <a:picLocks noChangeAspect="1"/>
          </p:cNvPicPr>
          <p:nvPr userDrawn="1"/>
        </p:nvPicPr>
        <p:blipFill>
          <a:blip r:embed="rId3"/>
          <a:stretch>
            <a:fillRect/>
          </a:stretch>
        </p:blipFill>
        <p:spPr>
          <a:xfrm>
            <a:off x="5695101" y="1509834"/>
            <a:ext cx="7282794" cy="3865808"/>
          </a:xfrm>
          <a:prstGeom prst="rect">
            <a:avLst/>
          </a:prstGeom>
        </p:spPr>
      </p:pic>
    </p:spTree>
    <p:extLst>
      <p:ext uri="{BB962C8B-B14F-4D97-AF65-F5344CB8AC3E}">
        <p14:creationId xmlns:p14="http://schemas.microsoft.com/office/powerpoint/2010/main" val="170940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ark Body w/ side image">
    <p:spTree>
      <p:nvGrpSpPr>
        <p:cNvPr id="1" name=""/>
        <p:cNvGrpSpPr/>
        <p:nvPr/>
      </p:nvGrpSpPr>
      <p:grpSpPr>
        <a:xfrm>
          <a:off x="0" y="0"/>
          <a:ext cx="0" cy="0"/>
          <a:chOff x="0" y="0"/>
          <a:chExt cx="0" cy="0"/>
        </a:xfrm>
      </p:grpSpPr>
      <p:sp>
        <p:nvSpPr>
          <p:cNvPr id="6" name="Picture Placeholder 3"/>
          <p:cNvSpPr>
            <a:spLocks noGrp="1"/>
          </p:cNvSpPr>
          <p:nvPr>
            <p:ph type="pic" sz="quarter" idx="15" hasCustomPrompt="1"/>
          </p:nvPr>
        </p:nvSpPr>
        <p:spPr>
          <a:xfrm>
            <a:off x="7999189" y="2035173"/>
            <a:ext cx="3760188" cy="490584"/>
          </a:xfrm>
          <a:prstGeom prst="rect">
            <a:avLst/>
          </a:prstGeom>
        </p:spPr>
        <p:txBody>
          <a:bodyPr/>
          <a:lstStyle>
            <a:lvl1pPr marL="0" marR="0" indent="0" algn="l" defTabSz="745743" rtl="0" eaLnBrk="1" fontAlgn="auto" latinLnBrk="0" hangingPunct="1">
              <a:lnSpc>
                <a:spcPct val="110000"/>
              </a:lnSpc>
              <a:spcBef>
                <a:spcPts val="1133"/>
              </a:spcBef>
              <a:spcAft>
                <a:spcPts val="567"/>
              </a:spcAft>
              <a:buClrTx/>
              <a:buSzTx/>
              <a:buFont typeface="Arial" panose="020B0604020202020204" pitchFamily="34" charset="0"/>
              <a:buNone/>
              <a:tabLst/>
              <a:defRPr sz="1961" baseline="0">
                <a:solidFill>
                  <a:schemeClr val="tx1"/>
                </a:solidFill>
              </a:defRPr>
            </a:lvl1pPr>
          </a:lstStyle>
          <a:p>
            <a:r>
              <a:rPr lang="en-US"/>
              <a:t>Insert Image (Optional)</a:t>
            </a:r>
          </a:p>
        </p:txBody>
      </p:sp>
      <p:sp>
        <p:nvSpPr>
          <p:cNvPr id="8" name="Text Placeholder 7"/>
          <p:cNvSpPr>
            <a:spLocks noGrp="1"/>
          </p:cNvSpPr>
          <p:nvPr>
            <p:ph type="body" sz="quarter" idx="17" hasCustomPrompt="1"/>
          </p:nvPr>
        </p:nvSpPr>
        <p:spPr>
          <a:xfrm>
            <a:off x="448269" y="2035173"/>
            <a:ext cx="7436728" cy="4045691"/>
          </a:xfrm>
          <a:prstGeom prst="rect">
            <a:avLst/>
          </a:prstGeom>
        </p:spPr>
        <p:txBody>
          <a:bodyPr>
            <a:noAutofit/>
          </a:bodyPr>
          <a:lstStyle>
            <a:lvl1pPr>
              <a:defRPr sz="1961"/>
            </a:lvl1pPr>
            <a:lvl2pPr>
              <a:defRPr sz="1568"/>
            </a:lvl2pPr>
            <a:lvl3pPr>
              <a:defRPr sz="1176"/>
            </a:lvl3pPr>
            <a:lvl4pPr>
              <a:defRPr sz="1176"/>
            </a:lvl4pPr>
            <a:lvl5pPr>
              <a:defRPr sz="107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C1DCBA5D-13F5-4DDD-B344-24E645BE37CF}"/>
              </a:ext>
            </a:extLst>
          </p:cNvPr>
          <p:cNvSpPr>
            <a:spLocks noGrp="1"/>
          </p:cNvSpPr>
          <p:nvPr>
            <p:ph type="title"/>
          </p:nvPr>
        </p:nvSpPr>
        <p:spPr/>
        <p:txBody>
          <a:bodyPr/>
          <a:lstStyle>
            <a:lvl1pPr>
              <a:defRPr sz="3921"/>
            </a:lvl1pPr>
          </a:lstStyle>
          <a:p>
            <a:r>
              <a:rPr lang="en-US"/>
              <a:t>Click to edit Master title style</a:t>
            </a:r>
          </a:p>
        </p:txBody>
      </p:sp>
    </p:spTree>
    <p:extLst>
      <p:ext uri="{BB962C8B-B14F-4D97-AF65-F5344CB8AC3E}">
        <p14:creationId xmlns:p14="http://schemas.microsoft.com/office/powerpoint/2010/main" val="7492337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5421687"/>
          </a:xfrm>
        </p:spPr>
        <p:txBody>
          <a:bodyPr>
            <a:normAutofit/>
          </a:bodyPr>
          <a:lstStyle>
            <a:lvl1pPr>
              <a:defRPr sz="3528">
                <a:gradFill>
                  <a:gsLst>
                    <a:gs pos="1250">
                      <a:schemeClr val="tx2"/>
                    </a:gs>
                    <a:gs pos="99000">
                      <a:schemeClr val="tx2"/>
                    </a:gs>
                  </a:gsLst>
                  <a:lin ang="5400000" scaled="0"/>
                </a:gradFill>
              </a:defRPr>
            </a:lvl1pPr>
            <a:lvl2pPr marL="672161" indent="-236500">
              <a:defRPr/>
            </a:lvl2pPr>
            <a:lvl3pPr marL="1120268" indent="-224054">
              <a:defRPr/>
            </a:lvl3pPr>
            <a:lvl4pPr marL="1456348" indent="-224054">
              <a:defRPr/>
            </a:lvl4pPr>
            <a:lvl5pPr marL="1792429" indent="-22405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389594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35701350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04094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69" y="0"/>
            <a:ext cx="5326931" cy="484094"/>
          </a:xfrm>
        </p:spPr>
        <p:txBody>
          <a:bodyPr vert="horz" wrap="square" lIns="127337" tIns="79586" rIns="127337" bIns="79586" rtlCol="0" anchor="t">
            <a:noAutofit/>
          </a:bodyPr>
          <a:lstStyle>
            <a:lvl1pPr marL="0" indent="0" algn="r" defTabSz="648691">
              <a:buFontTx/>
              <a:buNone/>
              <a:defRPr lang="en-US" sz="1235" b="0" cap="none" baseline="0" dirty="0">
                <a:ln w="3175">
                  <a:noFill/>
                </a:ln>
                <a:solidFill>
                  <a:schemeClr val="tx1"/>
                </a:solidFill>
                <a:effectLst/>
                <a:latin typeface="+mn-lt"/>
                <a:cs typeface="Segoe UI" pitchFamily="34" charset="0"/>
              </a:defRPr>
            </a:lvl1pPr>
          </a:lstStyle>
          <a:p>
            <a:pPr algn="r" defTabSz="735144"/>
            <a:r>
              <a:rPr lang="en-GB" sz="1059">
                <a:latin typeface="Segoe UI Light"/>
              </a:rPr>
              <a:t>Presenter: Insert Name / OneNote page:  / Slide 1 of X</a:t>
            </a:r>
            <a:endParaRPr lang="en-US" sz="1059">
              <a:latin typeface="Segoe UI Light"/>
            </a:endParaRPr>
          </a:p>
        </p:txBody>
      </p:sp>
      <p:sp>
        <p:nvSpPr>
          <p:cNvPr id="9" name="Title 1"/>
          <p:cNvSpPr>
            <a:spLocks noGrp="1"/>
          </p:cNvSpPr>
          <p:nvPr>
            <p:ph type="title"/>
          </p:nvPr>
        </p:nvSpPr>
        <p:spPr>
          <a:xfrm>
            <a:off x="217715" y="201706"/>
            <a:ext cx="7402286"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197809872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9" name="Title 1"/>
          <p:cNvSpPr>
            <a:spLocks noGrp="1"/>
          </p:cNvSpPr>
          <p:nvPr>
            <p:ph type="title"/>
          </p:nvPr>
        </p:nvSpPr>
        <p:spPr>
          <a:xfrm>
            <a:off x="217716" y="201706"/>
            <a:ext cx="11756571" cy="484094"/>
          </a:xfrm>
        </p:spPr>
        <p:txBody>
          <a:bodyPr lIns="45720" rIns="0" anchor="b"/>
          <a:lstStyle>
            <a:lvl1pPr>
              <a:defRPr sz="2118">
                <a:solidFill>
                  <a:schemeClr val="bg2">
                    <a:lumMod val="10000"/>
                  </a:schemeClr>
                </a:solidFill>
              </a:defRPr>
            </a:lvl1pPr>
          </a:lstStyle>
          <a:p>
            <a:r>
              <a:rPr lang="en-US"/>
              <a:t>Click to edit Master title style</a:t>
            </a:r>
          </a:p>
        </p:txBody>
      </p:sp>
    </p:spTree>
    <p:extLst>
      <p:ext uri="{BB962C8B-B14F-4D97-AF65-F5344CB8AC3E}">
        <p14:creationId xmlns:p14="http://schemas.microsoft.com/office/powerpoint/2010/main" val="381418114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245793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384" y="6043943"/>
            <a:ext cx="1880002" cy="805829"/>
          </a:xfrm>
          <a:prstGeom prst="rect">
            <a:avLst/>
          </a:prstGeom>
        </p:spPr>
      </p:pic>
      <p:sp>
        <p:nvSpPr>
          <p:cNvPr id="5"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137F5A6-59D9-9242-AE3B-E235E9FEDF56}" type="slidenum">
              <a:rPr kumimoji="0" lang="en-US" sz="980" b="0" i="0" u="none" strike="noStrike" kern="1200" cap="none" spc="0" normalizeH="0" baseline="0" noProof="0" smtClean="0">
                <a:ln>
                  <a:noFill/>
                </a:ln>
                <a:solidFill>
                  <a:srgbClr val="505050"/>
                </a:solidFill>
                <a:effectLst/>
                <a:uLnTx/>
                <a:uFillTx/>
                <a:latin typeface="Segoe UI Semilight"/>
                <a:ea typeface="+mn-ea"/>
                <a:cs typeface="Segoe UI Light"/>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a:ln>
                <a:noFill/>
              </a:ln>
              <a:solidFill>
                <a:srgbClr val="505050"/>
              </a:solidFill>
              <a:effectLst/>
              <a:uLnTx/>
              <a:uFillTx/>
              <a:latin typeface="Segoe UI Semilight"/>
              <a:ea typeface="+mn-ea"/>
              <a:cs typeface="Segoe UI Light"/>
            </a:endParaRPr>
          </a:p>
        </p:txBody>
      </p:sp>
    </p:spTree>
    <p:extLst>
      <p:ext uri="{BB962C8B-B14F-4D97-AF65-F5344CB8AC3E}">
        <p14:creationId xmlns:p14="http://schemas.microsoft.com/office/powerpoint/2010/main" val="87044133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11B60C7-EFDD-4B44-9A61-2D5752A2D5E0}"/>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0BFC90D6-6901-4ECF-9413-2375FC569E87}"/>
              </a:ext>
            </a:extLst>
          </p:cNvPr>
          <p:cNvSpPr>
            <a:spLocks noGrp="1"/>
          </p:cNvSpPr>
          <p:nvPr>
            <p:ph type="dt" sz="half" idx="10"/>
          </p:nvPr>
        </p:nvSpPr>
        <p:spPr/>
        <p:txBody>
          <a:bodyPr/>
          <a:lstStyle/>
          <a:p>
            <a:fld id="{7F7168B6-0456-4BA7-BC47-2DC6592D883A}" type="datetimeFigureOut">
              <a:rPr kumimoji="1" lang="ja-JP" altLang="en-US" smtClean="0"/>
              <a:t>2020/6/26</a:t>
            </a:fld>
            <a:endParaRPr kumimoji="1" lang="ja-JP" altLang="en-US"/>
          </a:p>
        </p:txBody>
      </p:sp>
      <p:sp>
        <p:nvSpPr>
          <p:cNvPr id="4" name="フッター プレースホルダー 3">
            <a:extLst>
              <a:ext uri="{FF2B5EF4-FFF2-40B4-BE49-F238E27FC236}">
                <a16:creationId xmlns:a16="http://schemas.microsoft.com/office/drawing/2014/main" id="{8DBA2D81-EA64-42BC-94BB-3362837B7D64}"/>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10D8402D-FD07-4C23-89E0-CCEFDF847ABB}"/>
              </a:ext>
            </a:extLst>
          </p:cNvPr>
          <p:cNvSpPr>
            <a:spLocks noGrp="1"/>
          </p:cNvSpPr>
          <p:nvPr>
            <p:ph type="sldNum" sz="quarter" idx="12"/>
          </p:nvPr>
        </p:nvSpPr>
        <p:spPr/>
        <p:txBody>
          <a:bodyPr/>
          <a:lstStyle/>
          <a:p>
            <a:fld id="{1D070452-9B70-4220-999F-8F9A5EA3A125}" type="slidenum">
              <a:rPr kumimoji="1" lang="ja-JP" altLang="en-US" smtClean="0"/>
              <a:t>‹#›</a:t>
            </a:fld>
            <a:endParaRPr kumimoji="1" lang="ja-JP" altLang="en-US"/>
          </a:p>
        </p:txBody>
      </p:sp>
    </p:spTree>
    <p:extLst>
      <p:ext uri="{BB962C8B-B14F-4D97-AF65-F5344CB8AC3E}">
        <p14:creationId xmlns:p14="http://schemas.microsoft.com/office/powerpoint/2010/main" val="105081983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77A80767-0168-4202-AF54-9FDB461E3B29}" type="slidenum">
              <a:rPr lang="en-US" smtClean="0"/>
              <a:pPr/>
              <a:t>‹#›</a:t>
            </a:fld>
            <a:endParaRPr lang="en-US"/>
          </a:p>
        </p:txBody>
      </p:sp>
      <p:sp>
        <p:nvSpPr>
          <p:cNvPr id="4" name="Title Placeholder 1">
            <a:extLst>
              <a:ext uri="{FF2B5EF4-FFF2-40B4-BE49-F238E27FC236}">
                <a16:creationId xmlns:a16="http://schemas.microsoft.com/office/drawing/2014/main" id="{0566DA91-9CCE-4F12-8091-6B001FEC79A2}"/>
              </a:ext>
            </a:extLst>
          </p:cNvPr>
          <p:cNvSpPr>
            <a:spLocks noGrp="1"/>
          </p:cNvSpPr>
          <p:nvPr>
            <p:ph type="title"/>
          </p:nvPr>
        </p:nvSpPr>
        <p:spPr>
          <a:xfrm>
            <a:off x="390833" y="467180"/>
            <a:ext cx="11416300" cy="511268"/>
          </a:xfrm>
          <a:prstGeom prst="rect">
            <a:avLst/>
          </a:prstGeom>
        </p:spPr>
        <p:txBody>
          <a:bodyPr vert="horz" wrap="square" lIns="0" tIns="91440" rIns="0" bIns="91440" rtlCol="0" anchor="t">
            <a:noAutofit/>
          </a:bodyPr>
          <a:lstStyle/>
          <a:p>
            <a:r>
              <a:rPr lang="en-US"/>
              <a:t>Click to edit Master title style</a:t>
            </a:r>
          </a:p>
        </p:txBody>
      </p:sp>
    </p:spTree>
    <p:extLst>
      <p:ext uri="{BB962C8B-B14F-4D97-AF65-F5344CB8AC3E}">
        <p14:creationId xmlns:p14="http://schemas.microsoft.com/office/powerpoint/2010/main" val="180842479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only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7A80767-0168-4202-AF54-9FDB461E3B29}"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 name="Title Placeholder 1">
            <a:extLst>
              <a:ext uri="{FF2B5EF4-FFF2-40B4-BE49-F238E27FC236}">
                <a16:creationId xmlns:a16="http://schemas.microsoft.com/office/drawing/2014/main" id="{0566DA91-9CCE-4F12-8091-6B001FEC79A2}"/>
              </a:ext>
            </a:extLst>
          </p:cNvPr>
          <p:cNvSpPr>
            <a:spLocks noGrp="1"/>
          </p:cNvSpPr>
          <p:nvPr>
            <p:ph type="title"/>
          </p:nvPr>
        </p:nvSpPr>
        <p:spPr>
          <a:xfrm>
            <a:off x="390833" y="467180"/>
            <a:ext cx="11416300" cy="511268"/>
          </a:xfrm>
          <a:prstGeom prst="rect">
            <a:avLst/>
          </a:prstGeom>
        </p:spPr>
        <p:txBody>
          <a:bodyPr vert="horz" wrap="square" lIns="0" tIns="91440" rIns="0" bIns="91440" rtlCol="0" anchor="t">
            <a:noAutofit/>
          </a:bodyPr>
          <a:lstStyle/>
          <a:p>
            <a:r>
              <a:rPr lang="en-US"/>
              <a:t>Click to edit Master title style</a:t>
            </a:r>
          </a:p>
        </p:txBody>
      </p:sp>
    </p:spTree>
    <p:extLst>
      <p:ext uri="{BB962C8B-B14F-4D97-AF65-F5344CB8AC3E}">
        <p14:creationId xmlns:p14="http://schemas.microsoft.com/office/powerpoint/2010/main" val="267836871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000" b="0" i="0" baseline="0">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0" i="0" spc="-60" baseline="0">
                <a:solidFill>
                  <a:schemeClr val="tx2"/>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Text Placeholder 6">
            <a:extLst>
              <a:ext uri="{FF2B5EF4-FFF2-40B4-BE49-F238E27FC236}">
                <a16:creationId xmlns:a16="http://schemas.microsoft.com/office/drawing/2014/main" id="{BD5B5418-980D-C64C-AD17-C5AB88362FAB}"/>
              </a:ext>
            </a:extLst>
          </p:cNvPr>
          <p:cNvSpPr>
            <a:spLocks noGrp="1"/>
          </p:cNvSpPr>
          <p:nvPr>
            <p:ph type="body" sz="quarter" idx="29"/>
          </p:nvPr>
        </p:nvSpPr>
        <p:spPr>
          <a:xfrm>
            <a:off x="457200" y="1737361"/>
            <a:ext cx="11277599" cy="4642802"/>
          </a:xfrm>
        </p:spPr>
        <p:txBody>
          <a:bodyPr t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6258307"/>
      </p:ext>
    </p:extLst>
  </p:cSld>
  <p:clrMapOvr>
    <a:masterClrMapping/>
  </p:clrMapOvr>
  <p:hf hdr="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406677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DEFAULT_Title_Bulleted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74D392-A269-4E57-89D6-0403897A583F}"/>
              </a:ext>
            </a:extLst>
          </p:cNvPr>
          <p:cNvSpPr>
            <a:spLocks noGrp="1"/>
          </p:cNvSpPr>
          <p:nvPr>
            <p:ph sz="quarter" idx="19"/>
          </p:nvPr>
        </p:nvSpPr>
        <p:spPr>
          <a:xfrm>
            <a:off x="217715" y="821943"/>
            <a:ext cx="11753548" cy="501804"/>
          </a:xfrm>
        </p:spPr>
        <p:txBody>
          <a:bodyPr/>
          <a:lstStyle/>
          <a:p>
            <a:pPr lvl="0"/>
            <a:r>
              <a:rPr lang="en-US"/>
              <a:t>Edit Master text styles</a:t>
            </a:r>
          </a:p>
        </p:txBody>
      </p:sp>
      <p:sp>
        <p:nvSpPr>
          <p:cNvPr id="6" name="Title 2" descr="txt_content_slide_title">
            <a:extLst>
              <a:ext uri="{FF2B5EF4-FFF2-40B4-BE49-F238E27FC236}">
                <a16:creationId xmlns:a16="http://schemas.microsoft.com/office/drawing/2014/main" id="{AA5BFB2B-13E8-460D-94FD-9DABF9D69740}"/>
              </a:ext>
            </a:extLst>
          </p:cNvPr>
          <p:cNvSpPr>
            <a:spLocks noGrp="1"/>
          </p:cNvSpPr>
          <p:nvPr>
            <p:ph type="title" hasCustomPrompt="1"/>
          </p:nvPr>
        </p:nvSpPr>
        <p:spPr>
          <a:xfrm>
            <a:off x="217717" y="201712"/>
            <a:ext cx="8360231" cy="484095"/>
          </a:xfrm>
        </p:spPr>
        <p:txBody>
          <a:bodyPr/>
          <a:lstStyle>
            <a:lvl1pPr algn="l" defTabSz="214198" rtl="0" eaLnBrk="1" latinLnBrk="0" hangingPunct="1">
              <a:lnSpc>
                <a:spcPct val="90000"/>
              </a:lnSpc>
              <a:spcBef>
                <a:spcPct val="0"/>
              </a:spcBef>
              <a:buNone/>
              <a:defRPr lang="en-US" sz="2118" b="1" kern="1200" cap="none" spc="-25" baseline="0">
                <a:ln w="3175">
                  <a:noFill/>
                </a:ln>
                <a:solidFill>
                  <a:schemeClr val="bg2">
                    <a:lumMod val="10000"/>
                  </a:schemeClr>
                </a:solidFill>
                <a:effectLst/>
                <a:latin typeface="+mj-lt"/>
                <a:ea typeface="+mn-ea"/>
                <a:cs typeface="Segoe UI Light" panose="020B0502040204020203" pitchFamily="34" charset="0"/>
              </a:defRPr>
            </a:lvl1pPr>
          </a:lstStyle>
          <a:p>
            <a:r>
              <a:rPr lang="en-US">
                <a:solidFill>
                  <a:srgbClr val="505050"/>
                </a:solidFill>
                <a:latin typeface="Segoe UI Semibold" panose="020B0702040204020203" pitchFamily="34" charset="0"/>
                <a:cs typeface="Segoe UI Semibold" panose="020B0702040204020203" pitchFamily="34" charset="0"/>
              </a:rPr>
              <a:t>&lt;Topic&gt;</a:t>
            </a:r>
            <a:endParaRPr lang="en-US"/>
          </a:p>
        </p:txBody>
      </p:sp>
      <p:sp>
        <p:nvSpPr>
          <p:cNvPr id="8" name="Text Placeholder 4">
            <a:extLst>
              <a:ext uri="{FF2B5EF4-FFF2-40B4-BE49-F238E27FC236}">
                <a16:creationId xmlns:a16="http://schemas.microsoft.com/office/drawing/2014/main" id="{85F667C6-AE81-44F0-A487-A2463964D9C4}"/>
              </a:ext>
            </a:extLst>
          </p:cNvPr>
          <p:cNvSpPr>
            <a:spLocks noGrp="1"/>
          </p:cNvSpPr>
          <p:nvPr>
            <p:ph type="body" sz="quarter" idx="18" hasCustomPrompt="1"/>
          </p:nvPr>
        </p:nvSpPr>
        <p:spPr>
          <a:xfrm>
            <a:off x="9502017" y="6586596"/>
            <a:ext cx="2472267" cy="275075"/>
          </a:xfrm>
        </p:spPr>
        <p:txBody>
          <a:bodyPr/>
          <a:lstStyle>
            <a:lvl1pPr marL="0" indent="0">
              <a:buNone/>
              <a:defRPr sz="653" b="0">
                <a:latin typeface="+mj-lt"/>
                <a:ea typeface="Microsoft Himalaya" panose="01010100010101010101" pitchFamily="2" charset="0"/>
                <a:cs typeface="Microsoft Himalaya" panose="01010100010101010101" pitchFamily="2" charset="0"/>
              </a:defRPr>
            </a:lvl1pPr>
          </a:lstStyle>
          <a:p>
            <a:pPr lvl="0"/>
            <a:r>
              <a:rPr lang="en-US"/>
              <a:t>Slide Lock Date:</a:t>
            </a:r>
          </a:p>
        </p:txBody>
      </p:sp>
      <p:sp>
        <p:nvSpPr>
          <p:cNvPr id="9" name="Text Placeholder 6">
            <a:extLst>
              <a:ext uri="{FF2B5EF4-FFF2-40B4-BE49-F238E27FC236}">
                <a16:creationId xmlns:a16="http://schemas.microsoft.com/office/drawing/2014/main" id="{04A709E9-275C-48B6-AFDE-9BB462E4AE16}"/>
              </a:ext>
            </a:extLst>
          </p:cNvPr>
          <p:cNvSpPr>
            <a:spLocks noGrp="1"/>
          </p:cNvSpPr>
          <p:nvPr>
            <p:ph type="body" sz="quarter" idx="12" hasCustomPrompt="1"/>
          </p:nvPr>
        </p:nvSpPr>
        <p:spPr>
          <a:xfrm>
            <a:off x="8575187" y="201717"/>
            <a:ext cx="3396343" cy="484094"/>
          </a:xfrm>
        </p:spPr>
        <p:txBody>
          <a:bodyPr vert="horz" wrap="square" lIns="127337" tIns="79586" rIns="127337" bIns="79586" rtlCol="0" anchor="t">
            <a:noAutofit/>
          </a:bodyPr>
          <a:lstStyle>
            <a:lvl1pPr marL="0" indent="0" algn="r" defTabSz="648691">
              <a:buFontTx/>
              <a:buNone/>
              <a:defRPr lang="en-US" sz="982" b="0" cap="none" dirty="0">
                <a:ln w="3175">
                  <a:noFill/>
                </a:ln>
                <a:solidFill>
                  <a:schemeClr val="tx1"/>
                </a:solidFill>
                <a:effectLst/>
                <a:latin typeface="+mn-lt"/>
                <a:cs typeface="Segoe UI" pitchFamily="34" charset="0"/>
              </a:defRPr>
            </a:lvl1pPr>
          </a:lstStyle>
          <a:p>
            <a:pPr algn="r" defTabSz="735144"/>
            <a:r>
              <a:rPr lang="en-GB" sz="842">
                <a:latin typeface="Segoe UI Light"/>
              </a:rPr>
              <a:t>Presenter:  Insert Name </a:t>
            </a:r>
          </a:p>
          <a:p>
            <a:pPr algn="r" defTabSz="735144"/>
            <a:r>
              <a:rPr lang="en-GB" sz="842">
                <a:latin typeface="Segoe UI Light"/>
              </a:rPr>
              <a:t>OneNote page:  / Slide 1 of X</a:t>
            </a:r>
            <a:endParaRPr lang="en-US" sz="842">
              <a:latin typeface="Segoe UI Light"/>
            </a:endParaRPr>
          </a:p>
        </p:txBody>
      </p:sp>
    </p:spTree>
    <p:extLst>
      <p:ext uri="{BB962C8B-B14F-4D97-AF65-F5344CB8AC3E}">
        <p14:creationId xmlns:p14="http://schemas.microsoft.com/office/powerpoint/2010/main" val="271528205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alkin slide">
    <p:spTree>
      <p:nvGrpSpPr>
        <p:cNvPr id="1" name=""/>
        <p:cNvGrpSpPr/>
        <p:nvPr/>
      </p:nvGrpSpPr>
      <p:grpSpPr>
        <a:xfrm>
          <a:off x="0" y="0"/>
          <a:ext cx="0" cy="0"/>
          <a:chOff x="0" y="0"/>
          <a:chExt cx="0" cy="0"/>
        </a:xfrm>
      </p:grpSpPr>
      <p:sp>
        <p:nvSpPr>
          <p:cNvPr id="9" name="Rectangle 8"/>
          <p:cNvSpPr/>
          <p:nvPr/>
        </p:nvSpPr>
        <p:spPr bwMode="auto">
          <a:xfrm>
            <a:off x="8926286" y="399214"/>
            <a:ext cx="2830286" cy="25815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5101" tIns="68082" rIns="85101" bIns="68082"/>
          <a:lstStyle/>
          <a:p>
            <a:pPr algn="ctr" defTabSz="542394" eaLnBrk="1" hangingPunct="1">
              <a:lnSpc>
                <a:spcPct val="90000"/>
              </a:lnSpc>
              <a:defRPr/>
            </a:pPr>
            <a:endParaRPr lang="en-US" sz="1396">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435435" y="3021390"/>
            <a:ext cx="2786441" cy="26221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5101" tIns="68082" rIns="85101" bIns="68082"/>
          <a:lstStyle/>
          <a:p>
            <a:pPr algn="ctr" defTabSz="542394" eaLnBrk="1" hangingPunct="1">
              <a:lnSpc>
                <a:spcPct val="90000"/>
              </a:lnSpc>
              <a:defRPr/>
            </a:pPr>
            <a:endParaRPr lang="en-US" sz="1396">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096007" y="3021390"/>
            <a:ext cx="2786441" cy="262217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5101" tIns="68082" rIns="85101" bIns="68082"/>
          <a:lstStyle/>
          <a:p>
            <a:pPr algn="ctr" defTabSz="542394" eaLnBrk="1" hangingPunct="1">
              <a:lnSpc>
                <a:spcPct val="90000"/>
              </a:lnSpc>
              <a:defRPr/>
            </a:pPr>
            <a:endParaRPr lang="en-US" sz="1396">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6"/>
          <p:cNvSpPr>
            <a:spLocks noEditPoints="1"/>
          </p:cNvSpPr>
          <p:nvPr/>
        </p:nvSpPr>
        <p:spPr bwMode="auto">
          <a:xfrm>
            <a:off x="9664095" y="1227046"/>
            <a:ext cx="1354667" cy="925886"/>
          </a:xfrm>
          <a:custGeom>
            <a:avLst/>
            <a:gdLst>
              <a:gd name="T0" fmla="*/ 474663 w 896"/>
              <a:gd name="T1" fmla="*/ 381000 h 661"/>
              <a:gd name="T2" fmla="*/ 474663 w 896"/>
              <a:gd name="T3" fmla="*/ 954088 h 661"/>
              <a:gd name="T4" fmla="*/ 95250 w 896"/>
              <a:gd name="T5" fmla="*/ 954088 h 661"/>
              <a:gd name="T6" fmla="*/ 95250 w 896"/>
              <a:gd name="T7" fmla="*/ 381000 h 661"/>
              <a:gd name="T8" fmla="*/ 474663 w 896"/>
              <a:gd name="T9" fmla="*/ 381000 h 661"/>
              <a:gd name="T10" fmla="*/ 568325 w 896"/>
              <a:gd name="T11" fmla="*/ 285750 h 661"/>
              <a:gd name="T12" fmla="*/ 0 w 896"/>
              <a:gd name="T13" fmla="*/ 285750 h 661"/>
              <a:gd name="T14" fmla="*/ 0 w 896"/>
              <a:gd name="T15" fmla="*/ 1049338 h 661"/>
              <a:gd name="T16" fmla="*/ 568325 w 896"/>
              <a:gd name="T17" fmla="*/ 1049338 h 661"/>
              <a:gd name="T18" fmla="*/ 568325 w 896"/>
              <a:gd name="T19" fmla="*/ 285750 h 661"/>
              <a:gd name="T20" fmla="*/ 568325 w 896"/>
              <a:gd name="T21" fmla="*/ 285750 h 661"/>
              <a:gd name="T22" fmla="*/ 0 w 896"/>
              <a:gd name="T23" fmla="*/ 0 h 661"/>
              <a:gd name="T24" fmla="*/ 0 w 896"/>
              <a:gd name="T25" fmla="*/ 47625 h 661"/>
              <a:gd name="T26" fmla="*/ 0 w 896"/>
              <a:gd name="T27" fmla="*/ 95250 h 661"/>
              <a:gd name="T28" fmla="*/ 0 w 896"/>
              <a:gd name="T29" fmla="*/ 190500 h 661"/>
              <a:gd name="T30" fmla="*/ 95250 w 896"/>
              <a:gd name="T31" fmla="*/ 190500 h 661"/>
              <a:gd name="T32" fmla="*/ 95250 w 896"/>
              <a:gd name="T33" fmla="*/ 95250 h 661"/>
              <a:gd name="T34" fmla="*/ 1327150 w 896"/>
              <a:gd name="T35" fmla="*/ 95250 h 661"/>
              <a:gd name="T36" fmla="*/ 1327150 w 896"/>
              <a:gd name="T37" fmla="*/ 763588 h 661"/>
              <a:gd name="T38" fmla="*/ 663575 w 896"/>
              <a:gd name="T39" fmla="*/ 763588 h 661"/>
              <a:gd name="T40" fmla="*/ 663575 w 896"/>
              <a:gd name="T41" fmla="*/ 858838 h 661"/>
              <a:gd name="T42" fmla="*/ 663575 w 896"/>
              <a:gd name="T43" fmla="*/ 954088 h 661"/>
              <a:gd name="T44" fmla="*/ 663575 w 896"/>
              <a:gd name="T45" fmla="*/ 1049338 h 661"/>
              <a:gd name="T46" fmla="*/ 947738 w 896"/>
              <a:gd name="T47" fmla="*/ 1049338 h 661"/>
              <a:gd name="T48" fmla="*/ 947738 w 896"/>
              <a:gd name="T49" fmla="*/ 954088 h 661"/>
              <a:gd name="T50" fmla="*/ 758825 w 896"/>
              <a:gd name="T51" fmla="*/ 954088 h 661"/>
              <a:gd name="T52" fmla="*/ 758825 w 896"/>
              <a:gd name="T53" fmla="*/ 858838 h 661"/>
              <a:gd name="T54" fmla="*/ 1327150 w 896"/>
              <a:gd name="T55" fmla="*/ 858838 h 661"/>
              <a:gd name="T56" fmla="*/ 1374775 w 896"/>
              <a:gd name="T57" fmla="*/ 858838 h 661"/>
              <a:gd name="T58" fmla="*/ 1422400 w 896"/>
              <a:gd name="T59" fmla="*/ 858838 h 661"/>
              <a:gd name="T60" fmla="*/ 1422400 w 896"/>
              <a:gd name="T61" fmla="*/ 95250 h 661"/>
              <a:gd name="T62" fmla="*/ 1422400 w 896"/>
              <a:gd name="T63" fmla="*/ 47625 h 661"/>
              <a:gd name="T64" fmla="*/ 1422400 w 896"/>
              <a:gd name="T65" fmla="*/ 0 h 661"/>
              <a:gd name="T66" fmla="*/ 0 w 896"/>
              <a:gd name="T67" fmla="*/ 0 h 6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96" h="661">
                <a:moveTo>
                  <a:pt x="299" y="240"/>
                </a:moveTo>
                <a:lnTo>
                  <a:pt x="299" y="601"/>
                </a:lnTo>
                <a:lnTo>
                  <a:pt x="60" y="601"/>
                </a:lnTo>
                <a:lnTo>
                  <a:pt x="60" y="240"/>
                </a:lnTo>
                <a:lnTo>
                  <a:pt x="299" y="240"/>
                </a:lnTo>
                <a:moveTo>
                  <a:pt x="358" y="180"/>
                </a:moveTo>
                <a:lnTo>
                  <a:pt x="0" y="180"/>
                </a:lnTo>
                <a:lnTo>
                  <a:pt x="0" y="661"/>
                </a:lnTo>
                <a:lnTo>
                  <a:pt x="358" y="661"/>
                </a:lnTo>
                <a:lnTo>
                  <a:pt x="358" y="180"/>
                </a:lnTo>
                <a:moveTo>
                  <a:pt x="0" y="0"/>
                </a:moveTo>
                <a:lnTo>
                  <a:pt x="0" y="30"/>
                </a:lnTo>
                <a:lnTo>
                  <a:pt x="0" y="60"/>
                </a:lnTo>
                <a:lnTo>
                  <a:pt x="0" y="120"/>
                </a:lnTo>
                <a:lnTo>
                  <a:pt x="60" y="120"/>
                </a:lnTo>
                <a:lnTo>
                  <a:pt x="60" y="60"/>
                </a:lnTo>
                <a:lnTo>
                  <a:pt x="836" y="60"/>
                </a:lnTo>
                <a:lnTo>
                  <a:pt x="836" y="481"/>
                </a:lnTo>
                <a:lnTo>
                  <a:pt x="418" y="481"/>
                </a:lnTo>
                <a:lnTo>
                  <a:pt x="418" y="541"/>
                </a:lnTo>
                <a:lnTo>
                  <a:pt x="418" y="601"/>
                </a:lnTo>
                <a:lnTo>
                  <a:pt x="418" y="661"/>
                </a:lnTo>
                <a:lnTo>
                  <a:pt x="597" y="661"/>
                </a:lnTo>
                <a:lnTo>
                  <a:pt x="597" y="601"/>
                </a:lnTo>
                <a:lnTo>
                  <a:pt x="478" y="601"/>
                </a:lnTo>
                <a:lnTo>
                  <a:pt x="478" y="541"/>
                </a:lnTo>
                <a:lnTo>
                  <a:pt x="836" y="541"/>
                </a:lnTo>
                <a:lnTo>
                  <a:pt x="866" y="541"/>
                </a:lnTo>
                <a:lnTo>
                  <a:pt x="896" y="541"/>
                </a:lnTo>
                <a:lnTo>
                  <a:pt x="896" y="60"/>
                </a:lnTo>
                <a:lnTo>
                  <a:pt x="896" y="30"/>
                </a:lnTo>
                <a:lnTo>
                  <a:pt x="89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083"/>
          </a:p>
        </p:txBody>
      </p:sp>
      <p:sp>
        <p:nvSpPr>
          <p:cNvPr id="14" name="Freeform 5"/>
          <p:cNvSpPr>
            <a:spLocks noEditPoints="1"/>
          </p:cNvSpPr>
          <p:nvPr/>
        </p:nvSpPr>
        <p:spPr bwMode="auto">
          <a:xfrm>
            <a:off x="9664095" y="1227046"/>
            <a:ext cx="1354667" cy="925886"/>
          </a:xfrm>
          <a:custGeom>
            <a:avLst/>
            <a:gdLst>
              <a:gd name="T0" fmla="*/ 474663 w 896"/>
              <a:gd name="T1" fmla="*/ 381000 h 661"/>
              <a:gd name="T2" fmla="*/ 474663 w 896"/>
              <a:gd name="T3" fmla="*/ 954088 h 661"/>
              <a:gd name="T4" fmla="*/ 95250 w 896"/>
              <a:gd name="T5" fmla="*/ 954088 h 661"/>
              <a:gd name="T6" fmla="*/ 95250 w 896"/>
              <a:gd name="T7" fmla="*/ 381000 h 661"/>
              <a:gd name="T8" fmla="*/ 474663 w 896"/>
              <a:gd name="T9" fmla="*/ 381000 h 661"/>
              <a:gd name="T10" fmla="*/ 568325 w 896"/>
              <a:gd name="T11" fmla="*/ 285750 h 661"/>
              <a:gd name="T12" fmla="*/ 0 w 896"/>
              <a:gd name="T13" fmla="*/ 285750 h 661"/>
              <a:gd name="T14" fmla="*/ 0 w 896"/>
              <a:gd name="T15" fmla="*/ 1049338 h 661"/>
              <a:gd name="T16" fmla="*/ 568325 w 896"/>
              <a:gd name="T17" fmla="*/ 1049338 h 661"/>
              <a:gd name="T18" fmla="*/ 568325 w 896"/>
              <a:gd name="T19" fmla="*/ 285750 h 661"/>
              <a:gd name="T20" fmla="*/ 568325 w 896"/>
              <a:gd name="T21" fmla="*/ 285750 h 661"/>
              <a:gd name="T22" fmla="*/ 0 w 896"/>
              <a:gd name="T23" fmla="*/ 0 h 661"/>
              <a:gd name="T24" fmla="*/ 0 w 896"/>
              <a:gd name="T25" fmla="*/ 47625 h 661"/>
              <a:gd name="T26" fmla="*/ 0 w 896"/>
              <a:gd name="T27" fmla="*/ 95250 h 661"/>
              <a:gd name="T28" fmla="*/ 0 w 896"/>
              <a:gd name="T29" fmla="*/ 190500 h 661"/>
              <a:gd name="T30" fmla="*/ 95250 w 896"/>
              <a:gd name="T31" fmla="*/ 190500 h 661"/>
              <a:gd name="T32" fmla="*/ 95250 w 896"/>
              <a:gd name="T33" fmla="*/ 95250 h 661"/>
              <a:gd name="T34" fmla="*/ 1327150 w 896"/>
              <a:gd name="T35" fmla="*/ 95250 h 661"/>
              <a:gd name="T36" fmla="*/ 1327150 w 896"/>
              <a:gd name="T37" fmla="*/ 763588 h 661"/>
              <a:gd name="T38" fmla="*/ 663575 w 896"/>
              <a:gd name="T39" fmla="*/ 763588 h 661"/>
              <a:gd name="T40" fmla="*/ 663575 w 896"/>
              <a:gd name="T41" fmla="*/ 858838 h 661"/>
              <a:gd name="T42" fmla="*/ 663575 w 896"/>
              <a:gd name="T43" fmla="*/ 954088 h 661"/>
              <a:gd name="T44" fmla="*/ 663575 w 896"/>
              <a:gd name="T45" fmla="*/ 1049338 h 661"/>
              <a:gd name="T46" fmla="*/ 947738 w 896"/>
              <a:gd name="T47" fmla="*/ 1049338 h 661"/>
              <a:gd name="T48" fmla="*/ 947738 w 896"/>
              <a:gd name="T49" fmla="*/ 954088 h 661"/>
              <a:gd name="T50" fmla="*/ 758825 w 896"/>
              <a:gd name="T51" fmla="*/ 954088 h 661"/>
              <a:gd name="T52" fmla="*/ 758825 w 896"/>
              <a:gd name="T53" fmla="*/ 858838 h 661"/>
              <a:gd name="T54" fmla="*/ 1327150 w 896"/>
              <a:gd name="T55" fmla="*/ 858838 h 661"/>
              <a:gd name="T56" fmla="*/ 1374775 w 896"/>
              <a:gd name="T57" fmla="*/ 858838 h 661"/>
              <a:gd name="T58" fmla="*/ 1422400 w 896"/>
              <a:gd name="T59" fmla="*/ 858838 h 661"/>
              <a:gd name="T60" fmla="*/ 1422400 w 896"/>
              <a:gd name="T61" fmla="*/ 95250 h 661"/>
              <a:gd name="T62" fmla="*/ 1422400 w 896"/>
              <a:gd name="T63" fmla="*/ 47625 h 661"/>
              <a:gd name="T64" fmla="*/ 1422400 w 896"/>
              <a:gd name="T65" fmla="*/ 0 h 661"/>
              <a:gd name="T66" fmla="*/ 0 w 896"/>
              <a:gd name="T67" fmla="*/ 0 h 6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96" h="661">
                <a:moveTo>
                  <a:pt x="299" y="240"/>
                </a:moveTo>
                <a:lnTo>
                  <a:pt x="299" y="601"/>
                </a:lnTo>
                <a:lnTo>
                  <a:pt x="60" y="601"/>
                </a:lnTo>
                <a:lnTo>
                  <a:pt x="60" y="240"/>
                </a:lnTo>
                <a:lnTo>
                  <a:pt x="299" y="240"/>
                </a:lnTo>
                <a:close/>
                <a:moveTo>
                  <a:pt x="358" y="180"/>
                </a:moveTo>
                <a:lnTo>
                  <a:pt x="0" y="180"/>
                </a:lnTo>
                <a:lnTo>
                  <a:pt x="0" y="661"/>
                </a:lnTo>
                <a:lnTo>
                  <a:pt x="358" y="661"/>
                </a:lnTo>
                <a:lnTo>
                  <a:pt x="358" y="180"/>
                </a:lnTo>
                <a:close/>
                <a:moveTo>
                  <a:pt x="0" y="0"/>
                </a:moveTo>
                <a:lnTo>
                  <a:pt x="0" y="30"/>
                </a:lnTo>
                <a:lnTo>
                  <a:pt x="0" y="60"/>
                </a:lnTo>
                <a:lnTo>
                  <a:pt x="0" y="120"/>
                </a:lnTo>
                <a:lnTo>
                  <a:pt x="60" y="120"/>
                </a:lnTo>
                <a:lnTo>
                  <a:pt x="60" y="60"/>
                </a:lnTo>
                <a:lnTo>
                  <a:pt x="836" y="60"/>
                </a:lnTo>
                <a:lnTo>
                  <a:pt x="836" y="481"/>
                </a:lnTo>
                <a:lnTo>
                  <a:pt x="418" y="481"/>
                </a:lnTo>
                <a:lnTo>
                  <a:pt x="418" y="541"/>
                </a:lnTo>
                <a:lnTo>
                  <a:pt x="418" y="601"/>
                </a:lnTo>
                <a:lnTo>
                  <a:pt x="418" y="661"/>
                </a:lnTo>
                <a:lnTo>
                  <a:pt x="597" y="661"/>
                </a:lnTo>
                <a:lnTo>
                  <a:pt x="597" y="601"/>
                </a:lnTo>
                <a:lnTo>
                  <a:pt x="478" y="601"/>
                </a:lnTo>
                <a:lnTo>
                  <a:pt x="478" y="541"/>
                </a:lnTo>
                <a:lnTo>
                  <a:pt x="836" y="541"/>
                </a:lnTo>
                <a:lnTo>
                  <a:pt x="866" y="541"/>
                </a:lnTo>
                <a:lnTo>
                  <a:pt x="896" y="541"/>
                </a:lnTo>
                <a:lnTo>
                  <a:pt x="896" y="60"/>
                </a:lnTo>
                <a:lnTo>
                  <a:pt x="896" y="30"/>
                </a:lnTo>
                <a:lnTo>
                  <a:pt x="89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83"/>
          </a:p>
        </p:txBody>
      </p:sp>
      <p:sp>
        <p:nvSpPr>
          <p:cNvPr id="15" name="Freeform 10"/>
          <p:cNvSpPr>
            <a:spLocks noEditPoints="1"/>
          </p:cNvSpPr>
          <p:nvPr/>
        </p:nvSpPr>
        <p:spPr bwMode="auto">
          <a:xfrm>
            <a:off x="6758214" y="3860430"/>
            <a:ext cx="1463524" cy="944096"/>
          </a:xfrm>
          <a:custGeom>
            <a:avLst/>
            <a:gdLst>
              <a:gd name="T0" fmla="*/ 1128514 w 128"/>
              <a:gd name="T1" fmla="*/ 1069975 h 88"/>
              <a:gd name="T2" fmla="*/ 336153 w 128"/>
              <a:gd name="T3" fmla="*/ 1069975 h 88"/>
              <a:gd name="T4" fmla="*/ 0 w 128"/>
              <a:gd name="T5" fmla="*/ 729528 h 88"/>
              <a:gd name="T6" fmla="*/ 336153 w 128"/>
              <a:gd name="T7" fmla="*/ 389082 h 88"/>
              <a:gd name="T8" fmla="*/ 768350 w 128"/>
              <a:gd name="T9" fmla="*/ 0 h 88"/>
              <a:gd name="T10" fmla="*/ 1152525 w 128"/>
              <a:gd name="T11" fmla="*/ 243176 h 88"/>
              <a:gd name="T12" fmla="*/ 1536700 w 128"/>
              <a:gd name="T13" fmla="*/ 656576 h 88"/>
              <a:gd name="T14" fmla="*/ 1128514 w 128"/>
              <a:gd name="T15" fmla="*/ 1069975 h 88"/>
              <a:gd name="T16" fmla="*/ 336153 w 128"/>
              <a:gd name="T17" fmla="*/ 486352 h 88"/>
              <a:gd name="T18" fmla="*/ 96044 w 128"/>
              <a:gd name="T19" fmla="*/ 729528 h 88"/>
              <a:gd name="T20" fmla="*/ 336153 w 128"/>
              <a:gd name="T21" fmla="*/ 972705 h 88"/>
              <a:gd name="T22" fmla="*/ 1128514 w 128"/>
              <a:gd name="T23" fmla="*/ 972705 h 88"/>
              <a:gd name="T24" fmla="*/ 1440656 w 128"/>
              <a:gd name="T25" fmla="*/ 656576 h 88"/>
              <a:gd name="T26" fmla="*/ 1128514 w 128"/>
              <a:gd name="T27" fmla="*/ 340447 h 88"/>
              <a:gd name="T28" fmla="*/ 1092498 w 128"/>
              <a:gd name="T29" fmla="*/ 340447 h 88"/>
              <a:gd name="T30" fmla="*/ 1080492 w 128"/>
              <a:gd name="T31" fmla="*/ 303970 h 88"/>
              <a:gd name="T32" fmla="*/ 768350 w 128"/>
              <a:gd name="T33" fmla="*/ 97270 h 88"/>
              <a:gd name="T34" fmla="*/ 432197 w 128"/>
              <a:gd name="T35" fmla="*/ 437717 h 88"/>
              <a:gd name="T36" fmla="*/ 432197 w 128"/>
              <a:gd name="T37" fmla="*/ 498511 h 88"/>
              <a:gd name="T38" fmla="*/ 372170 w 128"/>
              <a:gd name="T39" fmla="*/ 486352 h 88"/>
              <a:gd name="T40" fmla="*/ 336153 w 128"/>
              <a:gd name="T41" fmla="*/ 486352 h 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8" h="88">
                <a:moveTo>
                  <a:pt x="94" y="88"/>
                </a:moveTo>
                <a:cubicBezTo>
                  <a:pt x="28" y="88"/>
                  <a:pt x="28" y="88"/>
                  <a:pt x="28" y="88"/>
                </a:cubicBezTo>
                <a:cubicBezTo>
                  <a:pt x="13" y="88"/>
                  <a:pt x="0" y="75"/>
                  <a:pt x="0" y="60"/>
                </a:cubicBezTo>
                <a:cubicBezTo>
                  <a:pt x="0" y="44"/>
                  <a:pt x="13" y="32"/>
                  <a:pt x="28" y="32"/>
                </a:cubicBezTo>
                <a:cubicBezTo>
                  <a:pt x="30" y="14"/>
                  <a:pt x="46" y="0"/>
                  <a:pt x="64" y="0"/>
                </a:cubicBezTo>
                <a:cubicBezTo>
                  <a:pt x="78" y="0"/>
                  <a:pt x="90" y="8"/>
                  <a:pt x="96" y="20"/>
                </a:cubicBezTo>
                <a:cubicBezTo>
                  <a:pt x="114" y="21"/>
                  <a:pt x="128" y="36"/>
                  <a:pt x="128" y="54"/>
                </a:cubicBezTo>
                <a:cubicBezTo>
                  <a:pt x="128" y="73"/>
                  <a:pt x="113" y="88"/>
                  <a:pt x="94" y="88"/>
                </a:cubicBezTo>
                <a:close/>
                <a:moveTo>
                  <a:pt x="28" y="40"/>
                </a:moveTo>
                <a:cubicBezTo>
                  <a:pt x="17" y="40"/>
                  <a:pt x="8" y="49"/>
                  <a:pt x="8" y="60"/>
                </a:cubicBezTo>
                <a:cubicBezTo>
                  <a:pt x="8" y="71"/>
                  <a:pt x="17" y="80"/>
                  <a:pt x="28" y="80"/>
                </a:cubicBezTo>
                <a:cubicBezTo>
                  <a:pt x="94" y="80"/>
                  <a:pt x="94" y="80"/>
                  <a:pt x="94" y="80"/>
                </a:cubicBezTo>
                <a:cubicBezTo>
                  <a:pt x="108" y="80"/>
                  <a:pt x="120" y="68"/>
                  <a:pt x="120" y="54"/>
                </a:cubicBezTo>
                <a:cubicBezTo>
                  <a:pt x="120" y="40"/>
                  <a:pt x="108" y="28"/>
                  <a:pt x="94" y="28"/>
                </a:cubicBezTo>
                <a:cubicBezTo>
                  <a:pt x="91" y="28"/>
                  <a:pt x="91" y="28"/>
                  <a:pt x="91" y="28"/>
                </a:cubicBezTo>
                <a:cubicBezTo>
                  <a:pt x="90" y="25"/>
                  <a:pt x="90" y="25"/>
                  <a:pt x="90" y="25"/>
                </a:cubicBezTo>
                <a:cubicBezTo>
                  <a:pt x="86" y="15"/>
                  <a:pt x="75" y="8"/>
                  <a:pt x="64" y="8"/>
                </a:cubicBezTo>
                <a:cubicBezTo>
                  <a:pt x="49" y="8"/>
                  <a:pt x="36" y="21"/>
                  <a:pt x="36" y="36"/>
                </a:cubicBezTo>
                <a:cubicBezTo>
                  <a:pt x="36" y="41"/>
                  <a:pt x="36" y="41"/>
                  <a:pt x="36" y="41"/>
                </a:cubicBezTo>
                <a:cubicBezTo>
                  <a:pt x="31" y="40"/>
                  <a:pt x="31" y="40"/>
                  <a:pt x="31" y="40"/>
                </a:cubicBezTo>
                <a:cubicBezTo>
                  <a:pt x="30" y="40"/>
                  <a:pt x="29" y="40"/>
                  <a:pt x="28"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83"/>
          </a:p>
        </p:txBody>
      </p:sp>
      <p:sp>
        <p:nvSpPr>
          <p:cNvPr id="43" name="Text Placeholder 42"/>
          <p:cNvSpPr>
            <a:spLocks noGrp="1"/>
          </p:cNvSpPr>
          <p:nvPr>
            <p:ph type="body" sz="quarter" idx="11"/>
          </p:nvPr>
        </p:nvSpPr>
        <p:spPr>
          <a:xfrm>
            <a:off x="435430" y="5643563"/>
            <a:ext cx="8447315" cy="890886"/>
          </a:xfrm>
        </p:spPr>
        <p:txBody>
          <a:bodyPr lIns="182880" tIns="146304" rIns="182880" bIns="146304">
            <a:noAutofit/>
          </a:bodyPr>
          <a:lstStyle>
            <a:lvl1pPr marL="0" indent="0">
              <a:buNone/>
              <a:defRPr sz="3529">
                <a:gradFill>
                  <a:gsLst>
                    <a:gs pos="7965">
                      <a:schemeClr val="tx1"/>
                    </a:gs>
                    <a:gs pos="24779">
                      <a:schemeClr val="tx1"/>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pic>
        <p:nvPicPr>
          <p:cNvPr id="21" name="Picture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26286" y="3021390"/>
            <a:ext cx="2830286" cy="262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rcRect l="21533" t="14368" r="21533" b="28699"/>
          <a:stretch>
            <a:fillRect/>
          </a:stretch>
        </p:blipFill>
        <p:spPr bwMode="auto">
          <a:xfrm>
            <a:off x="6096007" y="399214"/>
            <a:ext cx="2786441" cy="2581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265722" y="399214"/>
            <a:ext cx="2786441" cy="2581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265722" y="3021390"/>
            <a:ext cx="2786441" cy="262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5" name="Group 15"/>
          <p:cNvGrpSpPr>
            <a:grpSpLocks/>
          </p:cNvGrpSpPr>
          <p:nvPr userDrawn="1"/>
        </p:nvGrpSpPr>
        <p:grpSpPr bwMode="auto">
          <a:xfrm>
            <a:off x="696995" y="3462625"/>
            <a:ext cx="2263321" cy="1739713"/>
            <a:chOff x="658974" y="3496002"/>
            <a:chExt cx="2001312" cy="1660205"/>
          </a:xfrm>
        </p:grpSpPr>
        <p:pic>
          <p:nvPicPr>
            <p:cNvPr id="26" name="Picture 1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71600" y="3496002"/>
              <a:ext cx="1288686" cy="1030620"/>
            </a:xfrm>
            <a:prstGeom prst="rect">
              <a:avLst/>
            </a:prstGeom>
            <a:noFill/>
            <a:ln>
              <a:noFill/>
            </a:ln>
            <a:effectLst>
              <a:outerShdw dist="101600" dir="3000003" sx="100999" sy="100999" algn="ctr" rotWithShape="0">
                <a:srgbClr val="505050">
                  <a:alpha val="1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7"/>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037781" y="3819914"/>
              <a:ext cx="1288686" cy="1030620"/>
            </a:xfrm>
            <a:prstGeom prst="rect">
              <a:avLst/>
            </a:prstGeom>
            <a:noFill/>
            <a:ln>
              <a:noFill/>
            </a:ln>
            <a:effectLst>
              <a:outerShdw dist="101600" dir="3000003" sx="100999" sy="100999" algn="ctr" rotWithShape="0">
                <a:srgbClr val="505050">
                  <a:alpha val="1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8"/>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58974" y="4125587"/>
              <a:ext cx="1288686" cy="1030620"/>
            </a:xfrm>
            <a:prstGeom prst="rect">
              <a:avLst/>
            </a:prstGeom>
            <a:noFill/>
            <a:ln>
              <a:noFill/>
            </a:ln>
            <a:effectLst>
              <a:outerShdw dist="101600" dir="3000003" sx="100999" sy="100999" algn="ctr" rotWithShape="0">
                <a:srgbClr val="505050">
                  <a:alpha val="1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9" name="Picture 28"/>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invGray">
          <a:xfrm>
            <a:off x="10377714" y="6264088"/>
            <a:ext cx="1378857" cy="270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29"/>
          <p:cNvSpPr/>
          <p:nvPr userDrawn="1"/>
        </p:nvSpPr>
        <p:spPr bwMode="auto">
          <a:xfrm>
            <a:off x="435435" y="399214"/>
            <a:ext cx="2786441" cy="25815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5101" tIns="68082" rIns="85101" bIns="68082" anchor="b"/>
          <a:lstStyle/>
          <a:p>
            <a:pPr marL="0" marR="0" lvl="0" indent="0" algn="r" defTabSz="527756" rtl="0" eaLnBrk="1" fontAlgn="auto" latinLnBrk="0" hangingPunct="1">
              <a:lnSpc>
                <a:spcPct val="90000"/>
              </a:lnSpc>
              <a:spcBef>
                <a:spcPct val="20000"/>
              </a:spcBef>
              <a:spcAft>
                <a:spcPts val="0"/>
              </a:spcAft>
              <a:buClrTx/>
              <a:buSzPct val="90000"/>
              <a:buFont typeface="Arial" pitchFamily="34" charset="0"/>
              <a:buNone/>
              <a:tabLst/>
            </a:pPr>
            <a:endParaRPr lang="en-US" sz="1561" kern="1200" spc="0" baseline="0">
              <a:gradFill>
                <a:gsLst>
                  <a:gs pos="24779">
                    <a:srgbClr val="FFFFFF"/>
                  </a:gs>
                  <a:gs pos="67000">
                    <a:srgbClr val="FFFFFF"/>
                  </a:gs>
                </a:gsLst>
                <a:lin ang="5400000" scaled="1"/>
              </a:gradFill>
              <a:latin typeface="+mj-lt"/>
              <a:ea typeface="+mn-ea"/>
              <a:cs typeface="+mn-cs"/>
            </a:endParaRPr>
          </a:p>
        </p:txBody>
      </p:sp>
      <p:sp>
        <p:nvSpPr>
          <p:cNvPr id="2" name="Rectangle 1"/>
          <p:cNvSpPr/>
          <p:nvPr userDrawn="1"/>
        </p:nvSpPr>
        <p:spPr bwMode="auto">
          <a:xfrm>
            <a:off x="10740572" y="1"/>
            <a:ext cx="1451429" cy="3193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42" tIns="129074" rIns="161342" bIns="129074" numCol="1" spcCol="0" rtlCol="0" fromWordArt="0" anchor="t" anchorCtr="0" forceAA="0" compatLnSpc="1">
            <a:prstTxWarp prst="textNoShape">
              <a:avLst/>
            </a:prstTxWarp>
            <a:noAutofit/>
          </a:bodyPr>
          <a:lstStyle/>
          <a:p>
            <a:pPr algn="ctr" defTabSz="822601" fontAlgn="base">
              <a:lnSpc>
                <a:spcPct val="90000"/>
              </a:lnSpc>
              <a:spcBef>
                <a:spcPct val="0"/>
              </a:spcBef>
              <a:spcAft>
                <a:spcPct val="0"/>
              </a:spcAft>
            </a:pPr>
            <a:endParaRPr lang="en-US" sz="2117"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794729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2971883"/>
            <a:ext cx="11430000" cy="914235"/>
          </a:xfrm>
          <a:noFill/>
        </p:spPr>
        <p:txBody>
          <a:bodyPr wrap="square" lIns="182880" tIns="91440" bIns="91440" anchor="t" anchorCtr="0">
            <a:spAutoFit/>
          </a:bodyPr>
          <a:lstStyle>
            <a:lvl1pPr algn="l">
              <a:defRPr sz="5293" spc="-84" baseline="0">
                <a:gradFill>
                  <a:gsLst>
                    <a:gs pos="100000">
                      <a:schemeClr val="tx1"/>
                    </a:gs>
                    <a:gs pos="0">
                      <a:schemeClr val="tx1"/>
                    </a:gs>
                  </a:gsLst>
                  <a:lin ang="5400000" scaled="0"/>
                </a:gradFill>
              </a:defRPr>
            </a:lvl1pPr>
          </a:lstStyle>
          <a:p>
            <a:r>
              <a:rPr lang="en-US"/>
              <a:t>Section title</a:t>
            </a:r>
          </a:p>
        </p:txBody>
      </p:sp>
      <p:sp>
        <p:nvSpPr>
          <p:cNvPr id="3" name="Rectangle 2"/>
          <p:cNvSpPr/>
          <p:nvPr userDrawn="1"/>
        </p:nvSpPr>
        <p:spPr bwMode="auto">
          <a:xfrm>
            <a:off x="11130642" y="1"/>
            <a:ext cx="979715" cy="2941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42" tIns="129074" rIns="161342" bIns="129074" numCol="1" spcCol="0" rtlCol="0" fromWordArt="0" anchor="t" anchorCtr="0" forceAA="0" compatLnSpc="1">
            <a:prstTxWarp prst="textNoShape">
              <a:avLst/>
            </a:prstTxWarp>
            <a:noAutofit/>
          </a:bodyPr>
          <a:lstStyle/>
          <a:p>
            <a:pPr algn="ctr" defTabSz="822601" fontAlgn="base">
              <a:lnSpc>
                <a:spcPct val="90000"/>
              </a:lnSpc>
              <a:spcBef>
                <a:spcPct val="0"/>
              </a:spcBef>
              <a:spcAft>
                <a:spcPct val="0"/>
              </a:spcAft>
            </a:pPr>
            <a:endParaRPr lang="en-US" sz="2117"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15091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2">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77A80767-0168-4202-AF54-9FDB461E3B29}" type="slidenum">
              <a:rPr lang="en-US" smtClean="0"/>
              <a:pPr/>
              <a:t>‹#›</a:t>
            </a:fld>
            <a:endParaRPr lang="en-US"/>
          </a:p>
        </p:txBody>
      </p:sp>
      <p:sp>
        <p:nvSpPr>
          <p:cNvPr id="4" name="Title Placeholder 1">
            <a:extLst>
              <a:ext uri="{FF2B5EF4-FFF2-40B4-BE49-F238E27FC236}">
                <a16:creationId xmlns:a16="http://schemas.microsoft.com/office/drawing/2014/main" id="{0566DA91-9CCE-4F12-8091-6B001FEC79A2}"/>
              </a:ext>
            </a:extLst>
          </p:cNvPr>
          <p:cNvSpPr>
            <a:spLocks noGrp="1"/>
          </p:cNvSpPr>
          <p:nvPr>
            <p:ph type="title"/>
          </p:nvPr>
        </p:nvSpPr>
        <p:spPr>
          <a:xfrm>
            <a:off x="390833" y="467180"/>
            <a:ext cx="11416300" cy="511268"/>
          </a:xfrm>
          <a:prstGeom prst="rect">
            <a:avLst/>
          </a:prstGeom>
        </p:spPr>
        <p:txBody>
          <a:bodyPr vert="horz" wrap="square" lIns="0" tIns="91440" rIns="0" bIns="91440" rtlCol="0" anchor="t">
            <a:noAutofit/>
          </a:bodyPr>
          <a:lstStyle/>
          <a:p>
            <a:r>
              <a:rPr lang="en-US"/>
              <a:t>Click to edit Master title style</a:t>
            </a:r>
          </a:p>
        </p:txBody>
      </p:sp>
    </p:spTree>
    <p:extLst>
      <p:ext uri="{BB962C8B-B14F-4D97-AF65-F5344CB8AC3E}">
        <p14:creationId xmlns:p14="http://schemas.microsoft.com/office/powerpoint/2010/main" val="257570346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tandard - Thin Border">
    <p:spTree>
      <p:nvGrpSpPr>
        <p:cNvPr id="1" name="Shape 91"/>
        <p:cNvGrpSpPr/>
        <p:nvPr/>
      </p:nvGrpSpPr>
      <p:grpSpPr>
        <a:xfrm>
          <a:off x="0" y="0"/>
          <a:ext cx="0" cy="0"/>
          <a:chOff x="0" y="0"/>
          <a:chExt cx="0" cy="0"/>
        </a:xfrm>
      </p:grpSpPr>
    </p:spTree>
    <p:extLst>
      <p:ext uri="{BB962C8B-B14F-4D97-AF65-F5344CB8AC3E}">
        <p14:creationId xmlns:p14="http://schemas.microsoft.com/office/powerpoint/2010/main" val="392674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Dark)">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Presentation Name</a:t>
            </a:r>
          </a:p>
        </p:txBody>
      </p:sp>
      <p:sp>
        <p:nvSpPr>
          <p:cNvPr id="5" name="Text Placeholder 4"/>
          <p:cNvSpPr>
            <a:spLocks noGrp="1"/>
          </p:cNvSpPr>
          <p:nvPr>
            <p:ph type="body" sz="quarter" idx="12" hasCustomPrompt="1"/>
          </p:nvPr>
        </p:nvSpPr>
        <p:spPr>
          <a:xfrm>
            <a:off x="269302" y="2980725"/>
            <a:ext cx="717139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ubtitle</a:t>
            </a:r>
          </a:p>
        </p:txBody>
      </p:sp>
      <p:sp>
        <p:nvSpPr>
          <p:cNvPr id="3" name="Text Placeholder 2"/>
          <p:cNvSpPr>
            <a:spLocks noGrp="1"/>
          </p:cNvSpPr>
          <p:nvPr>
            <p:ph type="body" sz="quarter" idx="13" hasCustomPrompt="1"/>
          </p:nvPr>
        </p:nvSpPr>
        <p:spPr>
          <a:xfrm>
            <a:off x="269241" y="3696656"/>
            <a:ext cx="7171460"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Date</a:t>
            </a:r>
          </a:p>
        </p:txBody>
      </p:sp>
      <p:pic>
        <p:nvPicPr>
          <p:cNvPr id="2" name="Picture 1"/>
          <p:cNvPicPr>
            <a:picLocks noChangeAspect="1"/>
          </p:cNvPicPr>
          <p:nvPr/>
        </p:nvPicPr>
        <p:blipFill>
          <a:blip r:embed="rId2"/>
          <a:stretch>
            <a:fillRect/>
          </a:stretch>
        </p:blipFill>
        <p:spPr bwMode="black">
          <a:xfrm>
            <a:off x="448212" y="471692"/>
            <a:ext cx="1454257" cy="304828"/>
          </a:xfrm>
          <a:prstGeom prst="rect">
            <a:avLst/>
          </a:prstGeom>
        </p:spPr>
      </p:pic>
      <p:pic>
        <p:nvPicPr>
          <p:cNvPr id="89" name="Picture 88"/>
          <p:cNvPicPr>
            <a:picLocks noChangeAspect="1"/>
          </p:cNvPicPr>
          <p:nvPr/>
        </p:nvPicPr>
        <p:blipFill>
          <a:blip r:embed="rId3">
            <a:lum bright="100000"/>
            <a:extLst>
              <a:ext uri="{28A0092B-C50C-407E-A947-70E740481C1C}">
                <a14:useLocalDpi xmlns:a14="http://schemas.microsoft.com/office/drawing/2010/main" val="0"/>
              </a:ext>
            </a:extLst>
          </a:blip>
          <a:stretch>
            <a:fillRect/>
          </a:stretch>
        </p:blipFill>
        <p:spPr>
          <a:xfrm>
            <a:off x="8373198" y="2738660"/>
            <a:ext cx="3221131" cy="1380680"/>
          </a:xfrm>
          <a:prstGeom prst="rect">
            <a:avLst/>
          </a:prstGeom>
        </p:spPr>
      </p:pic>
    </p:spTree>
    <p:extLst>
      <p:ext uri="{BB962C8B-B14F-4D97-AF65-F5344CB8AC3E}">
        <p14:creationId xmlns:p14="http://schemas.microsoft.com/office/powerpoint/2010/main" val="4793534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_autonumber">
    <p:spTree>
      <p:nvGrpSpPr>
        <p:cNvPr id="1" name=""/>
        <p:cNvGrpSpPr/>
        <p:nvPr/>
      </p:nvGrpSpPr>
      <p:grpSpPr>
        <a:xfrm>
          <a:off x="0" y="0"/>
          <a:ext cx="0" cy="0"/>
          <a:chOff x="0" y="0"/>
          <a:chExt cx="0" cy="0"/>
        </a:xfrm>
      </p:grpSpPr>
      <p:sp>
        <p:nvSpPr>
          <p:cNvPr id="2" name="Title 1"/>
          <p:cNvSpPr>
            <a:spLocks noGrp="1"/>
          </p:cNvSpPr>
          <p:nvPr>
            <p:ph type="title"/>
          </p:nvPr>
        </p:nvSpPr>
        <p:spPr>
          <a:xfrm>
            <a:off x="390832" y="475016"/>
            <a:ext cx="8966431" cy="515584"/>
          </a:xfrm>
        </p:spPr>
        <p:txBody>
          <a:bodyPr lIns="0" rIns="0"/>
          <a:lstStyle>
            <a:lvl1pPr>
              <a:defRPr sz="2117" b="0">
                <a:solidFill>
                  <a:schemeClr val="tx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4" name="Slide Number Placeholder 3"/>
          <p:cNvSpPr>
            <a:spLocks noGrp="1"/>
          </p:cNvSpPr>
          <p:nvPr>
            <p:ph type="sldNum" sz="quarter" idx="11"/>
          </p:nvPr>
        </p:nvSpPr>
        <p:spPr>
          <a:xfrm>
            <a:off x="11307098" y="1"/>
            <a:ext cx="884903" cy="259335"/>
          </a:xfrm>
          <a:solidFill>
            <a:schemeClr val="bg2"/>
          </a:solidFill>
        </p:spPr>
        <p:txBody>
          <a:bodyPr lIns="91440" tIns="45720" rIns="91440" bIns="0" anchor="t" anchorCtr="0"/>
          <a:lstStyle>
            <a:lvl1pPr>
              <a:defRPr sz="1059">
                <a:solidFill>
                  <a:schemeClr val="tx1"/>
                </a:solidFill>
              </a:defRPr>
            </a:lvl1pPr>
          </a:lstStyle>
          <a:p>
            <a:pPr algn="l"/>
            <a:r>
              <a:rPr lang="en-US"/>
              <a:t>Slide: </a:t>
            </a:r>
            <a:fld id="{77A80767-0168-4202-AF54-9FDB461E3B29}" type="slidenum">
              <a:rPr lang="en-US" smtClean="0"/>
              <a:pPr algn="l"/>
              <a:t>‹#›</a:t>
            </a:fld>
            <a:endParaRPr lang="en-US"/>
          </a:p>
        </p:txBody>
      </p:sp>
      <p:sp>
        <p:nvSpPr>
          <p:cNvPr id="7" name="Text Placeholder 6"/>
          <p:cNvSpPr>
            <a:spLocks noGrp="1"/>
          </p:cNvSpPr>
          <p:nvPr>
            <p:ph type="body" sz="quarter" idx="12" hasCustomPrompt="1"/>
          </p:nvPr>
        </p:nvSpPr>
        <p:spPr>
          <a:xfrm>
            <a:off x="4998490" y="2"/>
            <a:ext cx="6308608" cy="259335"/>
          </a:xfrm>
        </p:spPr>
        <p:txBody>
          <a:bodyPr vert="horz" wrap="square" lIns="127337" tIns="45720" rIns="182880" bIns="0" rtlCol="0" anchor="t" anchorCtr="0">
            <a:noAutofit/>
          </a:bodyPr>
          <a:lstStyle>
            <a:lvl1pPr marL="0" indent="0" algn="r">
              <a:buFontTx/>
              <a:buNone/>
              <a:defRPr lang="en-US" sz="1059" b="0" cap="none" dirty="0">
                <a:ln w="3175">
                  <a:noFill/>
                </a:ln>
                <a:solidFill>
                  <a:schemeClr val="tx1"/>
                </a:solidFill>
                <a:effectLst/>
                <a:latin typeface="+mn-lt"/>
                <a:cs typeface="Segoe UI" pitchFamily="34" charset="0"/>
              </a:defRPr>
            </a:lvl1pPr>
          </a:lstStyle>
          <a:p>
            <a:pPr lvl="0">
              <a:spcBef>
                <a:spcPct val="0"/>
              </a:spcBef>
            </a:pPr>
            <a:r>
              <a:rPr lang="en-US"/>
              <a:t>Presenter: First Name, Last Name</a:t>
            </a:r>
          </a:p>
        </p:txBody>
      </p:sp>
    </p:spTree>
    <p:extLst>
      <p:ext uri="{BB962C8B-B14F-4D97-AF65-F5344CB8AC3E}">
        <p14:creationId xmlns:p14="http://schemas.microsoft.com/office/powerpoint/2010/main" val="19373588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0271" cy="6858000"/>
          </a:xfrm>
          <a:prstGeom prst="rect">
            <a:avLst/>
          </a:prstGeom>
        </p:spPr>
      </p:pic>
      <p:sp>
        <p:nvSpPr>
          <p:cNvPr id="4" name="Rectangle 3"/>
          <p:cNvSpPr/>
          <p:nvPr userDrawn="1"/>
        </p:nvSpPr>
        <p:spPr bwMode="auto">
          <a:xfrm>
            <a:off x="395441" y="2084188"/>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395441" y="2084186"/>
            <a:ext cx="6276530" cy="1793104"/>
          </a:xfrm>
          <a:noFill/>
        </p:spPr>
        <p:txBody>
          <a:bodyPr lIns="146304" tIns="182880" rIns="146304" bIns="91440" anchor="t" anchorCtr="0"/>
          <a:lstStyle>
            <a:lvl1pPr>
              <a:defRPr sz="5293" spc="-98"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395441" y="3877272"/>
            <a:ext cx="6276530" cy="1789991"/>
          </a:xfrm>
        </p:spPr>
        <p:txBody>
          <a:bodyPr tIns="109728" bIns="109728">
            <a:noAutofit/>
          </a:bodyPr>
          <a:lstStyle>
            <a:lvl1pPr marL="0" indent="0">
              <a:spcBef>
                <a:spcPts val="0"/>
              </a:spcBef>
              <a:buNone/>
              <a:defRPr sz="3136">
                <a:gradFill>
                  <a:gsLst>
                    <a:gs pos="76250">
                      <a:srgbClr val="FFFFFF"/>
                    </a:gs>
                    <a:gs pos="51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389534" y="470069"/>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510891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Header and Graph">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695325" y="652299"/>
            <a:ext cx="10801350" cy="799984"/>
          </a:xfrm>
          <a:prstGeom prst="rect">
            <a:avLst/>
          </a:prstGeom>
        </p:spPr>
        <p:txBody>
          <a:bodyPr lIns="0" tIns="0" rIns="0" bIns="0"/>
          <a:lstStyle>
            <a:lvl1pPr marL="0" indent="0">
              <a:lnSpc>
                <a:spcPct val="90000"/>
              </a:lnSpc>
              <a:buNone/>
              <a:defRPr sz="3200" b="0" i="0">
                <a:solidFill>
                  <a:schemeClr val="tx2"/>
                </a:solidFill>
                <a:latin typeface="Segoe UI Light" charset="0"/>
                <a:ea typeface="Segoe UI Light" charset="0"/>
                <a:cs typeface="Segoe UI Light" charset="0"/>
              </a:defRPr>
            </a:lvl1pPr>
            <a:lvl2pPr marL="456937" indent="0">
              <a:buNone/>
              <a:defRPr sz="5397" b="0" i="0">
                <a:solidFill>
                  <a:schemeClr val="bg2">
                    <a:lumMod val="50000"/>
                  </a:schemeClr>
                </a:solidFill>
                <a:latin typeface="Segoe UI Light" charset="0"/>
                <a:ea typeface="Segoe UI Light" charset="0"/>
                <a:cs typeface="Segoe UI Light" charset="0"/>
              </a:defRPr>
            </a:lvl2pPr>
            <a:lvl3pPr marL="913874" indent="0">
              <a:buNone/>
              <a:defRPr sz="4800" b="0" i="0">
                <a:solidFill>
                  <a:schemeClr val="bg2">
                    <a:lumMod val="50000"/>
                  </a:schemeClr>
                </a:solidFill>
                <a:latin typeface="Segoe UI Light" charset="0"/>
                <a:ea typeface="Segoe UI Light" charset="0"/>
                <a:cs typeface="Segoe UI Light" charset="0"/>
              </a:defRPr>
            </a:lvl3pPr>
            <a:lvl4pPr marL="1370810" indent="0">
              <a:buNone/>
              <a:defRPr sz="4400" b="0" i="0">
                <a:solidFill>
                  <a:schemeClr val="bg2">
                    <a:lumMod val="50000"/>
                  </a:schemeClr>
                </a:solidFill>
                <a:latin typeface="Segoe UI Light" charset="0"/>
                <a:ea typeface="Segoe UI Light" charset="0"/>
                <a:cs typeface="Segoe UI Light" charset="0"/>
              </a:defRPr>
            </a:lvl4pPr>
            <a:lvl5pPr marL="1827747" indent="0">
              <a:buNone/>
              <a:defRPr sz="4400" b="0" i="0">
                <a:solidFill>
                  <a:schemeClr val="bg2">
                    <a:lumMod val="50000"/>
                  </a:schemeClr>
                </a:solidFill>
                <a:latin typeface="Segoe UI Light" charset="0"/>
                <a:ea typeface="Segoe UI Light" charset="0"/>
                <a:cs typeface="Segoe UI Light" charset="0"/>
              </a:defRPr>
            </a:lvl5pPr>
          </a:lstStyle>
          <a:p>
            <a:pPr lvl="0"/>
            <a:r>
              <a:rPr lang="en-US"/>
              <a:t>Header</a:t>
            </a:r>
          </a:p>
        </p:txBody>
      </p:sp>
      <p:sp>
        <p:nvSpPr>
          <p:cNvPr id="10" name="Text Placeholder 2"/>
          <p:cNvSpPr>
            <a:spLocks noGrp="1"/>
          </p:cNvSpPr>
          <p:nvPr>
            <p:ph type="body" sz="quarter" idx="13" hasCustomPrompt="1"/>
          </p:nvPr>
        </p:nvSpPr>
        <p:spPr>
          <a:xfrm>
            <a:off x="695325" y="1666879"/>
            <a:ext cx="10801350" cy="3953995"/>
          </a:xfrm>
          <a:prstGeom prst="rect">
            <a:avLst/>
          </a:prstGeom>
        </p:spPr>
        <p:txBody>
          <a:bodyPr lIns="0" tIns="0" rIns="0"/>
          <a:lstStyle>
            <a:lvl1pPr marL="0" indent="0">
              <a:lnSpc>
                <a:spcPct val="125000"/>
              </a:lnSpc>
              <a:buNone/>
              <a:defRPr sz="1600" b="0" i="0">
                <a:solidFill>
                  <a:schemeClr val="tx1">
                    <a:lumMod val="50000"/>
                    <a:lumOff val="50000"/>
                  </a:schemeClr>
                </a:solidFill>
                <a:latin typeface="Segoe UI Light" charset="0"/>
                <a:ea typeface="Segoe UI Light" charset="0"/>
                <a:cs typeface="Segoe UI Light" charset="0"/>
              </a:defRPr>
            </a:lvl1pPr>
            <a:lvl2pPr marL="456937" indent="0">
              <a:buNone/>
              <a:defRPr sz="1600" b="0" i="0">
                <a:solidFill>
                  <a:schemeClr val="tx1">
                    <a:lumMod val="50000"/>
                    <a:lumOff val="50000"/>
                  </a:schemeClr>
                </a:solidFill>
                <a:latin typeface="Segoe UI Light" charset="0"/>
                <a:ea typeface="Segoe UI Light" charset="0"/>
                <a:cs typeface="Segoe UI Light" charset="0"/>
              </a:defRPr>
            </a:lvl2pPr>
            <a:lvl3pPr marL="913874" indent="0">
              <a:buNone/>
              <a:defRPr sz="1600" b="0" i="0">
                <a:solidFill>
                  <a:schemeClr val="tx1">
                    <a:lumMod val="50000"/>
                    <a:lumOff val="50000"/>
                  </a:schemeClr>
                </a:solidFill>
                <a:latin typeface="Segoe UI Light" charset="0"/>
                <a:ea typeface="Segoe UI Light" charset="0"/>
                <a:cs typeface="Segoe UI Light" charset="0"/>
              </a:defRPr>
            </a:lvl3pPr>
            <a:lvl4pPr marL="1370810" indent="0">
              <a:buNone/>
              <a:defRPr sz="1600" b="0" i="0">
                <a:solidFill>
                  <a:schemeClr val="tx1">
                    <a:lumMod val="50000"/>
                    <a:lumOff val="50000"/>
                  </a:schemeClr>
                </a:solidFill>
                <a:latin typeface="Segoe UI Light" charset="0"/>
                <a:ea typeface="Segoe UI Light" charset="0"/>
                <a:cs typeface="Segoe UI Light" charset="0"/>
              </a:defRPr>
            </a:lvl4pPr>
            <a:lvl5pPr marL="1827747" indent="0">
              <a:buNone/>
              <a:defRPr sz="1600" b="0" i="0">
                <a:solidFill>
                  <a:schemeClr val="tx1">
                    <a:lumMod val="50000"/>
                    <a:lumOff val="50000"/>
                  </a:schemeClr>
                </a:solidFill>
                <a:latin typeface="Segoe UI Light" charset="0"/>
                <a:ea typeface="Segoe UI Light" charset="0"/>
                <a:cs typeface="Segoe UI Light" charset="0"/>
              </a:defRPr>
            </a:lvl5pPr>
          </a:lstStyle>
          <a:p>
            <a:pPr lvl="0"/>
            <a:r>
              <a:rPr lang="en-US"/>
              <a:t>Body text</a:t>
            </a:r>
          </a:p>
        </p:txBody>
      </p:sp>
      <p:sp>
        <p:nvSpPr>
          <p:cNvPr id="2" name="Title 1">
            <a:extLst>
              <a:ext uri="{FF2B5EF4-FFF2-40B4-BE49-F238E27FC236}">
                <a16:creationId xmlns:a16="http://schemas.microsoft.com/office/drawing/2014/main" id="{6B83F54B-BD6E-4235-8BDA-3100CE9D41B4}"/>
              </a:ext>
            </a:extLst>
          </p:cNvPr>
          <p:cNvSpPr>
            <a:spLocks noGrp="1"/>
          </p:cNvSpPr>
          <p:nvPr>
            <p:ph type="title"/>
          </p:nvPr>
        </p:nvSpPr>
        <p:spPr>
          <a:xfrm>
            <a:off x="0" y="0"/>
            <a:ext cx="10515600" cy="1325563"/>
          </a:xfrm>
          <a:prstGeom prst="rect">
            <a:avLst/>
          </a:prstGeo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872950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38">
          <p15:clr>
            <a:srgbClr val="FBAE40"/>
          </p15:clr>
        </p15:guide>
        <p15:guide id="4" pos="7242">
          <p15:clr>
            <a:srgbClr val="FBAE40"/>
          </p15:clr>
        </p15:guide>
        <p15:guide id="5" orient="horz" pos="104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4EAE3-71BE-4BBE-9DD3-76082B1E968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FD9D8D5-F84F-461A-985A-E7D279335D3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A2C2F1-5E9A-445C-9A9A-680BECE1E25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9A37E0F-A060-4CE7-B104-88C7E46171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B15958-20D4-41A3-AD5D-50C0EEA6501D}"/>
              </a:ext>
            </a:extLst>
          </p:cNvPr>
          <p:cNvSpPr>
            <a:spLocks noGrp="1"/>
          </p:cNvSpPr>
          <p:nvPr>
            <p:ph type="sldNum" sz="quarter" idx="12"/>
          </p:nvPr>
        </p:nvSpPr>
        <p:spPr/>
        <p:txBody>
          <a:bodyPr/>
          <a:lstStyle/>
          <a:p>
            <a:fld id="{0AC96CF2-19D3-4C89-8EB5-2FAF121B9300}" type="slidenum">
              <a:rPr lang="en-US" smtClean="0"/>
              <a:t>‹#›</a:t>
            </a:fld>
            <a:endParaRPr lang="en-US"/>
          </a:p>
        </p:txBody>
      </p:sp>
    </p:spTree>
    <p:extLst>
      <p:ext uri="{BB962C8B-B14F-4D97-AF65-F5344CB8AC3E}">
        <p14:creationId xmlns:p14="http://schemas.microsoft.com/office/powerpoint/2010/main" val="290075243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87451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1655840" cy="899665"/>
          </a:xfrm>
        </p:spPr>
        <p:txBody>
          <a:bodyPr/>
          <a:lstStyle>
            <a:lvl1pPr>
              <a:defRPr sz="4400">
                <a:latin typeface="+mn-lt"/>
              </a:defRPr>
            </a:lvl1pPr>
          </a:lstStyle>
          <a:p>
            <a:r>
              <a:rPr lang="en-US"/>
              <a:t>Click to edit Master title style</a:t>
            </a:r>
          </a:p>
        </p:txBody>
      </p:sp>
      <p:sp>
        <p:nvSpPr>
          <p:cNvPr id="4" name="Text Placeholder 3"/>
          <p:cNvSpPr>
            <a:spLocks noGrp="1"/>
          </p:cNvSpPr>
          <p:nvPr>
            <p:ph type="body" sz="quarter" idx="10"/>
          </p:nvPr>
        </p:nvSpPr>
        <p:spPr>
          <a:xfrm>
            <a:off x="152400" y="912728"/>
            <a:ext cx="11887200" cy="2076338"/>
          </a:xfrm>
        </p:spPr>
        <p:txBody>
          <a:bodyPr>
            <a:spAutoFit/>
          </a:bodyPr>
          <a:lstStyle>
            <a:lvl1pPr marL="0" indent="0">
              <a:buNone/>
              <a:defRPr sz="3200"/>
            </a:lvl1pPr>
            <a:lvl2pPr marL="224097" indent="0">
              <a:buNone/>
              <a:defRPr sz="2400"/>
            </a:lvl2pPr>
            <a:lvl3pPr marL="448193" indent="0">
              <a:buNone/>
              <a:defRPr sz="2000"/>
            </a:lvl3pPr>
            <a:lvl4pPr marL="672290" indent="0">
              <a:buNone/>
              <a:defRPr sz="2000"/>
            </a:lvl4pPr>
            <a:lvl5pPr marL="896386"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2423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69" y="0"/>
            <a:ext cx="5326931" cy="484094"/>
          </a:xfrm>
        </p:spPr>
        <p:txBody>
          <a:bodyPr vert="horz" wrap="square" lIns="127337" tIns="79586" rIns="127337" bIns="79586" rtlCol="0" anchor="t">
            <a:noAutofit/>
          </a:bodyPr>
          <a:lstStyle>
            <a:lvl1pPr marL="0" indent="0" algn="r" defTabSz="648691">
              <a:buFontTx/>
              <a:buNone/>
              <a:defRPr lang="en-US" sz="1235" b="0" cap="none" baseline="0" dirty="0">
                <a:ln w="3175">
                  <a:noFill/>
                </a:ln>
                <a:solidFill>
                  <a:schemeClr val="tx1"/>
                </a:solidFill>
                <a:effectLst/>
                <a:latin typeface="+mn-lt"/>
                <a:cs typeface="Segoe UI" pitchFamily="34" charset="0"/>
              </a:defRPr>
            </a:lvl1pPr>
          </a:lstStyle>
          <a:p>
            <a:pPr algn="r" defTabSz="735144"/>
            <a:r>
              <a:rPr lang="en-GB" sz="1059">
                <a:latin typeface="Segoe UI Light"/>
              </a:rPr>
              <a:t>Presenter: Insert Name / OneNote page:  / Slide 1 of X</a:t>
            </a:r>
            <a:endParaRPr lang="en-US" sz="1059">
              <a:latin typeface="Segoe UI Light"/>
            </a:endParaRPr>
          </a:p>
        </p:txBody>
      </p:sp>
      <p:sp>
        <p:nvSpPr>
          <p:cNvPr id="9" name="Title 1"/>
          <p:cNvSpPr>
            <a:spLocks noGrp="1"/>
          </p:cNvSpPr>
          <p:nvPr>
            <p:ph type="title"/>
          </p:nvPr>
        </p:nvSpPr>
        <p:spPr>
          <a:xfrm>
            <a:off x="217715" y="201706"/>
            <a:ext cx="7402286"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166281585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447843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347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7D71A-82BF-4183-808A-6537058AA9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46CEC0-B66D-4429-86DE-2D50433922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77D423-3A7B-4BAC-9540-187F58769C69}"/>
              </a:ext>
            </a:extLst>
          </p:cNvPr>
          <p:cNvSpPr>
            <a:spLocks noGrp="1"/>
          </p:cNvSpPr>
          <p:nvPr>
            <p:ph type="dt" sz="half" idx="10"/>
          </p:nvPr>
        </p:nvSpPr>
        <p:spPr/>
        <p:txBody>
          <a:bodyPr/>
          <a:lstStyle/>
          <a:p>
            <a:fld id="{55D6D8E4-D5CF-4B89-8498-F67B20E265F5}" type="datetimeFigureOut">
              <a:rPr lang="en-US" smtClean="0"/>
              <a:t>6/26/2020</a:t>
            </a:fld>
            <a:endParaRPr lang="en-US"/>
          </a:p>
        </p:txBody>
      </p:sp>
      <p:sp>
        <p:nvSpPr>
          <p:cNvPr id="5" name="Footer Placeholder 4">
            <a:extLst>
              <a:ext uri="{FF2B5EF4-FFF2-40B4-BE49-F238E27FC236}">
                <a16:creationId xmlns:a16="http://schemas.microsoft.com/office/drawing/2014/main" id="{85065A7D-E7ED-4C72-BAB7-101C034D75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36B42D-E78A-40C8-B8FB-FA4A7893668D}"/>
              </a:ext>
            </a:extLst>
          </p:cNvPr>
          <p:cNvSpPr>
            <a:spLocks noGrp="1"/>
          </p:cNvSpPr>
          <p:nvPr>
            <p:ph type="sldNum" sz="quarter" idx="12"/>
          </p:nvPr>
        </p:nvSpPr>
        <p:spPr/>
        <p:txBody>
          <a:bodyPr/>
          <a:lstStyle/>
          <a:p>
            <a:fld id="{5A5CACAE-074E-486F-81BB-5F7DE74B1960}" type="slidenum">
              <a:rPr lang="en-US" smtClean="0"/>
              <a:t>‹#›</a:t>
            </a:fld>
            <a:endParaRPr lang="en-US"/>
          </a:p>
        </p:txBody>
      </p:sp>
    </p:spTree>
    <p:extLst>
      <p:ext uri="{BB962C8B-B14F-4D97-AF65-F5344CB8AC3E}">
        <p14:creationId xmlns:p14="http://schemas.microsoft.com/office/powerpoint/2010/main" val="352593997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theme" Target="../theme/theme10.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1.xml"/><Relationship Id="rId1" Type="http://schemas.openxmlformats.org/officeDocument/2006/relationships/slideLayout" Target="../slideLayouts/slideLayout14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image" Target="../media/image3.emf"/><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image" Target="../media/image30.png"/><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theme" Target="../theme/theme1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theme" Target="../theme/theme3.xml"/><Relationship Id="rId1" Type="http://schemas.openxmlformats.org/officeDocument/2006/relationships/slideLayout" Target="../slideLayouts/slideLayout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10" Type="http://schemas.openxmlformats.org/officeDocument/2006/relationships/image" Target="../media/image3.emf"/><Relationship Id="rId4" Type="http://schemas.openxmlformats.org/officeDocument/2006/relationships/slideLayout" Target="../slideLayouts/slideLayout10.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63" Type="http://schemas.openxmlformats.org/officeDocument/2006/relationships/theme" Target="../theme/theme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5" Type="http://schemas.openxmlformats.org/officeDocument/2006/relationships/slideLayout" Target="../slideLayouts/slideLayout19.xml"/><Relationship Id="rId61" Type="http://schemas.openxmlformats.org/officeDocument/2006/relationships/slideLayout" Target="../slideLayouts/slideLayout75.xml"/><Relationship Id="rId19" Type="http://schemas.openxmlformats.org/officeDocument/2006/relationships/slideLayout" Target="../slideLayouts/slideLayout3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slideLayout" Target="../slideLayouts/slideLayout70.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10" Type="http://schemas.openxmlformats.org/officeDocument/2006/relationships/theme" Target="../theme/theme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theme" Target="../theme/theme7.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theme" Target="../theme/theme8.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25.xml"/><Relationship Id="rId7" Type="http://schemas.openxmlformats.org/officeDocument/2006/relationships/tags" Target="../tags/tag1.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vmlDrawing" Target="../drawings/vmlDrawing1.vml"/><Relationship Id="rId5" Type="http://schemas.openxmlformats.org/officeDocument/2006/relationships/theme" Target="../theme/theme9.xml"/><Relationship Id="rId10" Type="http://schemas.openxmlformats.org/officeDocument/2006/relationships/image" Target="../media/image28.png"/><Relationship Id="rId4" Type="http://schemas.openxmlformats.org/officeDocument/2006/relationships/slideLayout" Target="../slideLayouts/slideLayout126.xml"/><Relationship Id="rId9" Type="http://schemas.openxmlformats.org/officeDocument/2006/relationships/image" Target="../media/image2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078457948"/>
      </p:ext>
    </p:extLst>
  </p:cSld>
  <p:clrMap bg1="lt1" tx1="dk1" bg2="lt2" tx2="dk2" accent1="accent1" accent2="accent2" accent3="accent3" accent4="accent4" accent5="accent5" accent6="accent6" hlink="hlink" folHlink="folHlink"/>
  <p:sldLayoutIdLst>
    <p:sldLayoutId id="2147486567" r:id="rId1"/>
    <p:sldLayoutId id="2147486604" r:id="rId2"/>
    <p:sldLayoutId id="2147486571" r:id="rId3"/>
    <p:sldLayoutId id="2147486565" r:id="rId4"/>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3BF1CC-24FB-4C91-9019-467705D66D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34EC04-C144-4139-B005-9C63A62F53F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D22AC3-72C3-4CBE-970C-8ADD8EE98B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3B41E8-6625-4A42-8ABF-CB5E76B85CF7}" type="datetimeFigureOut">
              <a:rPr lang="en-US" smtClean="0"/>
              <a:t>6/26/2020</a:t>
            </a:fld>
            <a:endParaRPr lang="en-US"/>
          </a:p>
        </p:txBody>
      </p:sp>
      <p:sp>
        <p:nvSpPr>
          <p:cNvPr id="5" name="Footer Placeholder 4">
            <a:extLst>
              <a:ext uri="{FF2B5EF4-FFF2-40B4-BE49-F238E27FC236}">
                <a16:creationId xmlns:a16="http://schemas.microsoft.com/office/drawing/2014/main" id="{2EAAC2F9-50D7-4ADA-BEDE-77132E84876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99E56BA-DF3C-44B8-90E4-7A29E2A9C55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D048D0-5940-47DC-9F5C-B99DE9EC2668}" type="slidenum">
              <a:rPr lang="en-US" smtClean="0"/>
              <a:t>‹#›</a:t>
            </a:fld>
            <a:endParaRPr lang="en-US"/>
          </a:p>
        </p:txBody>
      </p:sp>
    </p:spTree>
    <p:extLst>
      <p:ext uri="{BB962C8B-B14F-4D97-AF65-F5344CB8AC3E}">
        <p14:creationId xmlns:p14="http://schemas.microsoft.com/office/powerpoint/2010/main" val="2584088097"/>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616286012"/>
      </p:ext>
    </p:extLst>
  </p:cSld>
  <p:clrMap bg1="lt1" tx1="dk1" bg2="lt2" tx2="dk2" accent1="accent1" accent2="accent2" accent3="accent3" accent4="accent4" accent5="accent5" accent6="accent6" hlink="hlink" folHlink="folHlink"/>
  <p:sldLayoutIdLst>
    <p:sldLayoutId id="2147483687"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3"/>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
        <p:nvSpPr>
          <p:cNvPr id="6" name="Slide Number Placeholder 5"/>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67FF61F5-E481-41BC-8EB1-1A63A96D5FE8}" type="slidenum">
              <a:rPr lang="en-US" smtClean="0"/>
              <a:pPr/>
              <a:t>‹#›</a:t>
            </a:fld>
            <a:endParaRPr lang="en-US"/>
          </a:p>
        </p:txBody>
      </p:sp>
      <p:sp>
        <p:nvSpPr>
          <p:cNvPr id="7" name="Footer Placeholder 6"/>
          <p:cNvSpPr>
            <a:spLocks noGrp="1"/>
          </p:cNvSpPr>
          <p:nvPr>
            <p:ph type="ftr" sz="quarter" idx="3"/>
          </p:nvPr>
        </p:nvSpPr>
        <p:spPr>
          <a:xfrm>
            <a:off x="436378" y="6356350"/>
            <a:ext cx="11336980" cy="365125"/>
          </a:xfrm>
          <a:prstGeom prst="rect">
            <a:avLst/>
          </a:prstGeom>
        </p:spPr>
        <p:txBody>
          <a:bodyPr vert="horz" lIns="91440" tIns="45720" rIns="91440" bIns="45720" numCol="2" rtlCol="0" anchor="ctr"/>
          <a:lstStyle>
            <a:lvl1pPr algn="l">
              <a:defRPr sz="1200">
                <a:solidFill>
                  <a:schemeClr val="tx1">
                    <a:tint val="75000"/>
                  </a:schemeClr>
                </a:solidFill>
              </a:defRPr>
            </a:lvl1pPr>
          </a:lstStyle>
          <a:p>
            <a:r>
              <a:rPr lang="en-US" sz="800">
                <a:solidFill>
                  <a:schemeClr val="bg1">
                    <a:lumMod val="65000"/>
                  </a:schemeClr>
                </a:solidFill>
              </a:rPr>
              <a:t>© Microsoft Corporation</a:t>
            </a:r>
          </a:p>
          <a:p>
            <a:endParaRPr lang="en-US" sz="800">
              <a:solidFill>
                <a:schemeClr val="bg1">
                  <a:lumMod val="65000"/>
                </a:schemeClr>
              </a:solidFill>
            </a:endParaRPr>
          </a:p>
          <a:p>
            <a:pPr algn="r"/>
            <a:r>
              <a:rPr lang="en-US" sz="800">
                <a:solidFill>
                  <a:schemeClr val="bg1">
                    <a:lumMod val="65000"/>
                  </a:schemeClr>
                </a:solidFill>
              </a:rPr>
              <a:t>Azure</a:t>
            </a:r>
          </a:p>
        </p:txBody>
      </p:sp>
    </p:spTree>
    <p:extLst>
      <p:ext uri="{BB962C8B-B14F-4D97-AF65-F5344CB8AC3E}">
        <p14:creationId xmlns:p14="http://schemas.microsoft.com/office/powerpoint/2010/main" val="3541387186"/>
      </p:ext>
    </p:extLst>
  </p:cSld>
  <p:clrMap bg1="lt1" tx1="dk1" bg2="lt2" tx2="dk2" accent1="accent1" accent2="accent2" accent3="accent3" accent4="accent4" accent5="accent5" accent6="accent6" hlink="hlink" folHlink="folHlink"/>
  <p:sldLayoutIdLst>
    <p:sldLayoutId id="2147493409" r:id="rId1"/>
    <p:sldLayoutId id="2147493410" r:id="rId2"/>
    <p:sldLayoutId id="2147493411" r:id="rId3"/>
    <p:sldLayoutId id="2147493412" r:id="rId4"/>
    <p:sldLayoutId id="2147493413" r:id="rId5"/>
    <p:sldLayoutId id="2147493414" r:id="rId6"/>
    <p:sldLayoutId id="2147493415" r:id="rId7"/>
    <p:sldLayoutId id="2147493416" r:id="rId8"/>
    <p:sldLayoutId id="2147493417" r:id="rId9"/>
    <p:sldLayoutId id="2147493418" r:id="rId10"/>
    <p:sldLayoutId id="2147493419" r:id="rId11"/>
    <p:sldLayoutId id="2147493420" r:id="rId12"/>
    <p:sldLayoutId id="2147493421" r:id="rId13"/>
    <p:sldLayoutId id="2147493422" r:id="rId14"/>
    <p:sldLayoutId id="2147493423" r:id="rId15"/>
    <p:sldLayoutId id="2147493424" r:id="rId16"/>
    <p:sldLayoutId id="2147493425" r:id="rId17"/>
    <p:sldLayoutId id="2147493426" r:id="rId18"/>
    <p:sldLayoutId id="2147493427" r:id="rId19"/>
    <p:sldLayoutId id="2147493428" r:id="rId20"/>
    <p:sldLayoutId id="2147493429" r:id="rId21"/>
    <p:sldLayoutId id="2147493430" r:id="rId22"/>
    <p:sldLayoutId id="2147493431" r:id="rId23"/>
    <p:sldLayoutId id="2147493432" r:id="rId24"/>
    <p:sldLayoutId id="2147493433" r:id="rId25"/>
    <p:sldLayoutId id="2147493434" r:id="rId26"/>
    <p:sldLayoutId id="2147493435" r:id="rId27"/>
    <p:sldLayoutId id="2147493436" r:id="rId28"/>
    <p:sldLayoutId id="2147493437" r:id="rId29"/>
    <p:sldLayoutId id="2147493438" r:id="rId30"/>
    <p:sldLayoutId id="2147493439" r:id="rId31"/>
  </p:sldLayoutIdLst>
  <p:transition>
    <p:fade/>
  </p:transition>
  <p:hf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512731086"/>
      </p:ext>
    </p:extLst>
  </p:cSld>
  <p:clrMap bg1="lt1" tx1="dk1" bg2="lt2" tx2="dk2" accent1="accent1" accent2="accent2" accent3="accent3" accent4="accent4" accent5="accent5" accent6="accent6" hlink="hlink" folHlink="folHlink"/>
  <p:sldLayoutIdLst>
    <p:sldLayoutId id="2147493441" r:id="rId1"/>
    <p:sldLayoutId id="2147493442" r:id="rId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0038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8" name="Footer Placeholder 1">
            <a:extLst>
              <a:ext uri="{FF2B5EF4-FFF2-40B4-BE49-F238E27FC236}">
                <a16:creationId xmlns:a16="http://schemas.microsoft.com/office/drawing/2014/main" id="{F226ED0A-DDC2-4333-94E7-5488D76EDB31}"/>
              </a:ext>
            </a:extLst>
          </p:cNvPr>
          <p:cNvSpPr txBox="1">
            <a:spLocks/>
          </p:cNvSpPr>
          <p:nvPr userDrawn="1"/>
        </p:nvSpPr>
        <p:spPr>
          <a:xfrm>
            <a:off x="3453609" y="6626978"/>
            <a:ext cx="5279136"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a:solidFill>
                  <a:schemeClr val="tx1">
                    <a:alpha val="60000"/>
                  </a:schemeClr>
                </a:solidFill>
              </a:rPr>
              <a:t>MICROSOFT CONFIDENTIAL – NON-DISCLOSURE AGREEMENT REQUIRED</a:t>
            </a:r>
          </a:p>
        </p:txBody>
      </p:sp>
    </p:spTree>
    <p:extLst>
      <p:ext uri="{BB962C8B-B14F-4D97-AF65-F5344CB8AC3E}">
        <p14:creationId xmlns:p14="http://schemas.microsoft.com/office/powerpoint/2010/main" val="1806169553"/>
      </p:ext>
    </p:extLst>
  </p:cSld>
  <p:clrMap bg1="dk1" tx1="lt1" bg2="dk2" tx2="lt2" accent1="accent1" accent2="accent2" accent3="accent3" accent4="accent4" accent5="accent5" accent6="accent6" hlink="hlink" folHlink="folHlink"/>
  <p:sldLayoutIdLst>
    <p:sldLayoutId id="2147486623" r:id="rId1"/>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3"/>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208679011"/>
      </p:ext>
    </p:extLst>
  </p:cSld>
  <p:clrMap bg1="lt1" tx1="dk1" bg2="lt2" tx2="dk2" accent1="accent1" accent2="accent2" accent3="accent3" accent4="accent4" accent5="accent5" accent6="accent6" hlink="hlink" folHlink="folHlink"/>
  <p:sldLayoutIdLst>
    <p:sldLayoutId id="2147486661" r:id="rId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1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12362452"/>
      </p:ext>
    </p:extLst>
  </p:cSld>
  <p:clrMap bg1="lt1" tx1="dk1" bg2="lt2" tx2="dk2" accent1="accent1" accent2="accent2" accent3="accent3" accent4="accent4" accent5="accent5" accent6="accent6" hlink="hlink" folHlink="folHlink"/>
  <p:sldLayoutIdLst>
    <p:sldLayoutId id="2147486663" r:id="rId1"/>
    <p:sldLayoutId id="2147486664" r:id="rId2"/>
    <p:sldLayoutId id="2147486665" r:id="rId3"/>
    <p:sldLayoutId id="2147486666" r:id="rId4"/>
    <p:sldLayoutId id="2147486667" r:id="rId5"/>
    <p:sldLayoutId id="2147486668" r:id="rId6"/>
    <p:sldLayoutId id="2147486669" r:id="rId7"/>
    <p:sldLayoutId id="2147486671" r:id="rId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9" name="Footer Placeholder 3">
            <a:extLst>
              <a:ext uri="{FF2B5EF4-FFF2-40B4-BE49-F238E27FC236}">
                <a16:creationId xmlns:a16="http://schemas.microsoft.com/office/drawing/2014/main" id="{6A7399CD-8850-4D85-91D5-451FBA80134F}"/>
              </a:ext>
            </a:extLst>
          </p:cNvPr>
          <p:cNvSpPr>
            <a:spLocks noGrp="1"/>
          </p:cNvSpPr>
          <p:nvPr>
            <p:ph type="ftr" sz="quarter" idx="3"/>
          </p:nvPr>
        </p:nvSpPr>
        <p:spPr>
          <a:xfrm>
            <a:off x="584200" y="6565391"/>
            <a:ext cx="2451100" cy="246221"/>
          </a:xfrm>
          <a:prstGeom prst="rect">
            <a:avLst/>
          </a:prstGeom>
        </p:spPr>
        <p:txBody>
          <a:bodyPr>
            <a:spAutoFit/>
          </a:bodyPr>
          <a:lstStyle>
            <a:lvl1pPr>
              <a:defRPr sz="1000">
                <a:solidFill>
                  <a:schemeClr val="bg1">
                    <a:lumMod val="50000"/>
                  </a:schemeClr>
                </a:solidFill>
              </a:defRPr>
            </a:lvl1pPr>
          </a:lstStyle>
          <a:p>
            <a:r>
              <a:rPr lang="en-IN"/>
              <a:t>Microsoft Confidential—Internal Only</a:t>
            </a:r>
          </a:p>
        </p:txBody>
      </p:sp>
      <p:sp>
        <p:nvSpPr>
          <p:cNvPr id="34" name="Slide Number Placeholder 33">
            <a:extLst>
              <a:ext uri="{FF2B5EF4-FFF2-40B4-BE49-F238E27FC236}">
                <a16:creationId xmlns:a16="http://schemas.microsoft.com/office/drawing/2014/main" id="{5412D678-0797-4C8A-B228-D11DF1C9DA43}"/>
              </a:ext>
            </a:extLst>
          </p:cNvPr>
          <p:cNvSpPr>
            <a:spLocks noGrp="1"/>
          </p:cNvSpPr>
          <p:nvPr>
            <p:ph type="sldNum" sz="quarter" idx="4"/>
          </p:nvPr>
        </p:nvSpPr>
        <p:spPr>
          <a:xfrm>
            <a:off x="11605292" y="6565391"/>
            <a:ext cx="380999" cy="246221"/>
          </a:xfrm>
          <a:prstGeom prst="rect">
            <a:avLst/>
          </a:prstGeom>
        </p:spPr>
        <p:txBody>
          <a:bodyPr wrap="square">
            <a:spAutoFit/>
          </a:bodyPr>
          <a:lstStyle>
            <a:lvl1pPr>
              <a:defRPr lang="en-IN" sz="1000" smtClean="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4029663766"/>
      </p:ext>
    </p:extLst>
  </p:cSld>
  <p:clrMap bg1="lt1" tx1="dk1" bg2="lt2" tx2="dk2" accent1="accent1" accent2="accent2" accent3="accent3" accent4="accent4" accent5="accent5" accent6="accent6" hlink="hlink" folHlink="folHlink"/>
  <p:sldLayoutIdLst>
    <p:sldLayoutId id="2147486761" r:id="rId1"/>
    <p:sldLayoutId id="2147486762" r:id="rId2"/>
    <p:sldLayoutId id="2147486763" r:id="rId3"/>
    <p:sldLayoutId id="2147486764" r:id="rId4"/>
    <p:sldLayoutId id="2147486765" r:id="rId5"/>
    <p:sldLayoutId id="2147486766" r:id="rId6"/>
    <p:sldLayoutId id="2147486767" r:id="rId7"/>
    <p:sldLayoutId id="2147486768" r:id="rId8"/>
    <p:sldLayoutId id="2147486769" r:id="rId9"/>
    <p:sldLayoutId id="2147486770" r:id="rId10"/>
    <p:sldLayoutId id="2147486771" r:id="rId11"/>
    <p:sldLayoutId id="2147486772" r:id="rId12"/>
    <p:sldLayoutId id="2147486773" r:id="rId13"/>
    <p:sldLayoutId id="2147486774" r:id="rId14"/>
    <p:sldLayoutId id="2147486775" r:id="rId15"/>
    <p:sldLayoutId id="2147486776" r:id="rId16"/>
    <p:sldLayoutId id="2147486777" r:id="rId17"/>
    <p:sldLayoutId id="2147486778" r:id="rId18"/>
    <p:sldLayoutId id="2147486779" r:id="rId19"/>
    <p:sldLayoutId id="2147486780" r:id="rId20"/>
    <p:sldLayoutId id="2147486781" r:id="rId21"/>
    <p:sldLayoutId id="2147486782" r:id="rId22"/>
    <p:sldLayoutId id="2147486783" r:id="rId23"/>
    <p:sldLayoutId id="2147486784" r:id="rId24"/>
    <p:sldLayoutId id="2147486785" r:id="rId25"/>
    <p:sldLayoutId id="2147486786" r:id="rId26"/>
    <p:sldLayoutId id="2147486787" r:id="rId27"/>
    <p:sldLayoutId id="2147486788" r:id="rId28"/>
    <p:sldLayoutId id="2147486789" r:id="rId29"/>
    <p:sldLayoutId id="2147486791" r:id="rId30"/>
    <p:sldLayoutId id="2147486792" r:id="rId31"/>
    <p:sldLayoutId id="2147486793" r:id="rId32"/>
    <p:sldLayoutId id="2147486794" r:id="rId33"/>
    <p:sldLayoutId id="2147486795" r:id="rId34"/>
    <p:sldLayoutId id="2147486796" r:id="rId35"/>
    <p:sldLayoutId id="2147486797" r:id="rId36"/>
    <p:sldLayoutId id="2147486798" r:id="rId37"/>
    <p:sldLayoutId id="2147486799" r:id="rId38"/>
    <p:sldLayoutId id="2147486800" r:id="rId39"/>
    <p:sldLayoutId id="2147486801" r:id="rId40"/>
    <p:sldLayoutId id="2147486802" r:id="rId41"/>
    <p:sldLayoutId id="2147486803" r:id="rId42"/>
    <p:sldLayoutId id="2147486804" r:id="rId43"/>
    <p:sldLayoutId id="2147486805" r:id="rId44"/>
    <p:sldLayoutId id="2147486806" r:id="rId45"/>
    <p:sldLayoutId id="2147486807" r:id="rId46"/>
    <p:sldLayoutId id="2147486808" r:id="rId47"/>
    <p:sldLayoutId id="2147486809" r:id="rId48"/>
    <p:sldLayoutId id="2147486810" r:id="rId49"/>
    <p:sldLayoutId id="2147486811" r:id="rId50"/>
    <p:sldLayoutId id="2147486812" r:id="rId51"/>
    <p:sldLayoutId id="2147486813" r:id="rId52"/>
    <p:sldLayoutId id="2147486814" r:id="rId53"/>
    <p:sldLayoutId id="2147486815" r:id="rId54"/>
    <p:sldLayoutId id="2147486816" r:id="rId55"/>
    <p:sldLayoutId id="2147486817" r:id="rId56"/>
    <p:sldLayoutId id="2147486818" r:id="rId57"/>
    <p:sldLayoutId id="2147486819" r:id="rId58"/>
    <p:sldLayoutId id="2147486820" r:id="rId59"/>
    <p:sldLayoutId id="2147486821" r:id="rId60"/>
    <p:sldLayoutId id="2147486822" r:id="rId61"/>
    <p:sldLayoutId id="2147493075" r:id="rId62"/>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17715" y="201706"/>
            <a:ext cx="11756571" cy="484094"/>
          </a:xfrm>
          <a:prstGeom prst="rect">
            <a:avLst/>
          </a:prstGeom>
        </p:spPr>
        <p:txBody>
          <a:bodyPr vert="horz" wrap="square" lIns="45720" tIns="91440" rIns="0" bIns="91440" rtlCol="0" anchor="b">
            <a:noAutofit/>
          </a:bodyPr>
          <a:lstStyle/>
          <a:p>
            <a:r>
              <a:rPr lang="en-US"/>
              <a:t>Click to edit Master title style</a:t>
            </a:r>
          </a:p>
        </p:txBody>
      </p:sp>
      <p:sp>
        <p:nvSpPr>
          <p:cNvPr id="4" name="Text Placeholder 3"/>
          <p:cNvSpPr>
            <a:spLocks noGrp="1"/>
          </p:cNvSpPr>
          <p:nvPr>
            <p:ph type="body" idx="1"/>
          </p:nvPr>
        </p:nvSpPr>
        <p:spPr>
          <a:xfrm>
            <a:off x="217715" y="1008529"/>
            <a:ext cx="11756571" cy="1497974"/>
          </a:xfrm>
          <a:prstGeom prst="rect">
            <a:avLst/>
          </a:prstGeom>
        </p:spPr>
        <p:txBody>
          <a:bodyPr vert="horz" wrap="square" lIns="4572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p:nvSpPr>
        <p:spPr>
          <a:xfrm>
            <a:off x="4572584" y="6683220"/>
            <a:ext cx="2303516" cy="97784"/>
          </a:xfrm>
          <a:prstGeom prst="rect">
            <a:avLst/>
          </a:prstGeom>
          <a:noFill/>
        </p:spPr>
        <p:txBody>
          <a:bodyPr wrap="none" lIns="0" tIns="0" rIns="0" bIns="0" rtlCol="0">
            <a:spAutoFit/>
          </a:bodyPr>
          <a:lstStyle/>
          <a:p>
            <a:pPr>
              <a:lnSpc>
                <a:spcPct val="90000"/>
              </a:lnSpc>
              <a:spcAft>
                <a:spcPts val="369"/>
              </a:spcAft>
            </a:pPr>
            <a:r>
              <a:rPr lang="en-US" sz="706">
                <a:gradFill>
                  <a:gsLst>
                    <a:gs pos="2917">
                      <a:schemeClr val="tx1"/>
                    </a:gs>
                    <a:gs pos="30000">
                      <a:schemeClr val="tx1"/>
                    </a:gs>
                  </a:gsLst>
                  <a:lin ang="5400000" scaled="0"/>
                </a:gradFill>
              </a:rPr>
              <a:t>MICROSOFT</a:t>
            </a:r>
            <a:r>
              <a:rPr lang="en-US" sz="706" baseline="0">
                <a:gradFill>
                  <a:gsLst>
                    <a:gs pos="2917">
                      <a:schemeClr val="tx1"/>
                    </a:gs>
                    <a:gs pos="30000">
                      <a:schemeClr val="tx1"/>
                    </a:gs>
                  </a:gsLst>
                  <a:lin ang="5400000" scaled="0"/>
                </a:gradFill>
              </a:rPr>
              <a:t> CONFIDENTIAL / </a:t>
            </a:r>
            <a:r>
              <a:rPr lang="en-US" sz="706" b="1" baseline="0">
                <a:gradFill>
                  <a:gsLst>
                    <a:gs pos="2917">
                      <a:schemeClr val="tx1"/>
                    </a:gs>
                    <a:gs pos="30000">
                      <a:schemeClr val="tx1"/>
                    </a:gs>
                  </a:gsLst>
                  <a:lin ang="5400000" scaled="0"/>
                </a:gradFill>
              </a:rPr>
              <a:t>FOR INTERNAL USE</a:t>
            </a:r>
            <a:r>
              <a:rPr lang="en-US" sz="706" baseline="0">
                <a:gradFill>
                  <a:gsLst>
                    <a:gs pos="2917">
                      <a:schemeClr val="tx1"/>
                    </a:gs>
                    <a:gs pos="30000">
                      <a:schemeClr val="tx1"/>
                    </a:gs>
                  </a:gsLst>
                  <a:lin ang="5400000" scaled="0"/>
                </a:gradFill>
              </a:rPr>
              <a:t> ONLY</a:t>
            </a:r>
            <a:endParaRPr lang="en-US" sz="706">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4350184"/>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94" r:id="rId9"/>
  </p:sldLayoutIdLst>
  <p:transition>
    <p:fade/>
  </p:transition>
  <p:hf sldNum="0" hdr="0" dt="0"/>
  <p:txStyles>
    <p:titleStyle>
      <a:lvl1pPr algn="l" defTabSz="716351" rtl="0" eaLnBrk="1" latinLnBrk="0" hangingPunct="1">
        <a:lnSpc>
          <a:spcPct val="90000"/>
        </a:lnSpc>
        <a:spcBef>
          <a:spcPct val="0"/>
        </a:spcBef>
        <a:buNone/>
        <a:defRPr lang="en-US" sz="2118" b="0" kern="1200" cap="none" spc="-78" baseline="0" dirty="0" smtClean="0">
          <a:ln w="3175">
            <a:noFill/>
          </a:ln>
          <a:solidFill>
            <a:schemeClr val="tx1"/>
          </a:solidFill>
          <a:effectLst/>
          <a:latin typeface="+mj-lt"/>
          <a:ea typeface="+mn-ea"/>
          <a:cs typeface="Segoe UI" pitchFamily="34" charset="0"/>
        </a:defRPr>
      </a:lvl1pPr>
    </p:titleStyle>
    <p:bodyStyle>
      <a:lvl1pPr marL="210714" marR="0" indent="-210714" algn="l" defTabSz="716351" rtl="0" eaLnBrk="1" fontAlgn="auto" latinLnBrk="0" hangingPunct="1">
        <a:lnSpc>
          <a:spcPct val="90000"/>
        </a:lnSpc>
        <a:spcBef>
          <a:spcPct val="20000"/>
        </a:spcBef>
        <a:spcAft>
          <a:spcPts val="0"/>
        </a:spcAft>
        <a:buClrTx/>
        <a:buSzPct val="90000"/>
        <a:buFont typeface="Arial" pitchFamily="34" charset="0"/>
        <a:buChar char="•"/>
        <a:tabLst/>
        <a:defRPr sz="2471" kern="1200" spc="0" baseline="0">
          <a:solidFill>
            <a:schemeClr val="tx1"/>
          </a:solidFill>
          <a:latin typeface="+mj-lt"/>
          <a:ea typeface="+mn-ea"/>
          <a:cs typeface="+mn-cs"/>
        </a:defRPr>
      </a:lvl1pPr>
      <a:lvl2pPr marL="448670" marR="0" indent="-185320" algn="l" defTabSz="716351" rtl="0" eaLnBrk="1" fontAlgn="auto" latinLnBrk="0" hangingPunct="1">
        <a:lnSpc>
          <a:spcPct val="90000"/>
        </a:lnSpc>
        <a:spcBef>
          <a:spcPct val="20000"/>
        </a:spcBef>
        <a:spcAft>
          <a:spcPts val="0"/>
        </a:spcAft>
        <a:buClrTx/>
        <a:buSzPct val="90000"/>
        <a:buFont typeface="Arial" pitchFamily="34" charset="0"/>
        <a:buChar char="•"/>
        <a:tabLst/>
        <a:defRPr sz="1677" kern="1200" spc="0" baseline="0">
          <a:solidFill>
            <a:schemeClr val="tx1"/>
          </a:solidFill>
          <a:latin typeface="+mn-lt"/>
          <a:ea typeface="+mn-ea"/>
          <a:cs typeface="+mn-cs"/>
        </a:defRPr>
      </a:lvl2pPr>
      <a:lvl3pPr marL="614482" marR="0" indent="-175567" algn="l" defTabSz="716351"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solidFill>
            <a:schemeClr val="tx1"/>
          </a:solidFill>
          <a:latin typeface="+mn-lt"/>
          <a:ea typeface="+mn-ea"/>
          <a:cs typeface="+mn-cs"/>
        </a:defRPr>
      </a:lvl3pPr>
      <a:lvl4pPr marL="790049" marR="0" indent="-175567" algn="l" defTabSz="716351"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1"/>
          </a:solidFill>
          <a:latin typeface="+mn-lt"/>
          <a:ea typeface="+mn-ea"/>
          <a:cs typeface="+mn-cs"/>
        </a:defRPr>
      </a:lvl4pPr>
      <a:lvl5pPr marL="965614" marR="0" indent="-175567" algn="l" defTabSz="716351" rtl="0" eaLnBrk="1" fontAlgn="auto" latinLnBrk="0" hangingPunct="1">
        <a:lnSpc>
          <a:spcPct val="90000"/>
        </a:lnSpc>
        <a:spcBef>
          <a:spcPct val="20000"/>
        </a:spcBef>
        <a:spcAft>
          <a:spcPts val="0"/>
        </a:spcAft>
        <a:buClrTx/>
        <a:buSzPct val="90000"/>
        <a:buFont typeface="Arial" pitchFamily="34" charset="0"/>
        <a:buChar char="•"/>
        <a:tabLst/>
        <a:defRPr sz="1235" kern="1200" spc="0" baseline="0">
          <a:solidFill>
            <a:schemeClr val="tx1"/>
          </a:solidFill>
          <a:latin typeface="+mn-lt"/>
          <a:ea typeface="+mn-ea"/>
          <a:cs typeface="+mn-cs"/>
        </a:defRPr>
      </a:lvl5pPr>
      <a:lvl6pPr marL="1969966" indent="-179087" algn="l" defTabSz="7163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328144" indent="-179087" algn="l" defTabSz="7163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86319" indent="-179087" algn="l" defTabSz="7163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3044496" indent="-179087" algn="l" defTabSz="7163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716351" rtl="0" eaLnBrk="1" latinLnBrk="0" hangingPunct="1">
        <a:defRPr sz="1324" kern="1200">
          <a:solidFill>
            <a:schemeClr val="tx1"/>
          </a:solidFill>
          <a:latin typeface="+mn-lt"/>
          <a:ea typeface="+mn-ea"/>
          <a:cs typeface="+mn-cs"/>
        </a:defRPr>
      </a:lvl1pPr>
      <a:lvl2pPr marL="358176" algn="l" defTabSz="716351" rtl="0" eaLnBrk="1" latinLnBrk="0" hangingPunct="1">
        <a:defRPr sz="1324" kern="1200">
          <a:solidFill>
            <a:schemeClr val="tx1"/>
          </a:solidFill>
          <a:latin typeface="+mn-lt"/>
          <a:ea typeface="+mn-ea"/>
          <a:cs typeface="+mn-cs"/>
        </a:defRPr>
      </a:lvl2pPr>
      <a:lvl3pPr marL="716351" algn="l" defTabSz="716351" rtl="0" eaLnBrk="1" latinLnBrk="0" hangingPunct="1">
        <a:defRPr sz="1324" kern="1200">
          <a:solidFill>
            <a:schemeClr val="tx1"/>
          </a:solidFill>
          <a:latin typeface="+mn-lt"/>
          <a:ea typeface="+mn-ea"/>
          <a:cs typeface="+mn-cs"/>
        </a:defRPr>
      </a:lvl3pPr>
      <a:lvl4pPr marL="1074528" algn="l" defTabSz="716351" rtl="0" eaLnBrk="1" latinLnBrk="0" hangingPunct="1">
        <a:defRPr sz="1324" kern="1200">
          <a:solidFill>
            <a:schemeClr val="tx1"/>
          </a:solidFill>
          <a:latin typeface="+mn-lt"/>
          <a:ea typeface="+mn-ea"/>
          <a:cs typeface="+mn-cs"/>
        </a:defRPr>
      </a:lvl4pPr>
      <a:lvl5pPr marL="1432703" algn="l" defTabSz="716351" rtl="0" eaLnBrk="1" latinLnBrk="0" hangingPunct="1">
        <a:defRPr sz="1324" kern="1200">
          <a:solidFill>
            <a:schemeClr val="tx1"/>
          </a:solidFill>
          <a:latin typeface="+mn-lt"/>
          <a:ea typeface="+mn-ea"/>
          <a:cs typeface="+mn-cs"/>
        </a:defRPr>
      </a:lvl5pPr>
      <a:lvl6pPr marL="1790880" algn="l" defTabSz="716351" rtl="0" eaLnBrk="1" latinLnBrk="0" hangingPunct="1">
        <a:defRPr sz="1324" kern="1200">
          <a:solidFill>
            <a:schemeClr val="tx1"/>
          </a:solidFill>
          <a:latin typeface="+mn-lt"/>
          <a:ea typeface="+mn-ea"/>
          <a:cs typeface="+mn-cs"/>
        </a:defRPr>
      </a:lvl6pPr>
      <a:lvl7pPr marL="2149055" algn="l" defTabSz="716351" rtl="0" eaLnBrk="1" latinLnBrk="0" hangingPunct="1">
        <a:defRPr sz="1324" kern="1200">
          <a:solidFill>
            <a:schemeClr val="tx1"/>
          </a:solidFill>
          <a:latin typeface="+mn-lt"/>
          <a:ea typeface="+mn-ea"/>
          <a:cs typeface="+mn-cs"/>
        </a:defRPr>
      </a:lvl7pPr>
      <a:lvl8pPr marL="2507231" algn="l" defTabSz="716351" rtl="0" eaLnBrk="1" latinLnBrk="0" hangingPunct="1">
        <a:defRPr sz="1324" kern="1200">
          <a:solidFill>
            <a:schemeClr val="tx1"/>
          </a:solidFill>
          <a:latin typeface="+mn-lt"/>
          <a:ea typeface="+mn-ea"/>
          <a:cs typeface="+mn-cs"/>
        </a:defRPr>
      </a:lvl8pPr>
      <a:lvl9pPr marL="2865407" algn="l" defTabSz="716351" rtl="0" eaLnBrk="1" latinLnBrk="0" hangingPunct="1">
        <a:defRPr sz="132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0833" y="467180"/>
            <a:ext cx="11416300" cy="511268"/>
          </a:xfrm>
          <a:prstGeom prst="rect">
            <a:avLst/>
          </a:prstGeom>
        </p:spPr>
        <p:txBody>
          <a:bodyPr vert="horz" wrap="square" lIns="0" tIns="91440" rIns="0" bIns="91440" rtlCol="0" anchor="t">
            <a:noAutofit/>
          </a:bodyPr>
          <a:lstStyle/>
          <a:p>
            <a:r>
              <a:rPr lang="en-US"/>
              <a:t>Click to edit Master title style</a:t>
            </a:r>
          </a:p>
        </p:txBody>
      </p:sp>
      <p:sp>
        <p:nvSpPr>
          <p:cNvPr id="4" name="Text Placeholder 3"/>
          <p:cNvSpPr>
            <a:spLocks noGrp="1"/>
          </p:cNvSpPr>
          <p:nvPr>
            <p:ph type="body" idx="1"/>
          </p:nvPr>
        </p:nvSpPr>
        <p:spPr>
          <a:xfrm>
            <a:off x="394701" y="1116685"/>
            <a:ext cx="11412432" cy="1602897"/>
          </a:xfrm>
          <a:prstGeom prst="rect">
            <a:avLst/>
          </a:prstGeom>
        </p:spPr>
        <p:txBody>
          <a:bodyPr vert="horz" wrap="square"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390833" y="6564855"/>
            <a:ext cx="2389942" cy="124691"/>
          </a:xfrm>
          <a:prstGeom prst="rect">
            <a:avLst/>
          </a:prstGeom>
        </p:spPr>
        <p:txBody>
          <a:bodyPr vert="horz" wrap="none" lIns="159197" tIns="0" rIns="159197" bIns="0" rtlCol="0" anchor="ctr"/>
          <a:lstStyle>
            <a:lvl1pPr algn="l">
              <a:defRPr sz="706">
                <a:solidFill>
                  <a:schemeClr val="tx1"/>
                </a:solidFill>
              </a:defRPr>
            </a:lvl1pPr>
          </a:lstStyle>
          <a:p>
            <a:endParaRPr lang="en-US"/>
          </a:p>
        </p:txBody>
      </p:sp>
      <p:sp>
        <p:nvSpPr>
          <p:cNvPr id="5" name="Slide Number Placeholder 4"/>
          <p:cNvSpPr>
            <a:spLocks noGrp="1"/>
          </p:cNvSpPr>
          <p:nvPr>
            <p:ph type="sldNum" sz="quarter" idx="4"/>
          </p:nvPr>
        </p:nvSpPr>
        <p:spPr>
          <a:xfrm>
            <a:off x="11018239" y="6564855"/>
            <a:ext cx="788894" cy="124691"/>
          </a:xfrm>
          <a:prstGeom prst="rect">
            <a:avLst/>
          </a:prstGeom>
        </p:spPr>
        <p:txBody>
          <a:bodyPr vert="horz" lIns="159197" tIns="0" rIns="159197" bIns="0" rtlCol="0" anchor="ctr"/>
          <a:lstStyle>
            <a:lvl1pPr algn="r">
              <a:defRPr sz="970">
                <a:gradFill>
                  <a:gsLst>
                    <a:gs pos="5000">
                      <a:schemeClr val="tx1"/>
                    </a:gs>
                    <a:gs pos="31000">
                      <a:schemeClr val="tx1"/>
                    </a:gs>
                  </a:gsLst>
                  <a:lin ang="5400000" scaled="0"/>
                </a:gradFill>
              </a:defRPr>
            </a:lvl1pPr>
          </a:lstStyle>
          <a:p>
            <a:fld id="{77A80767-0168-4202-AF54-9FDB461E3B29}" type="slidenum">
              <a:rPr lang="en-US" smtClean="0"/>
              <a:pPr/>
              <a:t>‹#›</a:t>
            </a:fld>
            <a:endParaRPr lang="en-US"/>
          </a:p>
        </p:txBody>
      </p:sp>
      <p:sp>
        <p:nvSpPr>
          <p:cNvPr id="6" name="TextBox 5"/>
          <p:cNvSpPr txBox="1"/>
          <p:nvPr/>
        </p:nvSpPr>
        <p:spPr>
          <a:xfrm>
            <a:off x="5011671" y="6591781"/>
            <a:ext cx="2168658" cy="97761"/>
          </a:xfrm>
          <a:prstGeom prst="rect">
            <a:avLst/>
          </a:prstGeom>
          <a:noFill/>
        </p:spPr>
        <p:txBody>
          <a:bodyPr wrap="none" lIns="0" tIns="0" rIns="0" bIns="0" rtlCol="0">
            <a:spAutoFit/>
          </a:bodyPr>
          <a:lstStyle/>
          <a:p>
            <a:pPr>
              <a:lnSpc>
                <a:spcPct val="90000"/>
              </a:lnSpc>
              <a:spcAft>
                <a:spcPts val="369"/>
              </a:spcAft>
            </a:pPr>
            <a:r>
              <a:rPr lang="en-US" sz="706">
                <a:gradFill>
                  <a:gsLst>
                    <a:gs pos="2917">
                      <a:schemeClr val="tx1"/>
                    </a:gs>
                    <a:gs pos="30000">
                      <a:schemeClr val="tx1"/>
                    </a:gs>
                  </a:gsLst>
                  <a:lin ang="5400000" scaled="0"/>
                </a:gradFill>
              </a:rPr>
              <a:t>MICROSOFT</a:t>
            </a:r>
            <a:r>
              <a:rPr lang="en-US" sz="706" baseline="0">
                <a:gradFill>
                  <a:gsLst>
                    <a:gs pos="2917">
                      <a:schemeClr val="tx1"/>
                    </a:gs>
                    <a:gs pos="30000">
                      <a:schemeClr val="tx1"/>
                    </a:gs>
                  </a:gsLst>
                  <a:lin ang="5400000" scaled="0"/>
                </a:gradFill>
              </a:rPr>
              <a:t> CONFIDENTIAL / </a:t>
            </a:r>
            <a:r>
              <a:rPr lang="en-US" sz="706" b="1" baseline="0">
                <a:gradFill>
                  <a:gsLst>
                    <a:gs pos="2917">
                      <a:schemeClr val="tx1"/>
                    </a:gs>
                    <a:gs pos="30000">
                      <a:schemeClr val="tx1"/>
                    </a:gs>
                  </a:gsLst>
                  <a:lin ang="5400000" scaled="0"/>
                </a:gradFill>
              </a:rPr>
              <a:t>FOR INTERNAL USE</a:t>
            </a:r>
            <a:r>
              <a:rPr lang="en-US" sz="706" baseline="0">
                <a:gradFill>
                  <a:gsLst>
                    <a:gs pos="2917">
                      <a:schemeClr val="tx1"/>
                    </a:gs>
                    <a:gs pos="30000">
                      <a:schemeClr val="tx1"/>
                    </a:gs>
                  </a:gsLst>
                  <a:lin ang="5400000" scaled="0"/>
                </a:gradFill>
              </a:rPr>
              <a:t> ONLY</a:t>
            </a:r>
            <a:endParaRPr lang="en-US" sz="706">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90042067"/>
      </p:ext>
    </p:extLst>
  </p:cSld>
  <p:clrMap bg1="lt1" tx1="dk1" bg2="lt2" tx2="dk2" accent1="accent1" accent2="accent2" accent3="accent3" accent4="accent4" accent5="accent5" accent6="accent6" hlink="hlink" folHlink="folHlink"/>
  <p:sldLayoutIdLst>
    <p:sldLayoutId id="2147485155" r:id="rId1"/>
    <p:sldLayoutId id="2147485156" r:id="rId2"/>
    <p:sldLayoutId id="2147485157" r:id="rId3"/>
    <p:sldLayoutId id="2147485158" r:id="rId4"/>
    <p:sldLayoutId id="2147485159" r:id="rId5"/>
    <p:sldLayoutId id="2147485160" r:id="rId6"/>
    <p:sldLayoutId id="2147485161" r:id="rId7"/>
    <p:sldLayoutId id="2147485162" r:id="rId8"/>
    <p:sldLayoutId id="2147485163" r:id="rId9"/>
    <p:sldLayoutId id="2147485164" r:id="rId10"/>
    <p:sldLayoutId id="2147485165" r:id="rId11"/>
    <p:sldLayoutId id="2147485166" r:id="rId12"/>
    <p:sldLayoutId id="2147485167" r:id="rId13"/>
    <p:sldLayoutId id="2147485168" r:id="rId14"/>
    <p:sldLayoutId id="2147485169" r:id="rId15"/>
    <p:sldLayoutId id="2147485170" r:id="rId16"/>
    <p:sldLayoutId id="2147485171" r:id="rId17"/>
    <p:sldLayoutId id="2147485172" r:id="rId18"/>
    <p:sldLayoutId id="2147485173" r:id="rId19"/>
    <p:sldLayoutId id="2147485175" r:id="rId20"/>
    <p:sldLayoutId id="2147485505" r:id="rId21"/>
    <p:sldLayoutId id="2147485905" r:id="rId22"/>
    <p:sldLayoutId id="2147485952" r:id="rId23"/>
  </p:sldLayoutIdLst>
  <p:transition>
    <p:fade/>
  </p:transition>
  <p:hf hdr="0" ftr="0" dt="0"/>
  <p:txStyles>
    <p:titleStyle>
      <a:lvl1pPr algn="l" defTabSz="716166" rtl="0" eaLnBrk="1" latinLnBrk="0" hangingPunct="1">
        <a:lnSpc>
          <a:spcPct val="90000"/>
        </a:lnSpc>
        <a:spcBef>
          <a:spcPct val="0"/>
        </a:spcBef>
        <a:buNone/>
        <a:defRPr lang="en-US" sz="2470" b="0" kern="1200" cap="none" spc="-77" baseline="0" dirty="0" smtClean="0">
          <a:ln w="3175">
            <a:noFill/>
          </a:ln>
          <a:solidFill>
            <a:srgbClr val="000000"/>
          </a:solidFill>
          <a:effectLst/>
          <a:latin typeface="+mj-lt"/>
          <a:ea typeface="+mn-ea"/>
          <a:cs typeface="Segoe UI" pitchFamily="34" charset="0"/>
        </a:defRPr>
      </a:lvl1pPr>
    </p:titleStyle>
    <p:bodyStyle>
      <a:lvl1pPr marL="210660" marR="0" indent="-210660" algn="l" defTabSz="716166" rtl="0" eaLnBrk="1" fontAlgn="auto" latinLnBrk="0" hangingPunct="1">
        <a:lnSpc>
          <a:spcPct val="90000"/>
        </a:lnSpc>
        <a:spcBef>
          <a:spcPct val="20000"/>
        </a:spcBef>
        <a:spcAft>
          <a:spcPts val="0"/>
        </a:spcAft>
        <a:buClrTx/>
        <a:buSzPct val="90000"/>
        <a:buFont typeface="Arial" pitchFamily="34" charset="0"/>
        <a:buChar char="•"/>
        <a:tabLst/>
        <a:defRPr sz="2470" kern="1200" spc="0" baseline="0">
          <a:solidFill>
            <a:srgbClr val="000000"/>
          </a:solidFill>
          <a:latin typeface="+mj-lt"/>
          <a:ea typeface="+mn-ea"/>
          <a:cs typeface="+mn-cs"/>
        </a:defRPr>
      </a:lvl1pPr>
      <a:lvl2pPr marL="448554" marR="0" indent="-185272" algn="l" defTabSz="716166" rtl="0" eaLnBrk="1" fontAlgn="auto" latinLnBrk="0" hangingPunct="1">
        <a:lnSpc>
          <a:spcPct val="90000"/>
        </a:lnSpc>
        <a:spcBef>
          <a:spcPct val="20000"/>
        </a:spcBef>
        <a:spcAft>
          <a:spcPts val="0"/>
        </a:spcAft>
        <a:buClrTx/>
        <a:buSzPct val="90000"/>
        <a:buFont typeface="Arial" pitchFamily="34" charset="0"/>
        <a:buChar char="•"/>
        <a:tabLst/>
        <a:defRPr sz="1676" kern="1200" spc="0" baseline="0">
          <a:solidFill>
            <a:srgbClr val="000000"/>
          </a:solidFill>
          <a:latin typeface="+mn-lt"/>
          <a:ea typeface="+mn-ea"/>
          <a:cs typeface="+mn-cs"/>
        </a:defRPr>
      </a:lvl2pPr>
      <a:lvl3pPr marL="614324" marR="0" indent="-175522" algn="l" defTabSz="716166"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solidFill>
            <a:srgbClr val="000000"/>
          </a:solidFill>
          <a:latin typeface="+mn-lt"/>
          <a:ea typeface="+mn-ea"/>
          <a:cs typeface="+mn-cs"/>
        </a:defRPr>
      </a:lvl3pPr>
      <a:lvl4pPr marL="789844" marR="0" indent="-175522" algn="l" defTabSz="716166"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solidFill>
            <a:srgbClr val="000000"/>
          </a:solidFill>
          <a:latin typeface="+mn-lt"/>
          <a:ea typeface="+mn-ea"/>
          <a:cs typeface="+mn-cs"/>
        </a:defRPr>
      </a:lvl4pPr>
      <a:lvl5pPr marL="965364" marR="0" indent="-175522" algn="l" defTabSz="716166" rtl="0" eaLnBrk="1" fontAlgn="auto" latinLnBrk="0" hangingPunct="1">
        <a:lnSpc>
          <a:spcPct val="90000"/>
        </a:lnSpc>
        <a:spcBef>
          <a:spcPct val="20000"/>
        </a:spcBef>
        <a:spcAft>
          <a:spcPts val="0"/>
        </a:spcAft>
        <a:buClrTx/>
        <a:buSzPct val="90000"/>
        <a:buFont typeface="Arial" pitchFamily="34" charset="0"/>
        <a:buChar char="•"/>
        <a:tabLst/>
        <a:defRPr sz="1235" kern="1200" spc="0" baseline="0">
          <a:solidFill>
            <a:srgbClr val="000000"/>
          </a:solidFill>
          <a:latin typeface="+mn-lt"/>
          <a:ea typeface="+mn-ea"/>
          <a:cs typeface="+mn-cs"/>
        </a:defRPr>
      </a:lvl5pPr>
      <a:lvl6pPr marL="1969457" indent="-179041" algn="l" defTabSz="71616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327542" indent="-179041" algn="l" defTabSz="71616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85625" indent="-179041" algn="l" defTabSz="71616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3043709" indent="-179041" algn="l" defTabSz="71616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716166" rtl="0" eaLnBrk="1" latinLnBrk="0" hangingPunct="1">
        <a:defRPr sz="1323" kern="1200">
          <a:solidFill>
            <a:schemeClr val="tx1"/>
          </a:solidFill>
          <a:latin typeface="+mn-lt"/>
          <a:ea typeface="+mn-ea"/>
          <a:cs typeface="+mn-cs"/>
        </a:defRPr>
      </a:lvl1pPr>
      <a:lvl2pPr marL="358083" algn="l" defTabSz="716166" rtl="0" eaLnBrk="1" latinLnBrk="0" hangingPunct="1">
        <a:defRPr sz="1323" kern="1200">
          <a:solidFill>
            <a:schemeClr val="tx1"/>
          </a:solidFill>
          <a:latin typeface="+mn-lt"/>
          <a:ea typeface="+mn-ea"/>
          <a:cs typeface="+mn-cs"/>
        </a:defRPr>
      </a:lvl2pPr>
      <a:lvl3pPr marL="716166" algn="l" defTabSz="716166" rtl="0" eaLnBrk="1" latinLnBrk="0" hangingPunct="1">
        <a:defRPr sz="1323" kern="1200">
          <a:solidFill>
            <a:schemeClr val="tx1"/>
          </a:solidFill>
          <a:latin typeface="+mn-lt"/>
          <a:ea typeface="+mn-ea"/>
          <a:cs typeface="+mn-cs"/>
        </a:defRPr>
      </a:lvl3pPr>
      <a:lvl4pPr marL="1074250" algn="l" defTabSz="716166" rtl="0" eaLnBrk="1" latinLnBrk="0" hangingPunct="1">
        <a:defRPr sz="1323" kern="1200">
          <a:solidFill>
            <a:schemeClr val="tx1"/>
          </a:solidFill>
          <a:latin typeface="+mn-lt"/>
          <a:ea typeface="+mn-ea"/>
          <a:cs typeface="+mn-cs"/>
        </a:defRPr>
      </a:lvl4pPr>
      <a:lvl5pPr marL="1432332" algn="l" defTabSz="716166" rtl="0" eaLnBrk="1" latinLnBrk="0" hangingPunct="1">
        <a:defRPr sz="1323" kern="1200">
          <a:solidFill>
            <a:schemeClr val="tx1"/>
          </a:solidFill>
          <a:latin typeface="+mn-lt"/>
          <a:ea typeface="+mn-ea"/>
          <a:cs typeface="+mn-cs"/>
        </a:defRPr>
      </a:lvl5pPr>
      <a:lvl6pPr marL="1790417" algn="l" defTabSz="716166" rtl="0" eaLnBrk="1" latinLnBrk="0" hangingPunct="1">
        <a:defRPr sz="1323" kern="1200">
          <a:solidFill>
            <a:schemeClr val="tx1"/>
          </a:solidFill>
          <a:latin typeface="+mn-lt"/>
          <a:ea typeface="+mn-ea"/>
          <a:cs typeface="+mn-cs"/>
        </a:defRPr>
      </a:lvl6pPr>
      <a:lvl7pPr marL="2148500" algn="l" defTabSz="716166" rtl="0" eaLnBrk="1" latinLnBrk="0" hangingPunct="1">
        <a:defRPr sz="1323" kern="1200">
          <a:solidFill>
            <a:schemeClr val="tx1"/>
          </a:solidFill>
          <a:latin typeface="+mn-lt"/>
          <a:ea typeface="+mn-ea"/>
          <a:cs typeface="+mn-cs"/>
        </a:defRPr>
      </a:lvl7pPr>
      <a:lvl8pPr marL="2506583" algn="l" defTabSz="716166" rtl="0" eaLnBrk="1" latinLnBrk="0" hangingPunct="1">
        <a:defRPr sz="1323" kern="1200">
          <a:solidFill>
            <a:schemeClr val="tx1"/>
          </a:solidFill>
          <a:latin typeface="+mn-lt"/>
          <a:ea typeface="+mn-ea"/>
          <a:cs typeface="+mn-cs"/>
        </a:defRPr>
      </a:lvl8pPr>
      <a:lvl9pPr marL="2864666" algn="l" defTabSz="716166" rtl="0" eaLnBrk="1" latinLnBrk="0" hangingPunct="1">
        <a:defRPr sz="132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0">
          <p15:clr>
            <a:srgbClr val="F26B43"/>
          </p15:clr>
        </p15:guide>
        <p15:guide id="2" pos="7440">
          <p15:clr>
            <a:srgbClr val="F26B43"/>
          </p15:clr>
        </p15:guide>
        <p15:guide id="3" orient="horz" pos="288">
          <p15:clr>
            <a:srgbClr val="F26B43"/>
          </p15:clr>
        </p15:guide>
        <p15:guide id="4" orient="horz" pos="4032">
          <p15:clr>
            <a:srgbClr val="F26B43"/>
          </p15:clr>
        </p15:guide>
        <p15:guide id="5" orient="horz" pos="624">
          <p15:clr>
            <a:srgbClr val="F26B43"/>
          </p15:clr>
        </p15:guide>
        <p15:guide id="6" orient="horz" pos="69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17715" y="201706"/>
            <a:ext cx="11756571" cy="484094"/>
          </a:xfrm>
          <a:prstGeom prst="rect">
            <a:avLst/>
          </a:prstGeom>
        </p:spPr>
        <p:txBody>
          <a:bodyPr vert="horz" wrap="square" lIns="45720" tIns="91440" rIns="0" bIns="91440" rtlCol="0" anchor="b">
            <a:noAutofit/>
          </a:bodyPr>
          <a:lstStyle/>
          <a:p>
            <a:r>
              <a:rPr lang="en-US"/>
              <a:t>Click to edit Master title style</a:t>
            </a:r>
          </a:p>
        </p:txBody>
      </p:sp>
      <p:sp>
        <p:nvSpPr>
          <p:cNvPr id="4" name="Text Placeholder 3"/>
          <p:cNvSpPr>
            <a:spLocks noGrp="1"/>
          </p:cNvSpPr>
          <p:nvPr>
            <p:ph type="body" idx="1"/>
          </p:nvPr>
        </p:nvSpPr>
        <p:spPr>
          <a:xfrm>
            <a:off x="217715" y="1008530"/>
            <a:ext cx="11756571" cy="1401666"/>
          </a:xfrm>
          <a:prstGeom prst="rect">
            <a:avLst/>
          </a:prstGeom>
        </p:spPr>
        <p:txBody>
          <a:bodyPr vert="horz" wrap="square" lIns="4572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p:nvSpPr>
        <p:spPr>
          <a:xfrm>
            <a:off x="4572585" y="6683220"/>
            <a:ext cx="2120773" cy="90602"/>
          </a:xfrm>
          <a:prstGeom prst="rect">
            <a:avLst/>
          </a:prstGeom>
          <a:noFill/>
        </p:spPr>
        <p:txBody>
          <a:bodyPr wrap="none" lIns="0" tIns="0" rIns="0" bIns="0" rtlCol="0">
            <a:spAutoFit/>
          </a:bodyPr>
          <a:lstStyle/>
          <a:p>
            <a:pPr>
              <a:lnSpc>
                <a:spcPct val="90000"/>
              </a:lnSpc>
              <a:spcAft>
                <a:spcPts val="341"/>
              </a:spcAft>
            </a:pPr>
            <a:r>
              <a:rPr lang="en-US" sz="654">
                <a:gradFill>
                  <a:gsLst>
                    <a:gs pos="2917">
                      <a:schemeClr val="tx1"/>
                    </a:gs>
                    <a:gs pos="30000">
                      <a:schemeClr val="tx1"/>
                    </a:gs>
                  </a:gsLst>
                  <a:lin ang="5400000" scaled="0"/>
                </a:gradFill>
              </a:rPr>
              <a:t>MICROSOFT</a:t>
            </a:r>
            <a:r>
              <a:rPr lang="en-US" sz="654" baseline="0">
                <a:gradFill>
                  <a:gsLst>
                    <a:gs pos="2917">
                      <a:schemeClr val="tx1"/>
                    </a:gs>
                    <a:gs pos="30000">
                      <a:schemeClr val="tx1"/>
                    </a:gs>
                  </a:gsLst>
                  <a:lin ang="5400000" scaled="0"/>
                </a:gradFill>
              </a:rPr>
              <a:t> CONFIDENTIAL / </a:t>
            </a:r>
            <a:r>
              <a:rPr lang="en-US" sz="654" b="1" baseline="0">
                <a:gradFill>
                  <a:gsLst>
                    <a:gs pos="2917">
                      <a:schemeClr val="tx1"/>
                    </a:gs>
                    <a:gs pos="30000">
                      <a:schemeClr val="tx1"/>
                    </a:gs>
                  </a:gsLst>
                  <a:lin ang="5400000" scaled="0"/>
                </a:gradFill>
              </a:rPr>
              <a:t>FOR INTERNAL USE</a:t>
            </a:r>
            <a:r>
              <a:rPr lang="en-US" sz="654" baseline="0">
                <a:gradFill>
                  <a:gsLst>
                    <a:gs pos="2917">
                      <a:schemeClr val="tx1"/>
                    </a:gs>
                    <a:gs pos="30000">
                      <a:schemeClr val="tx1"/>
                    </a:gs>
                  </a:gsLst>
                  <a:lin ang="5400000" scaled="0"/>
                </a:gradFill>
              </a:rPr>
              <a:t> ONLY</a:t>
            </a:r>
            <a:endParaRPr lang="en-US" sz="654">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39844777"/>
      </p:ext>
    </p:extLst>
  </p:cSld>
  <p:clrMap bg1="lt1" tx1="dk1" bg2="lt2" tx2="dk2" accent1="accent1" accent2="accent2" accent3="accent3" accent4="accent4" accent5="accent5" accent6="accent6" hlink="hlink" folHlink="folHlink"/>
  <p:sldLayoutIdLst>
    <p:sldLayoutId id="2147493372" r:id="rId1"/>
    <p:sldLayoutId id="2147493373" r:id="rId2"/>
    <p:sldLayoutId id="2147493374" r:id="rId3"/>
    <p:sldLayoutId id="2147493375" r:id="rId4"/>
    <p:sldLayoutId id="2147493376" r:id="rId5"/>
    <p:sldLayoutId id="2147493377" r:id="rId6"/>
    <p:sldLayoutId id="2147493378" r:id="rId7"/>
    <p:sldLayoutId id="2147493380" r:id="rId8"/>
    <p:sldLayoutId id="2147493381" r:id="rId9"/>
    <p:sldLayoutId id="2147493382" r:id="rId10"/>
    <p:sldLayoutId id="2147493383" r:id="rId11"/>
    <p:sldLayoutId id="2147493384" r:id="rId12"/>
    <p:sldLayoutId id="2147493385" r:id="rId13"/>
    <p:sldLayoutId id="2147493386" r:id="rId14"/>
  </p:sldLayoutIdLst>
  <p:transition>
    <p:fade/>
  </p:transition>
  <p:hf sldNum="0" hdr="0" dt="0"/>
  <p:txStyles>
    <p:titleStyle>
      <a:lvl1pPr algn="l" defTabSz="663698" rtl="0" eaLnBrk="1" latinLnBrk="0" hangingPunct="1">
        <a:lnSpc>
          <a:spcPct val="90000"/>
        </a:lnSpc>
        <a:spcBef>
          <a:spcPct val="0"/>
        </a:spcBef>
        <a:buNone/>
        <a:defRPr lang="en-US" sz="2118" b="0" kern="1200" cap="none" spc="-72" baseline="0" dirty="0" smtClean="0">
          <a:ln w="3175">
            <a:noFill/>
          </a:ln>
          <a:solidFill>
            <a:schemeClr val="bg2">
              <a:lumMod val="10000"/>
            </a:schemeClr>
          </a:solidFill>
          <a:effectLst/>
          <a:latin typeface="+mj-lt"/>
          <a:ea typeface="+mn-ea"/>
          <a:cs typeface="Segoe UI" pitchFamily="34" charset="0"/>
        </a:defRPr>
      </a:lvl1pPr>
    </p:titleStyle>
    <p:bodyStyle>
      <a:lvl1pPr marL="195227" marR="0" indent="-195227" algn="l" defTabSz="663698" rtl="0" eaLnBrk="1" fontAlgn="auto" latinLnBrk="0" hangingPunct="1">
        <a:lnSpc>
          <a:spcPct val="90000"/>
        </a:lnSpc>
        <a:spcBef>
          <a:spcPct val="20000"/>
        </a:spcBef>
        <a:spcAft>
          <a:spcPts val="0"/>
        </a:spcAft>
        <a:buClrTx/>
        <a:buSzPct val="90000"/>
        <a:buFont typeface="Arial" pitchFamily="34" charset="0"/>
        <a:buChar char="•"/>
        <a:tabLst/>
        <a:defRPr sz="2290" kern="1200" spc="0" baseline="0">
          <a:solidFill>
            <a:schemeClr val="tx1"/>
          </a:solidFill>
          <a:latin typeface="+mj-lt"/>
          <a:ea typeface="+mn-ea"/>
          <a:cs typeface="+mn-cs"/>
        </a:defRPr>
      </a:lvl1pPr>
      <a:lvl2pPr marL="415692" marR="0" indent="-171698" algn="l" defTabSz="663698" rtl="0" eaLnBrk="1" fontAlgn="auto" latinLnBrk="0" hangingPunct="1">
        <a:lnSpc>
          <a:spcPct val="90000"/>
        </a:lnSpc>
        <a:spcBef>
          <a:spcPct val="20000"/>
        </a:spcBef>
        <a:spcAft>
          <a:spcPts val="0"/>
        </a:spcAft>
        <a:buClrTx/>
        <a:buSzPct val="90000"/>
        <a:buFont typeface="Arial" pitchFamily="34" charset="0"/>
        <a:buChar char="•"/>
        <a:tabLst/>
        <a:defRPr sz="1555" kern="1200" spc="0" baseline="0">
          <a:solidFill>
            <a:schemeClr val="tx1"/>
          </a:solidFill>
          <a:latin typeface="+mn-lt"/>
          <a:ea typeface="+mn-ea"/>
          <a:cs typeface="+mn-cs"/>
        </a:defRPr>
      </a:lvl2pPr>
      <a:lvl3pPr marL="569316" marR="0" indent="-162662" algn="l" defTabSz="663698" rtl="0" eaLnBrk="1" fontAlgn="auto" latinLnBrk="0" hangingPunct="1">
        <a:lnSpc>
          <a:spcPct val="90000"/>
        </a:lnSpc>
        <a:spcBef>
          <a:spcPct val="20000"/>
        </a:spcBef>
        <a:spcAft>
          <a:spcPts val="0"/>
        </a:spcAft>
        <a:buClrTx/>
        <a:buSzPct val="90000"/>
        <a:buFont typeface="Arial" pitchFamily="34" charset="0"/>
        <a:buChar char="•"/>
        <a:tabLst/>
        <a:defRPr sz="1390" kern="1200" spc="0" baseline="0">
          <a:solidFill>
            <a:schemeClr val="tx1"/>
          </a:solidFill>
          <a:latin typeface="+mn-lt"/>
          <a:ea typeface="+mn-ea"/>
          <a:cs typeface="+mn-cs"/>
        </a:defRPr>
      </a:lvl3pPr>
      <a:lvl4pPr marL="731978" marR="0" indent="-162662" algn="l" defTabSz="663698" rtl="0" eaLnBrk="1" fontAlgn="auto" latinLnBrk="0" hangingPunct="1">
        <a:lnSpc>
          <a:spcPct val="90000"/>
        </a:lnSpc>
        <a:spcBef>
          <a:spcPct val="20000"/>
        </a:spcBef>
        <a:spcAft>
          <a:spcPts val="0"/>
        </a:spcAft>
        <a:buClrTx/>
        <a:buSzPct val="90000"/>
        <a:buFont typeface="Arial" pitchFamily="34" charset="0"/>
        <a:buChar char="•"/>
        <a:tabLst/>
        <a:defRPr sz="1227" kern="1200" spc="0" baseline="0">
          <a:solidFill>
            <a:schemeClr val="tx1"/>
          </a:solidFill>
          <a:latin typeface="+mn-lt"/>
          <a:ea typeface="+mn-ea"/>
          <a:cs typeface="+mn-cs"/>
        </a:defRPr>
      </a:lvl4pPr>
      <a:lvl5pPr marL="894639" marR="0" indent="-162662" algn="l" defTabSz="663698" rtl="0" eaLnBrk="1" fontAlgn="auto" latinLnBrk="0" hangingPunct="1">
        <a:lnSpc>
          <a:spcPct val="90000"/>
        </a:lnSpc>
        <a:spcBef>
          <a:spcPct val="20000"/>
        </a:spcBef>
        <a:spcAft>
          <a:spcPts val="0"/>
        </a:spcAft>
        <a:buClrTx/>
        <a:buSzPct val="90000"/>
        <a:buFont typeface="Arial" pitchFamily="34" charset="0"/>
        <a:buChar char="•"/>
        <a:tabLst/>
        <a:defRPr sz="1144" kern="1200" spc="0" baseline="0">
          <a:solidFill>
            <a:schemeClr val="tx1"/>
          </a:solidFill>
          <a:latin typeface="+mn-lt"/>
          <a:ea typeface="+mn-ea"/>
          <a:cs typeface="+mn-cs"/>
        </a:defRPr>
      </a:lvl5pPr>
      <a:lvl6pPr marL="1825168" indent="-165923" algn="l" defTabSz="663698" rtl="0" eaLnBrk="1" latinLnBrk="0" hangingPunct="1">
        <a:spcBef>
          <a:spcPct val="20000"/>
        </a:spcBef>
        <a:buFont typeface="Arial" pitchFamily="34" charset="0"/>
        <a:buChar char="•"/>
        <a:defRPr sz="1390" kern="1200">
          <a:solidFill>
            <a:schemeClr val="tx1"/>
          </a:solidFill>
          <a:latin typeface="+mn-lt"/>
          <a:ea typeface="+mn-ea"/>
          <a:cs typeface="+mn-cs"/>
        </a:defRPr>
      </a:lvl6pPr>
      <a:lvl7pPr marL="2157019" indent="-165923" algn="l" defTabSz="663698" rtl="0" eaLnBrk="1" latinLnBrk="0" hangingPunct="1">
        <a:spcBef>
          <a:spcPct val="20000"/>
        </a:spcBef>
        <a:buFont typeface="Arial" pitchFamily="34" charset="0"/>
        <a:buChar char="•"/>
        <a:defRPr sz="1390" kern="1200">
          <a:solidFill>
            <a:schemeClr val="tx1"/>
          </a:solidFill>
          <a:latin typeface="+mn-lt"/>
          <a:ea typeface="+mn-ea"/>
          <a:cs typeface="+mn-cs"/>
        </a:defRPr>
      </a:lvl7pPr>
      <a:lvl8pPr marL="2488867" indent="-165923" algn="l" defTabSz="663698" rtl="0" eaLnBrk="1" latinLnBrk="0" hangingPunct="1">
        <a:spcBef>
          <a:spcPct val="20000"/>
        </a:spcBef>
        <a:buFont typeface="Arial" pitchFamily="34" charset="0"/>
        <a:buChar char="•"/>
        <a:defRPr sz="1390" kern="1200">
          <a:solidFill>
            <a:schemeClr val="tx1"/>
          </a:solidFill>
          <a:latin typeface="+mn-lt"/>
          <a:ea typeface="+mn-ea"/>
          <a:cs typeface="+mn-cs"/>
        </a:defRPr>
      </a:lvl8pPr>
      <a:lvl9pPr marL="2820718" indent="-165923" algn="l" defTabSz="663698" rtl="0" eaLnBrk="1" latinLnBrk="0" hangingPunct="1">
        <a:spcBef>
          <a:spcPct val="20000"/>
        </a:spcBef>
        <a:buFont typeface="Arial" pitchFamily="34" charset="0"/>
        <a:buChar char="•"/>
        <a:defRPr sz="1390" kern="1200">
          <a:solidFill>
            <a:schemeClr val="tx1"/>
          </a:solidFill>
          <a:latin typeface="+mn-lt"/>
          <a:ea typeface="+mn-ea"/>
          <a:cs typeface="+mn-cs"/>
        </a:defRPr>
      </a:lvl9pPr>
    </p:bodyStyle>
    <p:otherStyle>
      <a:defPPr>
        <a:defRPr lang="en-US"/>
      </a:defPPr>
      <a:lvl1pPr marL="0" algn="l" defTabSz="663698" rtl="0" eaLnBrk="1" latinLnBrk="0" hangingPunct="1">
        <a:defRPr sz="1227" kern="1200">
          <a:solidFill>
            <a:schemeClr val="tx1"/>
          </a:solidFill>
          <a:latin typeface="+mn-lt"/>
          <a:ea typeface="+mn-ea"/>
          <a:cs typeface="+mn-cs"/>
        </a:defRPr>
      </a:lvl1pPr>
      <a:lvl2pPr marL="331849" algn="l" defTabSz="663698" rtl="0" eaLnBrk="1" latinLnBrk="0" hangingPunct="1">
        <a:defRPr sz="1227" kern="1200">
          <a:solidFill>
            <a:schemeClr val="tx1"/>
          </a:solidFill>
          <a:latin typeface="+mn-lt"/>
          <a:ea typeface="+mn-ea"/>
          <a:cs typeface="+mn-cs"/>
        </a:defRPr>
      </a:lvl2pPr>
      <a:lvl3pPr marL="663698" algn="l" defTabSz="663698" rtl="0" eaLnBrk="1" latinLnBrk="0" hangingPunct="1">
        <a:defRPr sz="1227" kern="1200">
          <a:solidFill>
            <a:schemeClr val="tx1"/>
          </a:solidFill>
          <a:latin typeface="+mn-lt"/>
          <a:ea typeface="+mn-ea"/>
          <a:cs typeface="+mn-cs"/>
        </a:defRPr>
      </a:lvl3pPr>
      <a:lvl4pPr marL="995548" algn="l" defTabSz="663698" rtl="0" eaLnBrk="1" latinLnBrk="0" hangingPunct="1">
        <a:defRPr sz="1227" kern="1200">
          <a:solidFill>
            <a:schemeClr val="tx1"/>
          </a:solidFill>
          <a:latin typeface="+mn-lt"/>
          <a:ea typeface="+mn-ea"/>
          <a:cs typeface="+mn-cs"/>
        </a:defRPr>
      </a:lvl4pPr>
      <a:lvl5pPr marL="1327395" algn="l" defTabSz="663698" rtl="0" eaLnBrk="1" latinLnBrk="0" hangingPunct="1">
        <a:defRPr sz="1227" kern="1200">
          <a:solidFill>
            <a:schemeClr val="tx1"/>
          </a:solidFill>
          <a:latin typeface="+mn-lt"/>
          <a:ea typeface="+mn-ea"/>
          <a:cs typeface="+mn-cs"/>
        </a:defRPr>
      </a:lvl5pPr>
      <a:lvl6pPr marL="1659245" algn="l" defTabSz="663698" rtl="0" eaLnBrk="1" latinLnBrk="0" hangingPunct="1">
        <a:defRPr sz="1227" kern="1200">
          <a:solidFill>
            <a:schemeClr val="tx1"/>
          </a:solidFill>
          <a:latin typeface="+mn-lt"/>
          <a:ea typeface="+mn-ea"/>
          <a:cs typeface="+mn-cs"/>
        </a:defRPr>
      </a:lvl6pPr>
      <a:lvl7pPr marL="1991093" algn="l" defTabSz="663698" rtl="0" eaLnBrk="1" latinLnBrk="0" hangingPunct="1">
        <a:defRPr sz="1227" kern="1200">
          <a:solidFill>
            <a:schemeClr val="tx1"/>
          </a:solidFill>
          <a:latin typeface="+mn-lt"/>
          <a:ea typeface="+mn-ea"/>
          <a:cs typeface="+mn-cs"/>
        </a:defRPr>
      </a:lvl7pPr>
      <a:lvl8pPr marL="2322943" algn="l" defTabSz="663698" rtl="0" eaLnBrk="1" latinLnBrk="0" hangingPunct="1">
        <a:defRPr sz="1227" kern="1200">
          <a:solidFill>
            <a:schemeClr val="tx1"/>
          </a:solidFill>
          <a:latin typeface="+mn-lt"/>
          <a:ea typeface="+mn-ea"/>
          <a:cs typeface="+mn-cs"/>
        </a:defRPr>
      </a:lvl8pPr>
      <a:lvl9pPr marL="2654791" algn="l" defTabSz="663698" rtl="0" eaLnBrk="1" latinLnBrk="0" hangingPunct="1">
        <a:defRPr sz="1227"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4145" name="think-cell Slide" r:id="rId8" imgW="492" imgH="493" progId="TCLayout.ActiveDocument.1">
                  <p:embed/>
                </p:oleObj>
              </mc:Choice>
              <mc:Fallback>
                <p:oleObj name="think-cell Slide" r:id="rId8" imgW="492" imgH="493" progId="TCLayout.ActiveDocument.1">
                  <p:embed/>
                  <p:pic>
                    <p:nvPicPr>
                      <p:cNvPr id="2" name="Object 1" hidden="1"/>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0"/>
          <a:stretch>
            <a:fillRect/>
          </a:stretch>
        </p:blipFill>
        <p:spPr>
          <a:xfrm rot="5400000">
            <a:off x="9208749" y="2991035"/>
            <a:ext cx="6858623" cy="876557"/>
          </a:xfrm>
          <a:prstGeom prst="rect">
            <a:avLst/>
          </a:prstGeom>
        </p:spPr>
      </p:pic>
      <p:sp>
        <p:nvSpPr>
          <p:cNvPr id="8" name="Freeform: Shape 8">
            <a:extLst>
              <a:ext uri="{FF2B5EF4-FFF2-40B4-BE49-F238E27FC236}">
                <a16:creationId xmlns:a16="http://schemas.microsoft.com/office/drawing/2014/main" id="{52E59774-8279-4694-B6B1-7295302E81B5}"/>
              </a:ext>
            </a:extLst>
          </p:cNvPr>
          <p:cNvSpPr/>
          <p:nvPr userDrawn="1"/>
        </p:nvSpPr>
        <p:spPr bwMode="auto">
          <a:xfrm>
            <a:off x="689393" y="523984"/>
            <a:ext cx="11502608" cy="376001"/>
          </a:xfrm>
          <a:custGeom>
            <a:avLst/>
            <a:gdLst>
              <a:gd name="connsiteX0" fmla="*/ 0 w 11618259"/>
              <a:gd name="connsiteY0" fmla="*/ 0 h 516367"/>
              <a:gd name="connsiteX1" fmla="*/ 0 w 11618259"/>
              <a:gd name="connsiteY1" fmla="*/ 516367 h 516367"/>
              <a:gd name="connsiteX2" fmla="*/ 11618259 w 11618259"/>
              <a:gd name="connsiteY2" fmla="*/ 516367 h 516367"/>
            </a:gdLst>
            <a:ahLst/>
            <a:cxnLst>
              <a:cxn ang="0">
                <a:pos x="connsiteX0" y="connsiteY0"/>
              </a:cxn>
              <a:cxn ang="0">
                <a:pos x="connsiteX1" y="connsiteY1"/>
              </a:cxn>
              <a:cxn ang="0">
                <a:pos x="connsiteX2" y="connsiteY2"/>
              </a:cxn>
            </a:cxnLst>
            <a:rect l="l" t="t" r="r" b="b"/>
            <a:pathLst>
              <a:path w="11618259" h="516367">
                <a:moveTo>
                  <a:pt x="0" y="0"/>
                </a:moveTo>
                <a:lnTo>
                  <a:pt x="0" y="516367"/>
                </a:lnTo>
                <a:lnTo>
                  <a:pt x="11618259" y="516367"/>
                </a:ln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17" tIns="44758" rIns="89517" bIns="44758" numCol="1" anchor="t" anchorCtr="0" compatLnSpc="1">
            <a:prstTxWarp prst="textNoShape">
              <a:avLst/>
            </a:prstTxWarp>
          </a:bodyPr>
          <a:lstStyle/>
          <a:p>
            <a:endParaRPr lang="en-US" sz="1763">
              <a:solidFill>
                <a:srgbClr val="505050"/>
              </a:solidFill>
            </a:endParaRPr>
          </a:p>
        </p:txBody>
      </p:sp>
      <p:cxnSp>
        <p:nvCxnSpPr>
          <p:cNvPr id="9" name="Straight Connector 8">
            <a:extLst>
              <a:ext uri="{FF2B5EF4-FFF2-40B4-BE49-F238E27FC236}">
                <a16:creationId xmlns:a16="http://schemas.microsoft.com/office/drawing/2014/main" id="{36D07B0B-6C28-49B6-B7BA-4C7CEEEAA6AE}"/>
              </a:ext>
            </a:extLst>
          </p:cNvPr>
          <p:cNvCxnSpPr/>
          <p:nvPr userDrawn="1"/>
        </p:nvCxnSpPr>
        <p:spPr>
          <a:xfrm flipH="1">
            <a:off x="0" y="899983"/>
            <a:ext cx="678238" cy="0"/>
          </a:xfrm>
          <a:prstGeom prst="line">
            <a:avLst/>
          </a:pr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1" name="Group 10">
            <a:extLst>
              <a:ext uri="{FF2B5EF4-FFF2-40B4-BE49-F238E27FC236}">
                <a16:creationId xmlns:a16="http://schemas.microsoft.com/office/drawing/2014/main" id="{B2AE4CCB-33D0-40E1-B292-A3A78A26C9E7}"/>
              </a:ext>
            </a:extLst>
          </p:cNvPr>
          <p:cNvGrpSpPr/>
          <p:nvPr userDrawn="1"/>
        </p:nvGrpSpPr>
        <p:grpSpPr>
          <a:xfrm>
            <a:off x="426056" y="33458"/>
            <a:ext cx="520864" cy="520864"/>
            <a:chOff x="426056" y="33458"/>
            <a:chExt cx="520864" cy="520864"/>
          </a:xfrm>
        </p:grpSpPr>
        <p:sp>
          <p:nvSpPr>
            <p:cNvPr id="12" name="Oval 11">
              <a:extLst>
                <a:ext uri="{FF2B5EF4-FFF2-40B4-BE49-F238E27FC236}">
                  <a16:creationId xmlns:a16="http://schemas.microsoft.com/office/drawing/2014/main" id="{62394076-03A1-4803-A8C7-AEEB9F671DDF}"/>
                </a:ext>
              </a:extLst>
            </p:cNvPr>
            <p:cNvSpPr>
              <a:spLocks noChangeAspect="1"/>
            </p:cNvSpPr>
            <p:nvPr/>
          </p:nvSpPr>
          <p:spPr bwMode="auto">
            <a:xfrm>
              <a:off x="426056" y="33458"/>
              <a:ext cx="520864" cy="520864"/>
            </a:xfrm>
            <a:prstGeom prst="ellipse">
              <a:avLst/>
            </a:prstGeom>
            <a:solidFill>
              <a:schemeClr val="bg1"/>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447543">
                <a:defRPr/>
              </a:pPr>
              <a:endParaRPr lang="en-US" sz="1763" err="1">
                <a:solidFill>
                  <a:srgbClr val="505050"/>
                </a:solidFill>
              </a:endParaRPr>
            </a:p>
          </p:txBody>
        </p:sp>
        <p:sp>
          <p:nvSpPr>
            <p:cNvPr id="13" name="Freeform 341">
              <a:extLst>
                <a:ext uri="{FF2B5EF4-FFF2-40B4-BE49-F238E27FC236}">
                  <a16:creationId xmlns:a16="http://schemas.microsoft.com/office/drawing/2014/main" id="{CF1E0409-454B-4881-AF4C-1FF2FF5E882A}"/>
                </a:ext>
              </a:extLst>
            </p:cNvPr>
            <p:cNvSpPr>
              <a:spLocks noEditPoints="1"/>
            </p:cNvSpPr>
            <p:nvPr/>
          </p:nvSpPr>
          <p:spPr bwMode="auto">
            <a:xfrm>
              <a:off x="500511" y="105579"/>
              <a:ext cx="371954" cy="376623"/>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5085">
                <a:defRPr/>
              </a:pPr>
              <a:endParaRPr lang="en-US" sz="1763" kern="0">
                <a:solidFill>
                  <a:sysClr val="windowText" lastClr="000000"/>
                </a:solidFill>
                <a:latin typeface="Segoe UI"/>
              </a:endParaRPr>
            </a:p>
          </p:txBody>
        </p:sp>
      </p:grpSp>
      <p:sp>
        <p:nvSpPr>
          <p:cNvPr id="14" name="Title Placeholder 5">
            <a:extLst>
              <a:ext uri="{FF2B5EF4-FFF2-40B4-BE49-F238E27FC236}">
                <a16:creationId xmlns:a16="http://schemas.microsoft.com/office/drawing/2014/main" id="{6D6B1B90-2B98-4405-894F-5B8494205520}"/>
              </a:ext>
            </a:extLst>
          </p:cNvPr>
          <p:cNvSpPr>
            <a:spLocks noGrp="1"/>
          </p:cNvSpPr>
          <p:nvPr>
            <p:ph type="title"/>
          </p:nvPr>
        </p:nvSpPr>
        <p:spPr>
          <a:xfrm>
            <a:off x="881012" y="64597"/>
            <a:ext cx="10332720" cy="832104"/>
          </a:xfrm>
          <a:prstGeom prst="rect">
            <a:avLst/>
          </a:prstGeom>
        </p:spPr>
        <p:txBody>
          <a:bodyPr anchor="b"/>
          <a:lstStyle/>
          <a:p>
            <a:pPr marL="0" lvl="0">
              <a:lnSpc>
                <a:spcPct val="100000"/>
              </a:lnSpc>
            </a:pPr>
            <a:r>
              <a:rPr lang="en-US"/>
              <a:t>Click to edit Master title style</a:t>
            </a:r>
          </a:p>
        </p:txBody>
      </p:sp>
    </p:spTree>
    <p:extLst>
      <p:ext uri="{BB962C8B-B14F-4D97-AF65-F5344CB8AC3E}">
        <p14:creationId xmlns:p14="http://schemas.microsoft.com/office/powerpoint/2010/main" val="3952837367"/>
      </p:ext>
    </p:extLst>
  </p:cSld>
  <p:clrMap bg1="lt1" tx1="dk1" bg2="lt2" tx2="dk2" accent1="accent1" accent2="accent2" accent3="accent3" accent4="accent4" accent5="accent5" accent6="accent6" hlink="hlink" folHlink="folHlink"/>
  <p:sldLayoutIdLst>
    <p:sldLayoutId id="2147493388" r:id="rId1"/>
    <p:sldLayoutId id="2147493389" r:id="rId2"/>
    <p:sldLayoutId id="2147493390" r:id="rId3"/>
    <p:sldLayoutId id="2147493391" r:id="rId4"/>
  </p:sldLayoutIdLst>
  <p:transition>
    <p:fade/>
  </p:transition>
  <p:hf hdr="0" dt="0"/>
  <p:txStyles>
    <p:titleStyle>
      <a:lvl1pPr algn="l" defTabSz="913041" rtl="0" eaLnBrk="1" latinLnBrk="0" hangingPunct="1">
        <a:lnSpc>
          <a:spcPct val="90000"/>
        </a:lnSpc>
        <a:spcBef>
          <a:spcPct val="0"/>
        </a:spcBef>
        <a:buNone/>
        <a:defRPr lang="en-US" sz="3132"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658" marR="0" indent="-335658" algn="l" defTabSz="913041" rtl="0" eaLnBrk="1" fontAlgn="auto" latinLnBrk="0" hangingPunct="1">
        <a:lnSpc>
          <a:spcPct val="90000"/>
        </a:lnSpc>
        <a:spcBef>
          <a:spcPct val="20000"/>
        </a:spcBef>
        <a:spcAft>
          <a:spcPts val="0"/>
        </a:spcAft>
        <a:buClrTx/>
        <a:buSzPct val="90000"/>
        <a:buFont typeface="Arial" pitchFamily="34" charset="0"/>
        <a:buChar char="•"/>
        <a:tabLst/>
        <a:defRPr sz="3596" kern="1200" spc="0" baseline="0">
          <a:gradFill>
            <a:gsLst>
              <a:gs pos="1250">
                <a:schemeClr val="tx1"/>
              </a:gs>
              <a:gs pos="100000">
                <a:schemeClr val="tx1"/>
              </a:gs>
            </a:gsLst>
            <a:lin ang="5400000" scaled="0"/>
          </a:gradFill>
          <a:latin typeface="+mj-lt"/>
          <a:ea typeface="+mn-ea"/>
          <a:cs typeface="+mn-cs"/>
        </a:defRPr>
      </a:lvl1pPr>
      <a:lvl2pPr marL="571860" marR="0" indent="-236202" algn="l" defTabSz="913041" rtl="0" eaLnBrk="1" fontAlgn="auto" latinLnBrk="0" hangingPunct="1">
        <a:lnSpc>
          <a:spcPct val="90000"/>
        </a:lnSpc>
        <a:spcBef>
          <a:spcPct val="20000"/>
        </a:spcBef>
        <a:spcAft>
          <a:spcPts val="0"/>
        </a:spcAft>
        <a:buClrTx/>
        <a:buSzPct val="90000"/>
        <a:buFont typeface="Arial" pitchFamily="34" charset="0"/>
        <a:buChar char="•"/>
        <a:tabLst/>
        <a:defRPr sz="1997" kern="1200" spc="0" baseline="0">
          <a:gradFill>
            <a:gsLst>
              <a:gs pos="1250">
                <a:schemeClr val="tx1"/>
              </a:gs>
              <a:gs pos="100000">
                <a:schemeClr val="tx1"/>
              </a:gs>
            </a:gsLst>
            <a:lin ang="5400000" scaled="0"/>
          </a:gradFill>
          <a:latin typeface="+mn-lt"/>
          <a:ea typeface="+mn-ea"/>
          <a:cs typeface="+mn-cs"/>
        </a:defRPr>
      </a:lvl2pPr>
      <a:lvl3pPr marL="783200" marR="0" indent="-223772" algn="l" defTabSz="913041" rtl="0" eaLnBrk="1" fontAlgn="auto" latinLnBrk="0" hangingPunct="1">
        <a:lnSpc>
          <a:spcPct val="90000"/>
        </a:lnSpc>
        <a:spcBef>
          <a:spcPct val="20000"/>
        </a:spcBef>
        <a:spcAft>
          <a:spcPts val="0"/>
        </a:spcAft>
        <a:buClrTx/>
        <a:buSzPct val="90000"/>
        <a:buFont typeface="Arial" pitchFamily="34" charset="0"/>
        <a:buChar char="•"/>
        <a:tabLst/>
        <a:defRPr sz="1797" kern="1200" spc="0" baseline="0">
          <a:gradFill>
            <a:gsLst>
              <a:gs pos="1250">
                <a:schemeClr val="tx1"/>
              </a:gs>
              <a:gs pos="100000">
                <a:schemeClr val="tx1"/>
              </a:gs>
            </a:gsLst>
            <a:lin ang="5400000" scaled="0"/>
          </a:gradFill>
          <a:latin typeface="+mn-lt"/>
          <a:ea typeface="+mn-ea"/>
          <a:cs typeface="+mn-cs"/>
        </a:defRPr>
      </a:lvl3pPr>
      <a:lvl4pPr marL="1006972" marR="0" indent="-223772" algn="l" defTabSz="913041" rtl="0" eaLnBrk="1" fontAlgn="auto" latinLnBrk="0" hangingPunct="1">
        <a:lnSpc>
          <a:spcPct val="90000"/>
        </a:lnSpc>
        <a:spcBef>
          <a:spcPct val="20000"/>
        </a:spcBef>
        <a:spcAft>
          <a:spcPts val="0"/>
        </a:spcAft>
        <a:buClrTx/>
        <a:buSzPct val="90000"/>
        <a:buFont typeface="Arial" pitchFamily="34" charset="0"/>
        <a:buChar char="•"/>
        <a:tabLst/>
        <a:defRPr sz="1598" kern="1200" spc="0" baseline="0">
          <a:gradFill>
            <a:gsLst>
              <a:gs pos="1250">
                <a:schemeClr val="tx1"/>
              </a:gs>
              <a:gs pos="100000">
                <a:schemeClr val="tx1"/>
              </a:gs>
            </a:gsLst>
            <a:lin ang="5400000" scaled="0"/>
          </a:gradFill>
          <a:latin typeface="+mn-lt"/>
          <a:ea typeface="+mn-ea"/>
          <a:cs typeface="+mn-cs"/>
        </a:defRPr>
      </a:lvl4pPr>
      <a:lvl5pPr marL="1230744" marR="0" indent="-223772" algn="l" defTabSz="913041" rtl="0" eaLnBrk="1" fontAlgn="auto" latinLnBrk="0" hangingPunct="1">
        <a:lnSpc>
          <a:spcPct val="90000"/>
        </a:lnSpc>
        <a:spcBef>
          <a:spcPct val="20000"/>
        </a:spcBef>
        <a:spcAft>
          <a:spcPts val="0"/>
        </a:spcAft>
        <a:buClrTx/>
        <a:buSzPct val="90000"/>
        <a:buFont typeface="Arial" pitchFamily="34" charset="0"/>
        <a:buChar char="•"/>
        <a:tabLst/>
        <a:defRPr sz="1598" kern="1200" spc="0" baseline="0">
          <a:gradFill>
            <a:gsLst>
              <a:gs pos="1250">
                <a:schemeClr val="tx1"/>
              </a:gs>
              <a:gs pos="100000">
                <a:schemeClr val="tx1"/>
              </a:gs>
            </a:gsLst>
            <a:lin ang="5400000" scaled="0"/>
          </a:gradFill>
          <a:latin typeface="+mn-lt"/>
          <a:ea typeface="+mn-ea"/>
          <a:cs typeface="+mn-cs"/>
        </a:defRPr>
      </a:lvl5pPr>
      <a:lvl6pPr marL="2510861" indent="-228260" algn="l" defTabSz="913041" rtl="0" eaLnBrk="1" latinLnBrk="0" hangingPunct="1">
        <a:spcBef>
          <a:spcPct val="20000"/>
        </a:spcBef>
        <a:buFont typeface="Arial" pitchFamily="34" charset="0"/>
        <a:buChar char="•"/>
        <a:defRPr sz="1958" kern="1200">
          <a:solidFill>
            <a:schemeClr val="tx1"/>
          </a:solidFill>
          <a:latin typeface="+mn-lt"/>
          <a:ea typeface="+mn-ea"/>
          <a:cs typeface="+mn-cs"/>
        </a:defRPr>
      </a:lvl6pPr>
      <a:lvl7pPr marL="2967382" indent="-228260" algn="l" defTabSz="913041" rtl="0" eaLnBrk="1" latinLnBrk="0" hangingPunct="1">
        <a:spcBef>
          <a:spcPct val="20000"/>
        </a:spcBef>
        <a:buFont typeface="Arial" pitchFamily="34" charset="0"/>
        <a:buChar char="•"/>
        <a:defRPr sz="1958" kern="1200">
          <a:solidFill>
            <a:schemeClr val="tx1"/>
          </a:solidFill>
          <a:latin typeface="+mn-lt"/>
          <a:ea typeface="+mn-ea"/>
          <a:cs typeface="+mn-cs"/>
        </a:defRPr>
      </a:lvl7pPr>
      <a:lvl8pPr marL="3423903" indent="-228260" algn="l" defTabSz="913041" rtl="0" eaLnBrk="1" latinLnBrk="0" hangingPunct="1">
        <a:spcBef>
          <a:spcPct val="20000"/>
        </a:spcBef>
        <a:buFont typeface="Arial" pitchFamily="34" charset="0"/>
        <a:buChar char="•"/>
        <a:defRPr sz="1958" kern="1200">
          <a:solidFill>
            <a:schemeClr val="tx1"/>
          </a:solidFill>
          <a:latin typeface="+mn-lt"/>
          <a:ea typeface="+mn-ea"/>
          <a:cs typeface="+mn-cs"/>
        </a:defRPr>
      </a:lvl8pPr>
      <a:lvl9pPr marL="3880423" indent="-228260" algn="l" defTabSz="913041" rtl="0" eaLnBrk="1" latinLnBrk="0" hangingPunct="1">
        <a:spcBef>
          <a:spcPct val="20000"/>
        </a:spcBef>
        <a:buFont typeface="Arial" pitchFamily="34" charset="0"/>
        <a:buChar char="•"/>
        <a:defRPr sz="1958" kern="1200">
          <a:solidFill>
            <a:schemeClr val="tx1"/>
          </a:solidFill>
          <a:latin typeface="+mn-lt"/>
          <a:ea typeface="+mn-ea"/>
          <a:cs typeface="+mn-cs"/>
        </a:defRPr>
      </a:lvl9pPr>
    </p:bodyStyle>
    <p:otherStyle>
      <a:defPPr>
        <a:defRPr lang="en-US"/>
      </a:defPPr>
      <a:lvl1pPr marL="0" algn="l" defTabSz="913041" rtl="0" eaLnBrk="1" latinLnBrk="0" hangingPunct="1">
        <a:defRPr sz="1763" kern="1200">
          <a:solidFill>
            <a:schemeClr val="tx1"/>
          </a:solidFill>
          <a:latin typeface="+mn-lt"/>
          <a:ea typeface="+mn-ea"/>
          <a:cs typeface="+mn-cs"/>
        </a:defRPr>
      </a:lvl1pPr>
      <a:lvl2pPr marL="456520" algn="l" defTabSz="913041" rtl="0" eaLnBrk="1" latinLnBrk="0" hangingPunct="1">
        <a:defRPr sz="1763" kern="1200">
          <a:solidFill>
            <a:schemeClr val="tx1"/>
          </a:solidFill>
          <a:latin typeface="+mn-lt"/>
          <a:ea typeface="+mn-ea"/>
          <a:cs typeface="+mn-cs"/>
        </a:defRPr>
      </a:lvl2pPr>
      <a:lvl3pPr marL="913041" algn="l" defTabSz="913041" rtl="0" eaLnBrk="1" latinLnBrk="0" hangingPunct="1">
        <a:defRPr sz="1763" kern="1200">
          <a:solidFill>
            <a:schemeClr val="tx1"/>
          </a:solidFill>
          <a:latin typeface="+mn-lt"/>
          <a:ea typeface="+mn-ea"/>
          <a:cs typeface="+mn-cs"/>
        </a:defRPr>
      </a:lvl3pPr>
      <a:lvl4pPr marL="1369560" algn="l" defTabSz="913041" rtl="0" eaLnBrk="1" latinLnBrk="0" hangingPunct="1">
        <a:defRPr sz="1763" kern="1200">
          <a:solidFill>
            <a:schemeClr val="tx1"/>
          </a:solidFill>
          <a:latin typeface="+mn-lt"/>
          <a:ea typeface="+mn-ea"/>
          <a:cs typeface="+mn-cs"/>
        </a:defRPr>
      </a:lvl4pPr>
      <a:lvl5pPr marL="1826081" algn="l" defTabSz="913041" rtl="0" eaLnBrk="1" latinLnBrk="0" hangingPunct="1">
        <a:defRPr sz="1763" kern="1200">
          <a:solidFill>
            <a:schemeClr val="tx1"/>
          </a:solidFill>
          <a:latin typeface="+mn-lt"/>
          <a:ea typeface="+mn-ea"/>
          <a:cs typeface="+mn-cs"/>
        </a:defRPr>
      </a:lvl5pPr>
      <a:lvl6pPr marL="2282601" algn="l" defTabSz="913041" rtl="0" eaLnBrk="1" latinLnBrk="0" hangingPunct="1">
        <a:defRPr sz="1763" kern="1200">
          <a:solidFill>
            <a:schemeClr val="tx1"/>
          </a:solidFill>
          <a:latin typeface="+mn-lt"/>
          <a:ea typeface="+mn-ea"/>
          <a:cs typeface="+mn-cs"/>
        </a:defRPr>
      </a:lvl6pPr>
      <a:lvl7pPr marL="2739121" algn="l" defTabSz="913041" rtl="0" eaLnBrk="1" latinLnBrk="0" hangingPunct="1">
        <a:defRPr sz="1763" kern="1200">
          <a:solidFill>
            <a:schemeClr val="tx1"/>
          </a:solidFill>
          <a:latin typeface="+mn-lt"/>
          <a:ea typeface="+mn-ea"/>
          <a:cs typeface="+mn-cs"/>
        </a:defRPr>
      </a:lvl7pPr>
      <a:lvl8pPr marL="3195641" algn="l" defTabSz="913041" rtl="0" eaLnBrk="1" latinLnBrk="0" hangingPunct="1">
        <a:defRPr sz="1763" kern="1200">
          <a:solidFill>
            <a:schemeClr val="tx1"/>
          </a:solidFill>
          <a:latin typeface="+mn-lt"/>
          <a:ea typeface="+mn-ea"/>
          <a:cs typeface="+mn-cs"/>
        </a:defRPr>
      </a:lvl8pPr>
      <a:lvl9pPr marL="3652163" algn="l" defTabSz="913041" rtl="0" eaLnBrk="1" latinLnBrk="0" hangingPunct="1">
        <a:defRPr sz="17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41.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141.xml"/><Relationship Id="rId4" Type="http://schemas.openxmlformats.org/officeDocument/2006/relationships/image" Target="../media/image38.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2.xml.rels><?xml version="1.0" encoding="UTF-8" standalone="yes"?>
<Relationships xmlns="http://schemas.openxmlformats.org/package/2006/relationships"><Relationship Id="rId3" Type="http://schemas.openxmlformats.org/officeDocument/2006/relationships/hyperlink" Target="https://partner.microsoft.com/en-us/asset#/?search=vilt" TargetMode="External"/><Relationship Id="rId2" Type="http://schemas.openxmlformats.org/officeDocument/2006/relationships/notesSlide" Target="../notesSlides/notesSlide5.xml"/><Relationship Id="rId1" Type="http://schemas.openxmlformats.org/officeDocument/2006/relationships/slideLayout" Target="../slideLayouts/slideLayout126.xml"/><Relationship Id="rId4" Type="http://schemas.openxmlformats.org/officeDocument/2006/relationships/hyperlink" Target="https://support.microsoft.com/en-us/help/3121537/using-technical-presales-and-deployment-services"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6.xml"/></Relationships>
</file>

<file path=ppt/slides/_rels/slide14.xml.rels><?xml version="1.0" encoding="UTF-8" standalone="yes"?>
<Relationships xmlns="http://schemas.openxmlformats.org/package/2006/relationships"><Relationship Id="rId3" Type="http://schemas.openxmlformats.org/officeDocument/2006/relationships/hyperlink" Target="https://aka.ms/PowerAppsPartner" TargetMode="External"/><Relationship Id="rId2" Type="http://schemas.openxmlformats.org/officeDocument/2006/relationships/notesSlide" Target="../notesSlides/notesSlide7.xml"/><Relationship Id="rId1" Type="http://schemas.openxmlformats.org/officeDocument/2006/relationships/slideLayout" Target="../slideLayouts/slideLayout126.xml"/></Relationships>
</file>

<file path=ppt/slides/_rels/slide15.xml.rels><?xml version="1.0" encoding="UTF-8" standalone="yes"?>
<Relationships xmlns="http://schemas.openxmlformats.org/package/2006/relationships"><Relationship Id="rId3" Type="http://schemas.openxmlformats.org/officeDocument/2006/relationships/hyperlink" Target="https://dynamics.microsoft.com/en-us/migration-program/" TargetMode="External"/><Relationship Id="rId2" Type="http://schemas.openxmlformats.org/officeDocument/2006/relationships/notesSlide" Target="../notesSlides/notesSlide8.xml"/><Relationship Id="rId1" Type="http://schemas.openxmlformats.org/officeDocument/2006/relationships/slideLayout" Target="../slideLayouts/slideLayout126.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141.xml"/><Relationship Id="rId4" Type="http://schemas.openxmlformats.org/officeDocument/2006/relationships/image" Target="../media/image38.svg"/></Relationships>
</file>

<file path=ppt/slides/_rels/slide1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0.xml"/><Relationship Id="rId1" Type="http://schemas.openxmlformats.org/officeDocument/2006/relationships/slideLayout" Target="../slideLayouts/slideLayout159.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jpeg"/></Relationships>
</file>

<file path=ppt/slides/_rels/slide18.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3" Type="http://schemas.openxmlformats.org/officeDocument/2006/relationships/image" Target="../media/image42.jpeg"/><Relationship Id="rId7" Type="http://schemas.openxmlformats.org/officeDocument/2006/relationships/image" Target="../media/image48.svg"/><Relationship Id="rId12" Type="http://schemas.openxmlformats.org/officeDocument/2006/relationships/image" Target="../media/image53.png"/><Relationship Id="rId2" Type="http://schemas.openxmlformats.org/officeDocument/2006/relationships/notesSlide" Target="../notesSlides/notesSlide11.xml"/><Relationship Id="rId16" Type="http://schemas.openxmlformats.org/officeDocument/2006/relationships/image" Target="../media/image57.png"/><Relationship Id="rId1" Type="http://schemas.openxmlformats.org/officeDocument/2006/relationships/slideLayout" Target="../slideLayouts/slideLayout159.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image" Target="../media/image46.svg"/><Relationship Id="rId15" Type="http://schemas.openxmlformats.org/officeDocument/2006/relationships/image" Target="../media/image56.sv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svg"/><Relationship Id="rId14" Type="http://schemas.openxmlformats.org/officeDocument/2006/relationships/image" Target="../media/image55.png"/></Relationships>
</file>

<file path=ppt/slides/_rels/slide19.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18" Type="http://schemas.openxmlformats.org/officeDocument/2006/relationships/image" Target="../media/image56.svg"/><Relationship Id="rId3" Type="http://schemas.openxmlformats.org/officeDocument/2006/relationships/image" Target="../media/image42.jpeg"/><Relationship Id="rId7" Type="http://schemas.openxmlformats.org/officeDocument/2006/relationships/image" Target="../media/image45.png"/><Relationship Id="rId12" Type="http://schemas.openxmlformats.org/officeDocument/2006/relationships/image" Target="../media/image50.svg"/><Relationship Id="rId17" Type="http://schemas.openxmlformats.org/officeDocument/2006/relationships/image" Target="../media/image55.png"/><Relationship Id="rId2" Type="http://schemas.openxmlformats.org/officeDocument/2006/relationships/notesSlide" Target="../notesSlides/notesSlide12.xml"/><Relationship Id="rId16" Type="http://schemas.openxmlformats.org/officeDocument/2006/relationships/image" Target="../media/image54.svg"/><Relationship Id="rId1" Type="http://schemas.openxmlformats.org/officeDocument/2006/relationships/slideLayout" Target="../slideLayouts/slideLayout159.xml"/><Relationship Id="rId6" Type="http://schemas.openxmlformats.org/officeDocument/2006/relationships/image" Target="../media/image59.svg"/><Relationship Id="rId11" Type="http://schemas.openxmlformats.org/officeDocument/2006/relationships/image" Target="../media/image49.png"/><Relationship Id="rId5" Type="http://schemas.openxmlformats.org/officeDocument/2006/relationships/image" Target="../media/image58.png"/><Relationship Id="rId15" Type="http://schemas.openxmlformats.org/officeDocument/2006/relationships/image" Target="../media/image53.png"/><Relationship Id="rId10" Type="http://schemas.openxmlformats.org/officeDocument/2006/relationships/image" Target="../media/image48.svg"/><Relationship Id="rId4" Type="http://schemas.openxmlformats.org/officeDocument/2006/relationships/hyperlink" Target="https://azure.microsoft.com/en-ca/try/cosmosdb/" TargetMode="External"/><Relationship Id="rId9" Type="http://schemas.openxmlformats.org/officeDocument/2006/relationships/image" Target="../media/image47.png"/><Relationship Id="rId14" Type="http://schemas.openxmlformats.org/officeDocument/2006/relationships/image" Target="../media/image52.svg"/></Relationships>
</file>

<file path=ppt/slides/_rels/slide2.xml.rels><?xml version="1.0" encoding="UTF-8" standalone="yes"?>
<Relationships xmlns="http://schemas.openxmlformats.org/package/2006/relationships"><Relationship Id="rId3" Type="http://schemas.openxmlformats.org/officeDocument/2006/relationships/hyperlink" Target="https://profile.microsoft.com/RegSysProfileCenter/wizardnp.aspx?wizid=059a07f9-3a1a-4864-82d0-5edb51c44e7e&amp;lcid=4105" TargetMode="External"/><Relationship Id="rId2" Type="http://schemas.openxmlformats.org/officeDocument/2006/relationships/hyperlink" Target="https://www.microsoftpartnercommunity.com/t5/Partner-Readiness/CEE-Partner-Readiness-series-06-26-2020/td-p/22765" TargetMode="Externa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hyperlink" Target="https://partner.microsoft.com/en-us/asset/collection/net-modernization-in-a-day" TargetMode="External"/><Relationship Id="rId3" Type="http://schemas.openxmlformats.org/officeDocument/2006/relationships/image" Target="../media/image42.jpeg"/><Relationship Id="rId7" Type="http://schemas.openxmlformats.org/officeDocument/2006/relationships/hyperlink" Target="https://partner.microsoft.com/en-us/asset/collection/cloud-native-in-a-day#/" TargetMode="External"/><Relationship Id="rId2" Type="http://schemas.openxmlformats.org/officeDocument/2006/relationships/notesSlide" Target="../notesSlides/notesSlide13.xml"/><Relationship Id="rId1" Type="http://schemas.openxmlformats.org/officeDocument/2006/relationships/slideLayout" Target="../slideLayouts/slideLayout159.xml"/><Relationship Id="rId6" Type="http://schemas.openxmlformats.org/officeDocument/2006/relationships/hyperlink" Target="https://partner.microsoft.com/en-us/asset/collection/ai-in-a-day#/" TargetMode="External"/><Relationship Id="rId5" Type="http://schemas.openxmlformats.org/officeDocument/2006/relationships/hyperlink" Target="https://partner.microsoft.com/en-us/asset/collection/analytics-in-a-day#/" TargetMode="External"/><Relationship Id="rId10" Type="http://schemas.openxmlformats.org/officeDocument/2006/relationships/image" Target="../media/image61.png"/><Relationship Id="rId4" Type="http://schemas.openxmlformats.org/officeDocument/2006/relationships/hyperlink" Target="https://partner.microsoft.com/en-us/asset/collection/microsoft-data-modernization-in-a-day#/" TargetMode="External"/><Relationship Id="rId9" Type="http://schemas.openxmlformats.org/officeDocument/2006/relationships/image" Target="../media/image60.png"/></Relationships>
</file>

<file path=ppt/slides/_rels/slide21.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74.xml"/><Relationship Id="rId7" Type="http://schemas.openxmlformats.org/officeDocument/2006/relationships/hyperlink" Target="https://nam06.safelinks.protection.outlook.com/?url=https%3A%2F%2Fpartner.microsoft.com%2Fen-us%2Fasset%2Fcollection%2Fanalytics-in-a-day%23%2F&amp;data=02%7C01%7Csotual%40microsoft.com%7C625c4778e79a43f942d308d8128f3ab1%7C72f988bf86f141af91ab2d7cd011db47%7C1%7C0%7C637279753693796145&amp;sdata=ZOrTtgt4TYa4oyko22jGRccPDILgMtWlhdeLLS1CbSo%3D&amp;reserved=0"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2.emf"/><Relationship Id="rId5" Type="http://schemas.openxmlformats.org/officeDocument/2006/relationships/oleObject" Target="../embeddings/oleObject2.bin"/><Relationship Id="rId4"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8" Type="http://schemas.openxmlformats.org/officeDocument/2006/relationships/hyperlink" Target="https://support.microsoft.com/en-us/help/3121537/using-technical-presales-and-deployment-services" TargetMode="External"/><Relationship Id="rId3" Type="http://schemas.openxmlformats.org/officeDocument/2006/relationships/slideLayout" Target="../slideLayouts/slideLayout174.xml"/><Relationship Id="rId7" Type="http://schemas.openxmlformats.org/officeDocument/2006/relationships/hyperlink" Target="https://partner.microsoft.com/en-us/asset#/?search=vilt" TargetMode="Externa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2.emf"/><Relationship Id="rId5" Type="http://schemas.openxmlformats.org/officeDocument/2006/relationships/oleObject" Target="../embeddings/oleObject3.bin"/><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3" Type="http://schemas.openxmlformats.org/officeDocument/2006/relationships/hyperlink" Target="https://www.microsoftpartnercommunity.com/t5/Partner-Readiness/CEE-Partner-Readiness-series-06-26-2020/td-p/22765" TargetMode="External"/><Relationship Id="rId2" Type="http://schemas.openxmlformats.org/officeDocument/2006/relationships/notesSlide" Target="../notesSlides/notesSlide16.xml"/><Relationship Id="rId1" Type="http://schemas.openxmlformats.org/officeDocument/2006/relationships/slideLayout" Target="../slideLayouts/slideLayout141.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hyperlink" Target="https://profile.microsoft.com/RegSysProfileCenter/wizardnp.aspx?wizid=059a07f9-3a1a-4864-82d0-5edb51c44e7e&amp;lcid=4105"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141.xml"/></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141.xml"/><Relationship Id="rId4" Type="http://schemas.openxmlformats.org/officeDocument/2006/relationships/image" Target="../media/image38.svg"/></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40.xml"/></Relationships>
</file>

<file path=ppt/slides/_rels/slide7.xml.rels><?xml version="1.0" encoding="UTF-8" standalone="yes"?>
<Relationships xmlns="http://schemas.openxmlformats.org/package/2006/relationships"><Relationship Id="rId2" Type="http://schemas.openxmlformats.org/officeDocument/2006/relationships/hyperlink" Target="https://www.microsoft.com/microsoft-365/partners/microsoft-365-accelerators" TargetMode="External"/><Relationship Id="rId1" Type="http://schemas.openxmlformats.org/officeDocument/2006/relationships/slideLayout" Target="../slideLayouts/slideLayout140.xml"/></Relationships>
</file>

<file path=ppt/slides/_rels/slide8.xml.rels><?xml version="1.0" encoding="UTF-8" standalone="yes"?>
<Relationships xmlns="http://schemas.openxmlformats.org/package/2006/relationships"><Relationship Id="rId3" Type="http://schemas.openxmlformats.org/officeDocument/2006/relationships/hyperlink" Target="https://www.microsoft.com/microsoft-365/partners/training?filters=sales-fundamentals" TargetMode="External"/><Relationship Id="rId2" Type="http://schemas.openxmlformats.org/officeDocument/2006/relationships/hyperlink" Target="https://www.microsoft.com/microsoft-365/partners/microsoft-365-accelerators" TargetMode="External"/><Relationship Id="rId1" Type="http://schemas.openxmlformats.org/officeDocument/2006/relationships/slideLayout" Target="../slideLayouts/slideLayout14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087096-836F-4480-BBA4-59BBA124932A}"/>
              </a:ext>
            </a:extLst>
          </p:cNvPr>
          <p:cNvPicPr>
            <a:picLocks noChangeAspect="1"/>
          </p:cNvPicPr>
          <p:nvPr/>
        </p:nvPicPr>
        <p:blipFill>
          <a:blip r:embed="rId3"/>
          <a:stretch>
            <a:fillRect/>
          </a:stretch>
        </p:blipFill>
        <p:spPr>
          <a:xfrm>
            <a:off x="6096000" y="1889855"/>
            <a:ext cx="6096000" cy="3429001"/>
          </a:xfrm>
          <a:prstGeom prst="rect">
            <a:avLst/>
          </a:prstGeom>
        </p:spPr>
      </p:pic>
      <p:sp>
        <p:nvSpPr>
          <p:cNvPr id="9" name="FY20 Co-Sell Guide" descr="FY20 Co-sell Guide">
            <a:extLst>
              <a:ext uri="{FF2B5EF4-FFF2-40B4-BE49-F238E27FC236}">
                <a16:creationId xmlns:a16="http://schemas.microsoft.com/office/drawing/2014/main" id="{6CF67FE7-FDF2-485E-920B-C579DAED9632}"/>
              </a:ext>
            </a:extLst>
          </p:cNvPr>
          <p:cNvSpPr>
            <a:spLocks noGrp="1"/>
          </p:cNvSpPr>
          <p:nvPr>
            <p:ph type="title"/>
          </p:nvPr>
        </p:nvSpPr>
        <p:spPr>
          <a:xfrm>
            <a:off x="636094" y="2425756"/>
            <a:ext cx="4475167" cy="2893100"/>
          </a:xfrm>
        </p:spPr>
        <p:txBody>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4000" b="0" i="0" u="none" strike="noStrike" kern="1200" cap="none" spc="-50" normalizeH="0" baseline="0">
                <a:ln w="3175">
                  <a:noFill/>
                </a:ln>
                <a:solidFill>
                  <a:srgbClr val="50E6FF"/>
                </a:solidFill>
                <a:effectLst/>
                <a:uLnTx/>
                <a:uFillTx/>
                <a:latin typeface="Segoe UI Semibold"/>
                <a:ea typeface="+mn-ea"/>
                <a:cs typeface="Segoe UI" panose="020B0502040204020203" pitchFamily="34" charset="0"/>
              </a:rPr>
              <a:t>CEE Partner Readiness series  June edition</a:t>
            </a:r>
            <a:br>
              <a:rPr kumimoji="0" lang="en-US" sz="4000" b="0" i="0" u="none" strike="noStrike" kern="1200" cap="none" spc="-50" normalizeH="0" baseline="0">
                <a:ln w="3175">
                  <a:noFill/>
                </a:ln>
                <a:solidFill>
                  <a:srgbClr val="50E6FF"/>
                </a:solidFill>
                <a:effectLst/>
                <a:uLnTx/>
                <a:uFillTx/>
                <a:latin typeface="Segoe UI Semibold"/>
                <a:ea typeface="+mn-ea"/>
                <a:cs typeface="Segoe UI" panose="020B0502040204020203" pitchFamily="34" charset="0"/>
              </a:rPr>
            </a:br>
            <a:br>
              <a:rPr kumimoji="0" lang="en-US" sz="4000" b="0" i="0" u="none" strike="noStrike" kern="1200" cap="none" spc="-50" normalizeH="0" baseline="0">
                <a:ln w="3175">
                  <a:noFill/>
                </a:ln>
                <a:solidFill>
                  <a:srgbClr val="50E6FF"/>
                </a:solidFill>
                <a:effectLst/>
                <a:uLnTx/>
                <a:uFillTx/>
                <a:latin typeface="Segoe UI Semibold"/>
                <a:ea typeface="+mn-ea"/>
                <a:cs typeface="Segoe UI" panose="020B0502040204020203" pitchFamily="34" charset="0"/>
              </a:rPr>
            </a:br>
            <a:r>
              <a:rPr kumimoji="0" lang="en-US" sz="2800" b="0" i="0" u="none" strike="noStrike" kern="1200" cap="none" spc="-50" normalizeH="0" baseline="0">
                <a:ln w="3175">
                  <a:noFill/>
                </a:ln>
                <a:solidFill>
                  <a:srgbClr val="50E6FF"/>
                </a:solidFill>
                <a:effectLst/>
                <a:uLnTx/>
                <a:uFillTx/>
                <a:latin typeface="Segoe UI Semibold"/>
                <a:ea typeface="+mn-ea"/>
                <a:cs typeface="Segoe UI" panose="020B0502040204020203" pitchFamily="34" charset="0"/>
              </a:rPr>
              <a:t>Go-To-Market update </a:t>
            </a:r>
            <a:endParaRPr kumimoji="0" lang="en-US" sz="4000" b="0" i="0" u="none" strike="noStrike" kern="1200" cap="none" spc="-50" normalizeH="0" baseline="0">
              <a:ln w="3175">
                <a:noFill/>
              </a:ln>
              <a:solidFill>
                <a:srgbClr val="50E6FF"/>
              </a:soli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7909848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Y20 Co-Sell Guide" descr="FY20 Co-sell Guide">
            <a:extLst>
              <a:ext uri="{FF2B5EF4-FFF2-40B4-BE49-F238E27FC236}">
                <a16:creationId xmlns:a16="http://schemas.microsoft.com/office/drawing/2014/main" id="{6CF67FE7-FDF2-485E-920B-C579DAED9632}"/>
              </a:ext>
            </a:extLst>
          </p:cNvPr>
          <p:cNvSpPr>
            <a:spLocks noGrp="1"/>
          </p:cNvSpPr>
          <p:nvPr>
            <p:ph type="title"/>
          </p:nvPr>
        </p:nvSpPr>
        <p:spPr>
          <a:xfrm>
            <a:off x="423848" y="2919262"/>
            <a:ext cx="9144000" cy="1661993"/>
          </a:xfrm>
        </p:spPr>
        <p:txBody>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hu-HU">
                <a:latin typeface="Segoe UI Semibold"/>
              </a:rPr>
              <a:t>Business Applications</a:t>
            </a:r>
            <a:br>
              <a:rPr lang="hu-HU">
                <a:latin typeface="Segoe UI Semibold"/>
              </a:rPr>
            </a:br>
            <a:br>
              <a:rPr lang="hu-HU">
                <a:latin typeface="Segoe UI Semibold"/>
              </a:rPr>
            </a:br>
            <a:r>
              <a:rPr lang="hu-HU">
                <a:latin typeface="Segoe UI Semibold"/>
              </a:rPr>
              <a:t>Peter Kuna</a:t>
            </a:r>
            <a:endParaRPr kumimoji="0" lang="hu-HU" sz="9600" b="0" i="0" u="none" strike="noStrike" kern="1200" cap="none" spc="-50" normalizeH="0" baseline="0" noProof="0">
              <a:ln w="3175">
                <a:noFill/>
              </a:ln>
              <a:solidFill>
                <a:srgbClr val="50E6FF"/>
              </a:solidFill>
              <a:effectLst/>
              <a:uLnTx/>
              <a:uFillTx/>
              <a:latin typeface="Segoe UI Semibold"/>
              <a:ea typeface="+mn-ea"/>
              <a:cs typeface="Segoe UI" panose="020B0502040204020203" pitchFamily="34" charset="0"/>
            </a:endParaRPr>
          </a:p>
        </p:txBody>
      </p:sp>
      <p:pic>
        <p:nvPicPr>
          <p:cNvPr id="6" name="Co-sell graphic" descr="Connections">
            <a:extLst>
              <a:ext uri="{FF2B5EF4-FFF2-40B4-BE49-F238E27FC236}">
                <a16:creationId xmlns:a16="http://schemas.microsoft.com/office/drawing/2014/main" id="{E07770A4-D2E5-414E-9EE1-4890FFB473C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5535605" y="-82866"/>
            <a:ext cx="6826477" cy="6826477"/>
          </a:xfrm>
          <a:prstGeom prst="rect">
            <a:avLst/>
          </a:prstGeom>
        </p:spPr>
      </p:pic>
    </p:spTree>
    <p:extLst>
      <p:ext uri="{BB962C8B-B14F-4D97-AF65-F5344CB8AC3E}">
        <p14:creationId xmlns:p14="http://schemas.microsoft.com/office/powerpoint/2010/main" val="11553802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46A5A-F333-4CA2-A850-0D6D21573DC7}"/>
              </a:ext>
            </a:extLst>
          </p:cNvPr>
          <p:cNvSpPr>
            <a:spLocks noGrp="1"/>
          </p:cNvSpPr>
          <p:nvPr>
            <p:ph type="title"/>
          </p:nvPr>
        </p:nvSpPr>
        <p:spPr>
          <a:xfrm>
            <a:off x="1460584" y="387980"/>
            <a:ext cx="10411703" cy="397545"/>
          </a:xfrm>
        </p:spPr>
        <p:txBody>
          <a:bodyPr/>
          <a:lstStyle/>
          <a:p>
            <a:r>
              <a:rPr lang="en-US"/>
              <a:t>Microsoft </a:t>
            </a:r>
            <a:r>
              <a:rPr lang="hu-HU"/>
              <a:t>F</a:t>
            </a:r>
            <a:r>
              <a:rPr lang="en-US" err="1"/>
              <a:t>iscal</a:t>
            </a:r>
            <a:r>
              <a:rPr lang="en-US"/>
              <a:t> </a:t>
            </a:r>
            <a:r>
              <a:rPr lang="hu-HU"/>
              <a:t>Y</a:t>
            </a:r>
            <a:r>
              <a:rPr lang="en-US"/>
              <a:t>ear 20</a:t>
            </a:r>
            <a:r>
              <a:rPr lang="hu-HU"/>
              <a:t>21 </a:t>
            </a:r>
            <a:r>
              <a:rPr lang="en-US"/>
              <a:t>priorities – Business Applications</a:t>
            </a:r>
            <a:endParaRPr lang="ru-RU"/>
          </a:p>
        </p:txBody>
      </p:sp>
      <p:graphicFrame>
        <p:nvGraphicFramePr>
          <p:cNvPr id="7" name="Table 7">
            <a:extLst>
              <a:ext uri="{FF2B5EF4-FFF2-40B4-BE49-F238E27FC236}">
                <a16:creationId xmlns:a16="http://schemas.microsoft.com/office/drawing/2014/main" id="{A59AC1B7-B8E3-4D20-BC21-526E5BF9E203}"/>
              </a:ext>
            </a:extLst>
          </p:cNvPr>
          <p:cNvGraphicFramePr>
            <a:graphicFrameLocks noGrp="1"/>
          </p:cNvGraphicFramePr>
          <p:nvPr/>
        </p:nvGraphicFramePr>
        <p:xfrm>
          <a:off x="318835" y="2807483"/>
          <a:ext cx="11485237" cy="3882597"/>
        </p:xfrm>
        <a:graphic>
          <a:graphicData uri="http://schemas.openxmlformats.org/drawingml/2006/table">
            <a:tbl>
              <a:tblPr firstRow="1" bandRow="1">
                <a:tableStyleId>{073A0DAA-6AF3-43AB-8588-CEC1D06C72B9}</a:tableStyleId>
              </a:tblPr>
              <a:tblGrid>
                <a:gridCol w="4862353">
                  <a:extLst>
                    <a:ext uri="{9D8B030D-6E8A-4147-A177-3AD203B41FA5}">
                      <a16:colId xmlns:a16="http://schemas.microsoft.com/office/drawing/2014/main" val="1192108038"/>
                    </a:ext>
                  </a:extLst>
                </a:gridCol>
                <a:gridCol w="6622884">
                  <a:extLst>
                    <a:ext uri="{9D8B030D-6E8A-4147-A177-3AD203B41FA5}">
                      <a16:colId xmlns:a16="http://schemas.microsoft.com/office/drawing/2014/main" val="167866189"/>
                    </a:ext>
                  </a:extLst>
                </a:gridCol>
              </a:tblGrid>
              <a:tr h="429141">
                <a:tc>
                  <a:txBody>
                    <a:bodyPr/>
                    <a:lstStyle/>
                    <a:p>
                      <a:r>
                        <a:rPr lang="hu-HU" sz="1200"/>
                        <a:t>Sales </a:t>
                      </a:r>
                      <a:r>
                        <a:rPr lang="en-US" sz="1200"/>
                        <a:t>Play</a:t>
                      </a:r>
                      <a:endParaRPr lang="ru-RU" sz="1200"/>
                    </a:p>
                  </a:txBody>
                  <a:tcPr/>
                </a:tc>
                <a:tc>
                  <a:txBody>
                    <a:bodyPr/>
                    <a:lstStyle/>
                    <a:p>
                      <a:r>
                        <a:rPr lang="en-US" sz="1200"/>
                        <a:t>Underlying products</a:t>
                      </a:r>
                      <a:endParaRPr lang="ru-RU" sz="1200"/>
                    </a:p>
                  </a:txBody>
                  <a:tcPr/>
                </a:tc>
                <a:extLst>
                  <a:ext uri="{0D108BD9-81ED-4DB2-BD59-A6C34878D82A}">
                    <a16:rowId xmlns:a16="http://schemas.microsoft.com/office/drawing/2014/main" val="966879689"/>
                  </a:ext>
                </a:extLst>
              </a:tr>
              <a:tr h="526312">
                <a:tc>
                  <a:txBody>
                    <a:bodyPr/>
                    <a:lstStyle/>
                    <a:p>
                      <a:r>
                        <a:rPr lang="en-US" sz="1050" b="1"/>
                        <a:t>Enable Always on Service</a:t>
                      </a:r>
                      <a:endParaRPr lang="ru-RU" sz="1050" b="1"/>
                    </a:p>
                  </a:txBody>
                  <a:tcPr/>
                </a:tc>
                <a:tc>
                  <a:txBody>
                    <a:bodyPr/>
                    <a:lstStyle/>
                    <a:p>
                      <a:r>
                        <a:rPr lang="en-US" sz="1050" b="1"/>
                        <a:t>Dynamics 365 for Customer Service</a:t>
                      </a:r>
                    </a:p>
                    <a:p>
                      <a:r>
                        <a:rPr lang="en-US" sz="1050" b="1"/>
                        <a:t>Portals</a:t>
                      </a:r>
                    </a:p>
                    <a:p>
                      <a:r>
                        <a:rPr lang="en-US" sz="1050" b="1"/>
                        <a:t>Omnichannel for Customer Service</a:t>
                      </a:r>
                    </a:p>
                    <a:p>
                      <a:r>
                        <a:rPr lang="en-US" sz="1050" b="1"/>
                        <a:t>Power Virtual Agent</a:t>
                      </a:r>
                      <a:endParaRPr lang="ru-RU" sz="1050" b="1"/>
                    </a:p>
                  </a:txBody>
                  <a:tcPr/>
                </a:tc>
                <a:extLst>
                  <a:ext uri="{0D108BD9-81ED-4DB2-BD59-A6C34878D82A}">
                    <a16:rowId xmlns:a16="http://schemas.microsoft.com/office/drawing/2014/main" val="1220568367"/>
                  </a:ext>
                </a:extLst>
              </a:tr>
              <a:tr h="531639">
                <a:tc>
                  <a:txBody>
                    <a:bodyPr/>
                    <a:lstStyle/>
                    <a:p>
                      <a:r>
                        <a:rPr lang="en-US" sz="1050" b="1"/>
                        <a:t>Build a Resilient Supply chain</a:t>
                      </a:r>
                      <a:endParaRPr lang="ru-RU" sz="1050" b="1"/>
                    </a:p>
                  </a:txBody>
                  <a:tcPr/>
                </a:tc>
                <a:tc>
                  <a:txBody>
                    <a:bodyPr/>
                    <a:lstStyle/>
                    <a:p>
                      <a:r>
                        <a:rPr lang="en-US" sz="1050" b="1"/>
                        <a:t>Dynamics 365 for Finance</a:t>
                      </a:r>
                    </a:p>
                    <a:p>
                      <a:r>
                        <a:rPr lang="en-US" sz="1050" b="1"/>
                        <a:t>Dynamics 365 SCM</a:t>
                      </a:r>
                    </a:p>
                    <a:p>
                      <a:r>
                        <a:rPr lang="en-US" sz="1050" b="1"/>
                        <a:t>Dynamics 365 Business Central</a:t>
                      </a:r>
                      <a:endParaRPr lang="ru-RU" sz="1050" b="1"/>
                    </a:p>
                  </a:txBody>
                  <a:tcPr/>
                </a:tc>
                <a:extLst>
                  <a:ext uri="{0D108BD9-81ED-4DB2-BD59-A6C34878D82A}">
                    <a16:rowId xmlns:a16="http://schemas.microsoft.com/office/drawing/2014/main" val="1712749451"/>
                  </a:ext>
                </a:extLst>
              </a:tr>
              <a:tr h="526312">
                <a:tc>
                  <a:txBody>
                    <a:bodyPr/>
                    <a:lstStyle/>
                    <a:p>
                      <a:r>
                        <a:rPr lang="en-US" sz="1050" b="1"/>
                        <a:t>Generate Value with Proactive Insights</a:t>
                      </a:r>
                      <a:endParaRPr lang="ru-RU" sz="1050" b="1"/>
                    </a:p>
                  </a:txBody>
                  <a:tcPr/>
                </a:tc>
                <a:tc>
                  <a:txBody>
                    <a:bodyPr/>
                    <a:lstStyle/>
                    <a:p>
                      <a:r>
                        <a:rPr lang="en-US" sz="1050" b="1"/>
                        <a:t>Dynamics 365 Customer Insights</a:t>
                      </a:r>
                    </a:p>
                  </a:txBody>
                  <a:tcPr/>
                </a:tc>
                <a:extLst>
                  <a:ext uri="{0D108BD9-81ED-4DB2-BD59-A6C34878D82A}">
                    <a16:rowId xmlns:a16="http://schemas.microsoft.com/office/drawing/2014/main" val="4025087408"/>
                  </a:ext>
                </a:extLst>
              </a:tr>
              <a:tr h="526312">
                <a:tc>
                  <a:txBody>
                    <a:bodyPr/>
                    <a:lstStyle/>
                    <a:p>
                      <a:r>
                        <a:rPr lang="en-US" sz="1050" b="1" noProof="0"/>
                        <a:t>Activate Digital Selling</a:t>
                      </a:r>
                    </a:p>
                  </a:txBody>
                  <a:tcPr/>
                </a:tc>
                <a:tc>
                  <a:txBody>
                    <a:bodyPr/>
                    <a:lstStyle/>
                    <a:p>
                      <a:r>
                        <a:rPr lang="en-US" sz="1050" b="1"/>
                        <a:t>Dynamics 365 for Sales</a:t>
                      </a:r>
                    </a:p>
                    <a:p>
                      <a:r>
                        <a:rPr lang="en-US" sz="1050" b="1"/>
                        <a:t>LinkedIn Sales Navigator</a:t>
                      </a:r>
                      <a:endParaRPr lang="ru-RU" sz="1050" b="1"/>
                    </a:p>
                  </a:txBody>
                  <a:tcPr/>
                </a:tc>
                <a:extLst>
                  <a:ext uri="{0D108BD9-81ED-4DB2-BD59-A6C34878D82A}">
                    <a16:rowId xmlns:a16="http://schemas.microsoft.com/office/drawing/2014/main" val="3004699687"/>
                  </a:ext>
                </a:extLst>
              </a:tr>
              <a:tr h="526312">
                <a:tc>
                  <a:txBody>
                    <a:bodyPr/>
                    <a:lstStyle/>
                    <a:p>
                      <a:r>
                        <a:rPr lang="en-US" sz="1050" b="1"/>
                        <a:t>Manage Financial Risk and Fraud</a:t>
                      </a:r>
                      <a:endParaRPr lang="ru-RU" sz="1050" b="1"/>
                    </a:p>
                  </a:txBody>
                  <a:tcPr/>
                </a:tc>
                <a:tc>
                  <a:txBody>
                    <a:bodyPr/>
                    <a:lstStyle/>
                    <a:p>
                      <a:r>
                        <a:rPr lang="en-US" sz="1050" b="1"/>
                        <a:t>Dynamics 365 Commerce</a:t>
                      </a:r>
                    </a:p>
                    <a:p>
                      <a:r>
                        <a:rPr lang="en-US" sz="1050" b="1"/>
                        <a:t>Dynamics 365 Fraud Protection</a:t>
                      </a:r>
                      <a:endParaRPr lang="ru-RU" sz="1050" b="1"/>
                    </a:p>
                  </a:txBody>
                  <a:tcPr/>
                </a:tc>
                <a:extLst>
                  <a:ext uri="{0D108BD9-81ED-4DB2-BD59-A6C34878D82A}">
                    <a16:rowId xmlns:a16="http://schemas.microsoft.com/office/drawing/2014/main" val="2328902253"/>
                  </a:ext>
                </a:extLst>
              </a:tr>
              <a:tr h="540500">
                <a:tc>
                  <a:txBody>
                    <a:bodyPr/>
                    <a:lstStyle/>
                    <a:p>
                      <a:r>
                        <a:rPr lang="en-US" sz="1050" b="1" kern="1200">
                          <a:solidFill>
                            <a:schemeClr val="dk1"/>
                          </a:solidFill>
                          <a:latin typeface="+mn-lt"/>
                          <a:ea typeface="+mn-ea"/>
                          <a:cs typeface="+mn-cs"/>
                        </a:rPr>
                        <a:t>Build Agile Business Processes</a:t>
                      </a:r>
                      <a:endParaRPr lang="ru-RU" sz="1050" b="1" kern="1200">
                        <a:solidFill>
                          <a:schemeClr val="dk1"/>
                        </a:solidFill>
                        <a:latin typeface="+mn-lt"/>
                        <a:ea typeface="+mn-ea"/>
                        <a:cs typeface="+mn-cs"/>
                      </a:endParaRPr>
                    </a:p>
                  </a:txBody>
                  <a:tcPr/>
                </a:tc>
                <a:tc>
                  <a:txBody>
                    <a:bodyPr/>
                    <a:lstStyle/>
                    <a:p>
                      <a:r>
                        <a:rPr lang="en-US" sz="1050" b="1"/>
                        <a:t>Power Automate</a:t>
                      </a:r>
                    </a:p>
                    <a:p>
                      <a:r>
                        <a:rPr lang="en-US" sz="1050" b="1"/>
                        <a:t>Power Apps</a:t>
                      </a:r>
                    </a:p>
                    <a:p>
                      <a:r>
                        <a:rPr lang="en-US" sz="1050" b="1"/>
                        <a:t>Power BI</a:t>
                      </a:r>
                      <a:endParaRPr lang="ru-RU" sz="1050" b="1"/>
                    </a:p>
                  </a:txBody>
                  <a:tcPr/>
                </a:tc>
                <a:extLst>
                  <a:ext uri="{0D108BD9-81ED-4DB2-BD59-A6C34878D82A}">
                    <a16:rowId xmlns:a16="http://schemas.microsoft.com/office/drawing/2014/main" val="4138595375"/>
                  </a:ext>
                </a:extLst>
              </a:tr>
            </a:tbl>
          </a:graphicData>
        </a:graphic>
      </p:graphicFrame>
      <p:sp>
        <p:nvSpPr>
          <p:cNvPr id="3" name="Rectangle 2">
            <a:extLst>
              <a:ext uri="{FF2B5EF4-FFF2-40B4-BE49-F238E27FC236}">
                <a16:creationId xmlns:a16="http://schemas.microsoft.com/office/drawing/2014/main" id="{C407A66D-0806-4E19-9A93-6CCFDD9DCF51}"/>
              </a:ext>
            </a:extLst>
          </p:cNvPr>
          <p:cNvSpPr/>
          <p:nvPr/>
        </p:nvSpPr>
        <p:spPr>
          <a:xfrm>
            <a:off x="319711" y="1090195"/>
            <a:ext cx="1490406" cy="1541058"/>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ea typeface="+mn-ea"/>
                <a:cs typeface="Segoe UI" panose="020B0502040204020203" pitchFamily="34" charset="0"/>
              </a:rPr>
              <a:t>Partner investment and execution strateg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bg1"/>
              </a:solidFill>
              <a:effectLst/>
              <a:uLnTx/>
              <a:uFillTx/>
              <a:ea typeface="+mn-ea"/>
              <a:cs typeface="Segoe UI" panose="020B0502040204020203" pitchFamily="34" charset="0"/>
            </a:endParaRPr>
          </a:p>
        </p:txBody>
      </p:sp>
      <p:sp>
        <p:nvSpPr>
          <p:cNvPr id="5" name="Rectangle 4">
            <a:extLst>
              <a:ext uri="{FF2B5EF4-FFF2-40B4-BE49-F238E27FC236}">
                <a16:creationId xmlns:a16="http://schemas.microsoft.com/office/drawing/2014/main" id="{0712507A-893F-40CB-95E6-69F0B99FF1F7}"/>
              </a:ext>
            </a:extLst>
          </p:cNvPr>
          <p:cNvSpPr/>
          <p:nvPr/>
        </p:nvSpPr>
        <p:spPr>
          <a:xfrm>
            <a:off x="1810117" y="1090194"/>
            <a:ext cx="10062171" cy="1541057"/>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15900" lvl="0" indent="-215900" defTabSz="914377">
              <a:spcBef>
                <a:spcPts val="300"/>
              </a:spcBef>
              <a:spcAft>
                <a:spcPts val="200"/>
              </a:spcAft>
              <a:buFont typeface="+mj-lt"/>
              <a:buAutoNum type="arabicPeriod"/>
              <a:defRPr/>
            </a:pPr>
            <a:r>
              <a:rPr lang="en-US" sz="1100">
                <a:solidFill>
                  <a:schemeClr val="tx1"/>
                </a:solidFill>
                <a:cs typeface="Segoe UI" panose="020B0502040204020203" pitchFamily="34" charset="0"/>
              </a:rPr>
              <a:t>Leverage Dynamics 365 Migration Program (DMP) to execute </a:t>
            </a:r>
            <a:r>
              <a:rPr lang="en-US" sz="1100" b="1">
                <a:solidFill>
                  <a:schemeClr val="tx1"/>
                </a:solidFill>
                <a:cs typeface="Segoe UI" panose="020B0502040204020203" pitchFamily="34" charset="0"/>
              </a:rPr>
              <a:t>assessment, POC and migrations</a:t>
            </a:r>
            <a:endParaRPr lang="en-US" sz="1100">
              <a:solidFill>
                <a:schemeClr val="tx1"/>
              </a:solidFill>
              <a:cs typeface="Segoe UI" panose="020B0502040204020203" pitchFamily="34" charset="0"/>
            </a:endParaRPr>
          </a:p>
          <a:p>
            <a:pPr marL="215900" lvl="0" indent="-215900" defTabSz="914377">
              <a:spcBef>
                <a:spcPts val="300"/>
              </a:spcBef>
              <a:spcAft>
                <a:spcPts val="200"/>
              </a:spcAft>
              <a:buFont typeface="+mj-lt"/>
              <a:buAutoNum type="arabicPeriod"/>
              <a:defRPr/>
            </a:pPr>
            <a:r>
              <a:rPr lang="en-US" sz="1100">
                <a:solidFill>
                  <a:schemeClr val="tx1"/>
                </a:solidFill>
                <a:cs typeface="Segoe UI Semibold" panose="020B0702040204020203" pitchFamily="34" charset="0"/>
              </a:rPr>
              <a:t>Improve partner capability through </a:t>
            </a:r>
            <a:r>
              <a:rPr lang="en-US" sz="1100" b="1">
                <a:solidFill>
                  <a:schemeClr val="tx1"/>
                </a:solidFill>
                <a:cs typeface="Segoe UI Semibold" panose="020B0702040204020203" pitchFamily="34" charset="0"/>
              </a:rPr>
              <a:t>upskilling in all Dynamics and Power Platform </a:t>
            </a:r>
            <a:r>
              <a:rPr lang="en-US" sz="1100">
                <a:solidFill>
                  <a:schemeClr val="tx1"/>
                </a:solidFill>
                <a:cs typeface="Segoe UI Semibold" panose="020B0702040204020203" pitchFamily="34" charset="0"/>
              </a:rPr>
              <a:t>workloads</a:t>
            </a:r>
            <a:endParaRPr lang="en-US" sz="1100">
              <a:solidFill>
                <a:schemeClr val="tx1"/>
              </a:solidFill>
              <a:cs typeface="Segoe UI" panose="020B0502040204020203" pitchFamily="34" charset="0"/>
            </a:endParaRPr>
          </a:p>
          <a:p>
            <a:pPr marL="215900" lvl="0" indent="-215900" defTabSz="914377">
              <a:spcBef>
                <a:spcPts val="300"/>
              </a:spcBef>
              <a:spcAft>
                <a:spcPts val="200"/>
              </a:spcAft>
              <a:buFont typeface="+mj-lt"/>
              <a:buAutoNum type="arabicPeriod"/>
              <a:defRPr/>
            </a:pPr>
            <a:r>
              <a:rPr lang="en-US" sz="1100">
                <a:solidFill>
                  <a:schemeClr val="tx1"/>
                </a:solidFill>
                <a:cs typeface="Segoe UI" panose="020B0502040204020203" pitchFamily="34" charset="0"/>
              </a:rPr>
              <a:t>Expand existing practices with </a:t>
            </a:r>
            <a:r>
              <a:rPr lang="en-US" sz="1100" b="1">
                <a:solidFill>
                  <a:schemeClr val="tx1"/>
                </a:solidFill>
                <a:cs typeface="Segoe UI" panose="020B0502040204020203" pitchFamily="34" charset="0"/>
              </a:rPr>
              <a:t>Customer Insights &amp; Power Apps </a:t>
            </a:r>
          </a:p>
          <a:p>
            <a:pPr marL="215900" lvl="0" indent="-215900" defTabSz="914377">
              <a:spcBef>
                <a:spcPts val="300"/>
              </a:spcBef>
              <a:spcAft>
                <a:spcPts val="200"/>
              </a:spcAft>
              <a:buFont typeface="+mj-lt"/>
              <a:buAutoNum type="arabicPeriod"/>
              <a:defRPr/>
            </a:pPr>
            <a:r>
              <a:rPr lang="en-US" sz="1100">
                <a:solidFill>
                  <a:schemeClr val="tx1"/>
                </a:solidFill>
                <a:cs typeface="Segoe UI Semibold" panose="020B0702040204020203" pitchFamily="34" charset="0"/>
              </a:rPr>
              <a:t>Enrich partner portfolio with new </a:t>
            </a:r>
            <a:r>
              <a:rPr lang="en-US" sz="1100" b="1">
                <a:solidFill>
                  <a:schemeClr val="tx1"/>
                </a:solidFill>
                <a:cs typeface="Segoe UI Semibold" panose="020B0702040204020203" pitchFamily="34" charset="0"/>
              </a:rPr>
              <a:t>ISV Connect </a:t>
            </a:r>
            <a:r>
              <a:rPr lang="en-US" sz="1100">
                <a:solidFill>
                  <a:schemeClr val="tx1"/>
                </a:solidFill>
                <a:cs typeface="Segoe UI Semibold" panose="020B0702040204020203" pitchFamily="34" charset="0"/>
              </a:rPr>
              <a:t>partners</a:t>
            </a:r>
          </a:p>
        </p:txBody>
      </p:sp>
      <p:sp>
        <p:nvSpPr>
          <p:cNvPr id="9" name="strategy" title="Icon of two circles and a curved arrow winding between three exes connecting them">
            <a:extLst>
              <a:ext uri="{FF2B5EF4-FFF2-40B4-BE49-F238E27FC236}">
                <a16:creationId xmlns:a16="http://schemas.microsoft.com/office/drawing/2014/main" id="{5B0E9E71-D50C-4BAC-8363-5B46EDA7C958}"/>
              </a:ext>
            </a:extLst>
          </p:cNvPr>
          <p:cNvSpPr>
            <a:spLocks noChangeAspect="1" noEditPoints="1"/>
          </p:cNvSpPr>
          <p:nvPr/>
        </p:nvSpPr>
        <p:spPr bwMode="auto">
          <a:xfrm>
            <a:off x="1367790" y="2172368"/>
            <a:ext cx="273707" cy="364666"/>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29865502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E4EB9DD4-631C-4B63-90E6-2AC021DA6C03}"/>
              </a:ext>
            </a:extLst>
          </p:cNvPr>
          <p:cNvSpPr>
            <a:spLocks noGrp="1"/>
          </p:cNvSpPr>
          <p:nvPr>
            <p:ph type="title"/>
          </p:nvPr>
        </p:nvSpPr>
        <p:spPr>
          <a:xfrm>
            <a:off x="1386941" y="257370"/>
            <a:ext cx="8335555" cy="492443"/>
          </a:xfrm>
        </p:spPr>
        <p:txBody>
          <a:bodyPr/>
          <a:lstStyle/>
          <a:p>
            <a:r>
              <a:rPr lang="en-US" sz="3200">
                <a:latin typeface="Segoe UI" panose="020B0502040204020203" pitchFamily="34" charset="0"/>
              </a:rPr>
              <a:t>Learning options for you</a:t>
            </a:r>
          </a:p>
        </p:txBody>
      </p:sp>
      <p:sp>
        <p:nvSpPr>
          <p:cNvPr id="37" name="Rectangle 36">
            <a:extLst>
              <a:ext uri="{FF2B5EF4-FFF2-40B4-BE49-F238E27FC236}">
                <a16:creationId xmlns:a16="http://schemas.microsoft.com/office/drawing/2014/main" id="{60EEB113-2B7D-446F-85A0-923FC1C7F2AB}"/>
              </a:ext>
            </a:extLst>
          </p:cNvPr>
          <p:cNvSpPr/>
          <p:nvPr/>
        </p:nvSpPr>
        <p:spPr bwMode="auto">
          <a:xfrm>
            <a:off x="355953" y="1445471"/>
            <a:ext cx="11672563" cy="5013518"/>
          </a:xfrm>
          <a:prstGeom prst="rect">
            <a:avLst/>
          </a:prstGeom>
          <a:noFill/>
          <a:ln w="6350" cap="flat" cmpd="sng" algn="ctr">
            <a:solidFill>
              <a:sysClr val="window" lastClr="FFFFFF">
                <a:lumMod val="75000"/>
              </a:sys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b="1"/>
              <a:t>1, Microsoft Baseline Events </a:t>
            </a:r>
            <a:r>
              <a:rPr lang="en-US"/>
              <a:t>– local (digital) aimed at giving introductory information about the Business Apps portfolio. Expect broad communication from Microsoft Marketing team.</a:t>
            </a:r>
          </a:p>
          <a:p>
            <a:pPr marL="0" marR="0" lvl="0" indent="0" algn="l" defTabSz="932472" rtl="0" eaLnBrk="1" fontAlgn="base" latinLnBrk="0" hangingPunct="1">
              <a:lnSpc>
                <a:spcPct val="90000"/>
              </a:lnSpc>
              <a:spcBef>
                <a:spcPct val="0"/>
              </a:spcBef>
              <a:spcAft>
                <a:spcPct val="0"/>
              </a:spcAft>
              <a:buClrTx/>
              <a:buSzTx/>
              <a:buFontTx/>
              <a:buNone/>
              <a:tabLst/>
              <a:defRPr/>
            </a:pPr>
            <a:endParaRPr lang="en-US" b="1"/>
          </a:p>
          <a:p>
            <a:pPr marL="0" marR="0" lvl="0" indent="0" algn="l" defTabSz="932472" rtl="0" eaLnBrk="1" fontAlgn="base" latinLnBrk="0" hangingPunct="1">
              <a:lnSpc>
                <a:spcPct val="90000"/>
              </a:lnSpc>
              <a:spcBef>
                <a:spcPct val="0"/>
              </a:spcBef>
              <a:spcAft>
                <a:spcPct val="0"/>
              </a:spcAft>
              <a:buClrTx/>
              <a:buSzTx/>
              <a:buFontTx/>
              <a:buNone/>
              <a:tabLst/>
              <a:defRPr/>
            </a:pPr>
            <a:r>
              <a:rPr lang="en-US" b="1"/>
              <a:t>2, Exam Preparation sessions </a:t>
            </a:r>
            <a:r>
              <a:rPr lang="en-US"/>
              <a:t>– (local) limited space organized by local enablement leads. Stay tuned on the regular forums where your local team promotes partner skilling events!</a:t>
            </a:r>
          </a:p>
          <a:p>
            <a:pPr marL="0" marR="0" lvl="0" indent="0" algn="l" defTabSz="932472" rtl="0" eaLnBrk="1" fontAlgn="base" latinLnBrk="0" hangingPunct="1">
              <a:lnSpc>
                <a:spcPct val="90000"/>
              </a:lnSpc>
              <a:spcBef>
                <a:spcPct val="0"/>
              </a:spcBef>
              <a:spcAft>
                <a:spcPct val="0"/>
              </a:spcAft>
              <a:buClrTx/>
              <a:buSzTx/>
              <a:buFontTx/>
              <a:buNone/>
              <a:tabLst/>
              <a:defRPr/>
            </a:pPr>
            <a:endParaRPr lang="en-US">
              <a:solidFill>
                <a:srgbClr val="000000"/>
              </a:solidFill>
              <a:latin typeface="Segoe UI"/>
              <a:cs typeface="Segoe UI"/>
            </a:endParaRPr>
          </a:p>
          <a:p>
            <a:pPr defTabSz="932472" fontAlgn="base">
              <a:lnSpc>
                <a:spcPct val="90000"/>
              </a:lnSpc>
              <a:spcBef>
                <a:spcPct val="0"/>
              </a:spcBef>
              <a:spcAft>
                <a:spcPct val="0"/>
              </a:spcAft>
              <a:defRPr/>
            </a:pPr>
            <a:r>
              <a:rPr lang="en-US" b="1">
                <a:latin typeface="+mn-lt"/>
              </a:rPr>
              <a:t>3, Catalyst, Sales and Customer Success Trainings </a:t>
            </a:r>
            <a:r>
              <a:rPr lang="en-US">
                <a:latin typeface="+mn-lt"/>
              </a:rPr>
              <a:t>– (CEE Area) If you require further information you can reach out to Peter Kuna about the motion.</a:t>
            </a:r>
          </a:p>
          <a:p>
            <a:pPr defTabSz="932472" fontAlgn="base">
              <a:lnSpc>
                <a:spcPct val="90000"/>
              </a:lnSpc>
              <a:spcBef>
                <a:spcPct val="0"/>
              </a:spcBef>
              <a:spcAft>
                <a:spcPct val="0"/>
              </a:spcAft>
              <a:defRPr/>
            </a:pPr>
            <a:endParaRPr lang="en-US"/>
          </a:p>
          <a:p>
            <a:pPr defTabSz="932472" fontAlgn="base">
              <a:lnSpc>
                <a:spcPct val="90000"/>
              </a:lnSpc>
              <a:spcBef>
                <a:spcPct val="0"/>
              </a:spcBef>
              <a:spcAft>
                <a:spcPct val="0"/>
              </a:spcAft>
              <a:defRPr/>
            </a:pPr>
            <a:r>
              <a:rPr lang="en-US" b="1">
                <a:latin typeface="+mn-lt"/>
              </a:rPr>
              <a:t>4, VILT (Virtual Instructor Led Courses)</a:t>
            </a:r>
            <a:r>
              <a:rPr lang="en-US">
                <a:latin typeface="+mn-lt"/>
              </a:rPr>
              <a:t> – Corp driven Online training offerings to be fount on partner.Microsoft.com. </a:t>
            </a:r>
            <a:r>
              <a:rPr lang="en-US">
                <a:latin typeface="+mn-lt"/>
                <a:hlinkClick r:id="rId3"/>
              </a:rPr>
              <a:t>Link</a:t>
            </a:r>
            <a:endParaRPr lang="en-US">
              <a:latin typeface="+mn-lt"/>
            </a:endParaRPr>
          </a:p>
          <a:p>
            <a:pPr defTabSz="932472" fontAlgn="base">
              <a:lnSpc>
                <a:spcPct val="90000"/>
              </a:lnSpc>
              <a:spcBef>
                <a:spcPct val="0"/>
              </a:spcBef>
              <a:spcAft>
                <a:spcPct val="0"/>
              </a:spcAft>
              <a:defRPr/>
            </a:pPr>
            <a:endParaRPr lang="en-US"/>
          </a:p>
          <a:p>
            <a:pPr defTabSz="932472" fontAlgn="base">
              <a:lnSpc>
                <a:spcPct val="90000"/>
              </a:lnSpc>
              <a:spcBef>
                <a:spcPct val="0"/>
              </a:spcBef>
              <a:spcAft>
                <a:spcPct val="0"/>
              </a:spcAft>
              <a:defRPr/>
            </a:pPr>
            <a:r>
              <a:rPr lang="en-US" b="1">
                <a:latin typeface="+mn-lt"/>
              </a:rPr>
              <a:t>5, Technical 1-1 engagements </a:t>
            </a:r>
            <a:r>
              <a:rPr lang="en-US">
                <a:latin typeface="+mn-lt"/>
              </a:rPr>
              <a:t>(solution development/ practice building)</a:t>
            </a:r>
          </a:p>
          <a:p>
            <a:pPr defTabSz="932472" fontAlgn="base">
              <a:lnSpc>
                <a:spcPct val="90000"/>
              </a:lnSpc>
              <a:spcBef>
                <a:spcPct val="0"/>
              </a:spcBef>
              <a:spcAft>
                <a:spcPct val="0"/>
              </a:spcAft>
              <a:defRPr/>
            </a:pPr>
            <a:r>
              <a:rPr lang="en-US">
                <a:latin typeface="+mn-lt"/>
              </a:rPr>
              <a:t>- Unmanaged partners – Engage PTC community through “Technical Presales and Deployment services” (</a:t>
            </a:r>
            <a:r>
              <a:rPr lang="en-US">
                <a:latin typeface="+mn-lt"/>
                <a:hlinkClick r:id="rId4"/>
              </a:rPr>
              <a:t>Link</a:t>
            </a:r>
            <a:r>
              <a:rPr lang="en-US">
                <a:latin typeface="+mn-lt"/>
              </a:rPr>
              <a:t>)  </a:t>
            </a:r>
          </a:p>
          <a:p>
            <a:pPr defTabSz="932472" fontAlgn="base">
              <a:lnSpc>
                <a:spcPct val="90000"/>
              </a:lnSpc>
              <a:spcBef>
                <a:spcPct val="0"/>
              </a:spcBef>
              <a:spcAft>
                <a:spcPct val="0"/>
              </a:spcAft>
              <a:defRPr/>
            </a:pPr>
            <a:r>
              <a:rPr lang="en-US">
                <a:latin typeface="+mn-lt"/>
              </a:rPr>
              <a:t>- Managed Partners – request Architect support through your Partner Development Manager.</a:t>
            </a:r>
          </a:p>
          <a:p>
            <a:pPr defTabSz="932472" fontAlgn="base">
              <a:lnSpc>
                <a:spcPct val="90000"/>
              </a:lnSpc>
              <a:spcBef>
                <a:spcPct val="0"/>
              </a:spcBef>
              <a:spcAft>
                <a:spcPct val="0"/>
              </a:spcAft>
              <a:defRPr/>
            </a:pPr>
            <a:endParaRPr lang="en-US"/>
          </a:p>
          <a:p>
            <a:pPr defTabSz="932472" fontAlgn="base">
              <a:lnSpc>
                <a:spcPct val="90000"/>
              </a:lnSpc>
              <a:spcBef>
                <a:spcPct val="0"/>
              </a:spcBef>
              <a:spcAft>
                <a:spcPct val="0"/>
              </a:spcAft>
              <a:defRPr/>
            </a:pPr>
            <a:r>
              <a:rPr lang="en-US">
                <a:latin typeface="+mn-lt"/>
              </a:rPr>
              <a:t> </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b="0" i="1" u="none" strike="noStrike" kern="1200" cap="none" spc="0" normalizeH="0" baseline="0" noProof="0">
                <a:ln>
                  <a:noFill/>
                </a:ln>
                <a:solidFill>
                  <a:srgbClr val="000000"/>
                </a:solidFill>
                <a:effectLst/>
                <a:uLnTx/>
                <a:uFillTx/>
                <a:latin typeface="Segoe UI"/>
                <a:ea typeface="+mn-ea"/>
                <a:cs typeface="Segoe UI"/>
              </a:rPr>
              <a:t>Terms and conditions apply, you need to discuss with your local Microsoft representative to determine eligibility, and the right program for you.  </a:t>
            </a:r>
          </a:p>
          <a:p>
            <a:pPr marL="0" marR="0" lvl="0" indent="0" algn="l" defTabSz="932472" rtl="0" eaLnBrk="1" fontAlgn="base" latinLnBrk="0" hangingPunct="1">
              <a:lnSpc>
                <a:spcPct val="90000"/>
              </a:lnSpc>
              <a:spcBef>
                <a:spcPct val="0"/>
              </a:spcBef>
              <a:spcAft>
                <a:spcPct val="0"/>
              </a:spcAft>
              <a:buClrTx/>
              <a:buSzTx/>
              <a:buFontTx/>
              <a:buNone/>
              <a:tabLst/>
              <a:defRPr/>
            </a:pPr>
            <a:endParaRPr lang="en-US" sz="1400">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Segoe UI"/>
            </a:endParaRPr>
          </a:p>
        </p:txBody>
      </p:sp>
      <p:sp>
        <p:nvSpPr>
          <p:cNvPr id="38" name="Rectangle 37">
            <a:extLst>
              <a:ext uri="{FF2B5EF4-FFF2-40B4-BE49-F238E27FC236}">
                <a16:creationId xmlns:a16="http://schemas.microsoft.com/office/drawing/2014/main" id="{09BE3D99-D018-49E1-9709-795A45D9C11E}"/>
              </a:ext>
            </a:extLst>
          </p:cNvPr>
          <p:cNvSpPr/>
          <p:nvPr/>
        </p:nvSpPr>
        <p:spPr bwMode="auto">
          <a:xfrm>
            <a:off x="355956" y="1031905"/>
            <a:ext cx="11672560" cy="413566"/>
          </a:xfrm>
          <a:prstGeom prst="rect">
            <a:avLst/>
          </a:prstGeom>
          <a:solidFill>
            <a:srgbClr val="0078D7"/>
          </a:solidFill>
          <a:ln w="6350" cap="flat" cmpd="sng" algn="ctr">
            <a:solidFill>
              <a:srgbClr val="A5A5A5"/>
            </a:solidFill>
            <a:prstDash val="solid"/>
            <a:miter lim="800000"/>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IN" sz="1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Description</a:t>
            </a:r>
            <a:endParaRPr kumimoji="0" lang="en-IN"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39" name="Rectangle 38">
            <a:extLst>
              <a:ext uri="{FF2B5EF4-FFF2-40B4-BE49-F238E27FC236}">
                <a16:creationId xmlns:a16="http://schemas.microsoft.com/office/drawing/2014/main" id="{FE081120-69CE-4453-AB93-1DAF0E1C04E6}"/>
              </a:ext>
            </a:extLst>
          </p:cNvPr>
          <p:cNvSpPr/>
          <p:nvPr/>
        </p:nvSpPr>
        <p:spPr bwMode="auto">
          <a:xfrm>
            <a:off x="355954" y="1031065"/>
            <a:ext cx="399905" cy="414427"/>
          </a:xfrm>
          <a:prstGeom prst="rect">
            <a:avLst/>
          </a:prstGeom>
          <a:solidFill>
            <a:srgbClr val="A5A5A5">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a:t>
            </a:r>
          </a:p>
        </p:txBody>
      </p:sp>
    </p:spTree>
    <p:extLst>
      <p:ext uri="{BB962C8B-B14F-4D97-AF65-F5344CB8AC3E}">
        <p14:creationId xmlns:p14="http://schemas.microsoft.com/office/powerpoint/2010/main" val="193458357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E4EB9DD4-631C-4B63-90E6-2AC021DA6C03}"/>
              </a:ext>
            </a:extLst>
          </p:cNvPr>
          <p:cNvSpPr>
            <a:spLocks noGrp="1"/>
          </p:cNvSpPr>
          <p:nvPr>
            <p:ph type="title"/>
          </p:nvPr>
        </p:nvSpPr>
        <p:spPr>
          <a:xfrm>
            <a:off x="1368531" y="257370"/>
            <a:ext cx="8353965" cy="492443"/>
          </a:xfrm>
        </p:spPr>
        <p:txBody>
          <a:bodyPr/>
          <a:lstStyle/>
          <a:p>
            <a:r>
              <a:rPr lang="en-US" sz="3200">
                <a:latin typeface="Segoe UI" panose="020B0502040204020203" pitchFamily="34" charset="0"/>
              </a:rPr>
              <a:t>Through Partner Activities and “in-a-day” offers</a:t>
            </a:r>
          </a:p>
        </p:txBody>
      </p:sp>
      <p:sp>
        <p:nvSpPr>
          <p:cNvPr id="37" name="Rectangle 36">
            <a:extLst>
              <a:ext uri="{FF2B5EF4-FFF2-40B4-BE49-F238E27FC236}">
                <a16:creationId xmlns:a16="http://schemas.microsoft.com/office/drawing/2014/main" id="{60EEB113-2B7D-446F-85A0-923FC1C7F2AB}"/>
              </a:ext>
            </a:extLst>
          </p:cNvPr>
          <p:cNvSpPr/>
          <p:nvPr/>
        </p:nvSpPr>
        <p:spPr bwMode="auto">
          <a:xfrm>
            <a:off x="355953" y="1445471"/>
            <a:ext cx="11480091" cy="5013518"/>
          </a:xfrm>
          <a:prstGeom prst="rect">
            <a:avLst/>
          </a:prstGeom>
          <a:noFill/>
          <a:ln w="6350" cap="flat" cmpd="sng" algn="ctr">
            <a:solidFill>
              <a:sysClr val="window" lastClr="FFFFFF">
                <a:lumMod val="75000"/>
              </a:sys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b="1" i="0" u="none" strike="noStrike" kern="1200" cap="none" spc="0" normalizeH="0" baseline="0" noProof="0">
                <a:ln>
                  <a:noFill/>
                </a:ln>
                <a:solidFill>
                  <a:srgbClr val="000000"/>
                </a:solidFill>
                <a:effectLst/>
                <a:uLnTx/>
                <a:uFillTx/>
                <a:latin typeface="Segoe UI"/>
                <a:ea typeface="+mn-ea"/>
                <a:cs typeface="Segoe UI"/>
              </a:rPr>
              <a:t>Through partner investment activities</a:t>
            </a:r>
            <a:r>
              <a:rPr kumimoji="0" lang="en-US" b="0" i="0" u="none" strike="noStrike" kern="1200" cap="none" spc="0" normalizeH="0" baseline="0" noProof="0">
                <a:ln>
                  <a:noFill/>
                </a:ln>
                <a:solidFill>
                  <a:srgbClr val="000000"/>
                </a:solidFill>
                <a:effectLst/>
                <a:uLnTx/>
                <a:uFillTx/>
                <a:latin typeface="Segoe UI"/>
                <a:ea typeface="+mn-ea"/>
                <a:cs typeface="Segoe UI"/>
              </a:rPr>
              <a:t> aim at selecting a set of customers together with Microsoft segment team and delivering interesting content to them at different </a:t>
            </a:r>
            <a:r>
              <a:rPr lang="en-US">
                <a:solidFill>
                  <a:srgbClr val="000000"/>
                </a:solidFill>
                <a:latin typeface="Segoe UI"/>
                <a:cs typeface="Segoe UI"/>
              </a:rPr>
              <a:t>stages of the sales journey </a:t>
            </a:r>
            <a:r>
              <a:rPr kumimoji="0" lang="en-US" b="0" i="0" u="none" strike="noStrike" kern="1200" cap="none" spc="0" normalizeH="0" baseline="0" noProof="0">
                <a:ln>
                  <a:noFill/>
                </a:ln>
                <a:solidFill>
                  <a:srgbClr val="000000"/>
                </a:solidFill>
                <a:effectLst/>
                <a:uLnTx/>
                <a:uFillTx/>
                <a:latin typeface="Segoe UI"/>
                <a:ea typeface="+mn-ea"/>
                <a:cs typeface="Segoe UI"/>
              </a:rPr>
              <a:t>that open new discussions or show value with Dynamics 365 cloud or Power Platform.</a:t>
            </a:r>
          </a:p>
          <a:p>
            <a:pPr marL="0" marR="0" lvl="0" indent="0" algn="l" defTabSz="932472" rtl="0" eaLnBrk="1" fontAlgn="base" latinLnBrk="0" hangingPunct="1">
              <a:lnSpc>
                <a:spcPct val="90000"/>
              </a:lnSpc>
              <a:spcBef>
                <a:spcPct val="0"/>
              </a:spcBef>
              <a:spcAft>
                <a:spcPct val="0"/>
              </a:spcAft>
              <a:buClrTx/>
              <a:buSzTx/>
              <a:buFontTx/>
              <a:buNone/>
              <a:tabLst/>
              <a:defRPr/>
            </a:pPr>
            <a:endParaRPr lang="en-US">
              <a:solidFill>
                <a:srgbClr val="000000"/>
              </a:solidFill>
              <a:latin typeface="Segoe UI"/>
              <a:cs typeface="Segoe UI"/>
            </a:endParaRPr>
          </a:p>
          <a:p>
            <a:pPr defTabSz="932472" fontAlgn="base">
              <a:lnSpc>
                <a:spcPct val="90000"/>
              </a:lnSpc>
              <a:spcBef>
                <a:spcPct val="0"/>
              </a:spcBef>
              <a:spcAft>
                <a:spcPct val="0"/>
              </a:spcAft>
              <a:defRPr/>
            </a:pPr>
            <a:r>
              <a:rPr kumimoji="0" lang="en-US" b="1" i="0" u="none" strike="noStrike" kern="1200" cap="none" spc="0" normalizeH="0" baseline="0" noProof="0">
                <a:ln>
                  <a:noFill/>
                </a:ln>
                <a:solidFill>
                  <a:srgbClr val="000000"/>
                </a:solidFill>
                <a:effectLst/>
                <a:uLnTx/>
                <a:uFillTx/>
                <a:latin typeface="Segoe UI"/>
                <a:ea typeface="+mn-ea"/>
                <a:cs typeface="Segoe UI"/>
              </a:rPr>
              <a:t>In scope of the available programs are </a:t>
            </a:r>
          </a:p>
          <a:p>
            <a:pPr marL="285750" indent="-285750" defTabSz="932472" fontAlgn="base">
              <a:lnSpc>
                <a:spcPct val="90000"/>
              </a:lnSpc>
              <a:spcBef>
                <a:spcPct val="0"/>
              </a:spcBef>
              <a:spcAft>
                <a:spcPct val="0"/>
              </a:spcAft>
              <a:buFont typeface="Arial" panose="020B0604020202020204" pitchFamily="34" charset="0"/>
              <a:buChar char="•"/>
              <a:defRPr/>
            </a:pPr>
            <a:r>
              <a:rPr kumimoji="0" lang="en-US" b="0" i="0" u="none" strike="noStrike" kern="1200" cap="none" spc="0" normalizeH="0" baseline="0" noProof="0">
                <a:ln>
                  <a:noFill/>
                </a:ln>
                <a:solidFill>
                  <a:srgbClr val="000000"/>
                </a:solidFill>
                <a:effectLst/>
                <a:uLnTx/>
                <a:uFillTx/>
                <a:latin typeface="Segoe UI"/>
                <a:ea typeface="+mn-ea"/>
                <a:cs typeface="Segoe UI"/>
              </a:rPr>
              <a:t>opportunity generating workshops (Catalyst Envisioning), </a:t>
            </a:r>
          </a:p>
          <a:p>
            <a:pPr marL="285750" indent="-285750" defTabSz="932472" fontAlgn="base">
              <a:lnSpc>
                <a:spcPct val="90000"/>
              </a:lnSpc>
              <a:spcBef>
                <a:spcPct val="0"/>
              </a:spcBef>
              <a:spcAft>
                <a:spcPct val="0"/>
              </a:spcAft>
              <a:buFont typeface="Arial" panose="020B0604020202020204" pitchFamily="34" charset="0"/>
              <a:buChar char="•"/>
              <a:defRPr/>
            </a:pPr>
            <a:r>
              <a:rPr kumimoji="0" lang="en-US" b="0" i="0" u="none" strike="noStrike" kern="1200" cap="none" spc="0" normalizeH="0" baseline="0" noProof="0">
                <a:ln>
                  <a:noFill/>
                </a:ln>
                <a:solidFill>
                  <a:srgbClr val="000000"/>
                </a:solidFill>
                <a:effectLst/>
                <a:uLnTx/>
                <a:uFillTx/>
                <a:latin typeface="Segoe UI"/>
                <a:ea typeface="+mn-ea"/>
                <a:cs typeface="Segoe UI"/>
              </a:rPr>
              <a:t>in a day event deliveries, </a:t>
            </a:r>
          </a:p>
          <a:p>
            <a:pPr marL="285750" indent="-285750" defTabSz="932472" fontAlgn="base">
              <a:lnSpc>
                <a:spcPct val="90000"/>
              </a:lnSpc>
              <a:spcBef>
                <a:spcPct val="0"/>
              </a:spcBef>
              <a:spcAft>
                <a:spcPct val="0"/>
              </a:spcAft>
              <a:buFont typeface="Arial" panose="020B0604020202020204" pitchFamily="34" charset="0"/>
              <a:buChar char="•"/>
              <a:defRPr/>
            </a:pPr>
            <a:r>
              <a:rPr kumimoji="0" lang="en-US" b="0" i="0" u="none" strike="noStrike" kern="1200" cap="none" spc="0" normalizeH="0" baseline="0" noProof="0">
                <a:ln>
                  <a:noFill/>
                </a:ln>
                <a:solidFill>
                  <a:srgbClr val="000000"/>
                </a:solidFill>
                <a:effectLst/>
                <a:uLnTx/>
                <a:uFillTx/>
                <a:latin typeface="Segoe UI"/>
                <a:ea typeface="+mn-ea"/>
                <a:cs typeface="Segoe UI"/>
              </a:rPr>
              <a:t>Proof Of Concept (POC) offers, </a:t>
            </a:r>
          </a:p>
          <a:p>
            <a:pPr marL="285750" indent="-285750" defTabSz="932472" fontAlgn="base">
              <a:lnSpc>
                <a:spcPct val="90000"/>
              </a:lnSpc>
              <a:spcBef>
                <a:spcPct val="0"/>
              </a:spcBef>
              <a:spcAft>
                <a:spcPct val="0"/>
              </a:spcAft>
              <a:buFont typeface="Arial" panose="020B0604020202020204" pitchFamily="34" charset="0"/>
              <a:buChar char="•"/>
              <a:defRPr/>
            </a:pPr>
            <a:r>
              <a:rPr kumimoji="0" lang="en-US" b="0" i="0" u="none" strike="noStrike" kern="1200" cap="none" spc="0" normalizeH="0" baseline="0" noProof="0">
                <a:ln>
                  <a:noFill/>
                </a:ln>
                <a:solidFill>
                  <a:srgbClr val="000000"/>
                </a:solidFill>
                <a:effectLst/>
                <a:uLnTx/>
                <a:uFillTx/>
                <a:latin typeface="Segoe UI"/>
                <a:ea typeface="+mn-ea"/>
                <a:cs typeface="Segoe UI"/>
              </a:rPr>
              <a:t>Deployment/consumption offers.</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r>
              <a:rPr lang="en-US" b="1">
                <a:solidFill>
                  <a:srgbClr val="000000"/>
                </a:solidFill>
                <a:latin typeface="Segoe UI"/>
                <a:cs typeface="Segoe UI"/>
              </a:rPr>
              <a:t>Minimum requirement for enrollment is:</a:t>
            </a:r>
          </a:p>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latin typeface="Segoe UI"/>
                <a:ea typeface="+mn-ea"/>
                <a:cs typeface="Segoe UI"/>
              </a:rPr>
              <a:t>“co-sell ready” offer available on AppSource </a:t>
            </a:r>
            <a:r>
              <a:rPr kumimoji="0" lang="en-US" b="0" i="1" u="none" strike="noStrike" kern="1200" cap="none" spc="0" normalizeH="0" baseline="0" noProof="0">
                <a:ln>
                  <a:noFill/>
                </a:ln>
                <a:solidFill>
                  <a:schemeClr val="bg2">
                    <a:lumMod val="65000"/>
                  </a:schemeClr>
                </a:solidFill>
                <a:effectLst/>
                <a:uLnTx/>
                <a:uFillTx/>
                <a:latin typeface="Segoe UI"/>
                <a:ea typeface="+mn-ea"/>
                <a:cs typeface="Segoe UI"/>
              </a:rPr>
              <a:t>(Work with your PDM or CED to get this status)</a:t>
            </a:r>
          </a:p>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latin typeface="Segoe UI"/>
                <a:ea typeface="+mn-ea"/>
                <a:cs typeface="Segoe UI"/>
              </a:rPr>
              <a:t>Alignment with the local team on select customers and what to deliver </a:t>
            </a:r>
            <a:r>
              <a:rPr kumimoji="0" lang="en-US" b="0" i="1" u="none" strike="noStrike" kern="1200" cap="none" spc="0" normalizeH="0" baseline="0" noProof="0">
                <a:ln>
                  <a:noFill/>
                </a:ln>
                <a:solidFill>
                  <a:schemeClr val="bg2">
                    <a:lumMod val="65000"/>
                  </a:schemeClr>
                </a:solidFill>
                <a:effectLst/>
                <a:uLnTx/>
                <a:uFillTx/>
                <a:latin typeface="Segoe UI"/>
                <a:ea typeface="+mn-ea"/>
                <a:cs typeface="Segoe UI"/>
              </a:rPr>
              <a:t>(both brought by you and Microsoft)</a:t>
            </a:r>
          </a:p>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US">
                <a:solidFill>
                  <a:srgbClr val="000000"/>
                </a:solidFill>
                <a:latin typeface="Segoe UI"/>
                <a:cs typeface="Segoe UI"/>
              </a:rPr>
              <a:t>A nomination (and acceptance) to the program </a:t>
            </a:r>
            <a:r>
              <a:rPr lang="en-US">
                <a:solidFill>
                  <a:schemeClr val="bg2">
                    <a:lumMod val="65000"/>
                  </a:schemeClr>
                </a:solidFill>
                <a:latin typeface="Segoe UI"/>
                <a:cs typeface="Segoe UI"/>
              </a:rPr>
              <a:t>–</a:t>
            </a:r>
            <a:r>
              <a:rPr lang="en-US">
                <a:solidFill>
                  <a:srgbClr val="000000"/>
                </a:solidFill>
                <a:latin typeface="Segoe UI"/>
                <a:cs typeface="Segoe UI"/>
              </a:rPr>
              <a:t> </a:t>
            </a:r>
            <a:r>
              <a:rPr lang="en-US" i="1">
                <a:solidFill>
                  <a:schemeClr val="bg2">
                    <a:lumMod val="65000"/>
                  </a:schemeClr>
                </a:solidFill>
                <a:latin typeface="Segoe UI"/>
                <a:cs typeface="Segoe UI"/>
              </a:rPr>
              <a:t>available through the local team</a:t>
            </a:r>
            <a:endParaRPr kumimoji="0" lang="en-US" b="0" i="1" u="none" strike="noStrike" kern="1200" cap="none" spc="0" normalizeH="0" baseline="0" noProof="0">
              <a:ln>
                <a:noFill/>
              </a:ln>
              <a:solidFill>
                <a:schemeClr val="bg2">
                  <a:lumMod val="65000"/>
                </a:schemeClr>
              </a:solidFill>
              <a:effectLst/>
              <a:uLnTx/>
              <a:uFillTx/>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r>
              <a:rPr lang="en-US" b="1">
                <a:solidFill>
                  <a:srgbClr val="000000"/>
                </a:solidFill>
                <a:latin typeface="Segoe UI"/>
                <a:cs typeface="Segoe UI"/>
              </a:rPr>
              <a:t>The program applies for all Microsoft sales plays </a:t>
            </a:r>
            <a:r>
              <a:rPr lang="en-US">
                <a:solidFill>
                  <a:srgbClr val="000000"/>
                </a:solidFill>
                <a:latin typeface="Segoe UI"/>
                <a:cs typeface="Segoe UI"/>
              </a:rPr>
              <a:t>but there may be differences in the required documentation and how to apply.</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b="0" i="1" u="none" strike="noStrike" kern="1200" cap="none" spc="0" normalizeH="0" baseline="0" noProof="0">
                <a:ln>
                  <a:noFill/>
                </a:ln>
                <a:solidFill>
                  <a:srgbClr val="000000"/>
                </a:solidFill>
                <a:effectLst/>
                <a:uLnTx/>
                <a:uFillTx/>
                <a:latin typeface="Segoe UI"/>
                <a:ea typeface="+mn-ea"/>
                <a:cs typeface="Segoe UI"/>
              </a:rPr>
              <a:t>Terms and conditions apply, you need to discuss with your local Microsoft representative to determine eligibility, and the right program for you.  </a:t>
            </a:r>
          </a:p>
          <a:p>
            <a:pPr marL="0" marR="0" lvl="0" indent="0" algn="l" defTabSz="932472" rtl="0" eaLnBrk="1" fontAlgn="base" latinLnBrk="0" hangingPunct="1">
              <a:lnSpc>
                <a:spcPct val="90000"/>
              </a:lnSpc>
              <a:spcBef>
                <a:spcPct val="0"/>
              </a:spcBef>
              <a:spcAft>
                <a:spcPct val="0"/>
              </a:spcAft>
              <a:buClrTx/>
              <a:buSzTx/>
              <a:buFontTx/>
              <a:buNone/>
              <a:tabLst/>
              <a:defRPr/>
            </a:pPr>
            <a:endParaRPr lang="en-US" sz="1400">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Segoe UI"/>
            </a:endParaRPr>
          </a:p>
        </p:txBody>
      </p:sp>
      <p:sp>
        <p:nvSpPr>
          <p:cNvPr id="38" name="Rectangle 37">
            <a:extLst>
              <a:ext uri="{FF2B5EF4-FFF2-40B4-BE49-F238E27FC236}">
                <a16:creationId xmlns:a16="http://schemas.microsoft.com/office/drawing/2014/main" id="{09BE3D99-D018-49E1-9709-795A45D9C11E}"/>
              </a:ext>
            </a:extLst>
          </p:cNvPr>
          <p:cNvSpPr/>
          <p:nvPr/>
        </p:nvSpPr>
        <p:spPr bwMode="auto">
          <a:xfrm>
            <a:off x="355956" y="1031905"/>
            <a:ext cx="11480088" cy="413566"/>
          </a:xfrm>
          <a:prstGeom prst="rect">
            <a:avLst/>
          </a:prstGeom>
          <a:solidFill>
            <a:srgbClr val="0078D7"/>
          </a:solidFill>
          <a:ln w="6350" cap="flat" cmpd="sng" algn="ctr">
            <a:solidFill>
              <a:srgbClr val="A5A5A5"/>
            </a:solidFill>
            <a:prstDash val="solid"/>
            <a:miter lim="800000"/>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IN" sz="1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Description</a:t>
            </a:r>
            <a:endParaRPr kumimoji="0" lang="en-IN"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39" name="Rectangle 38">
            <a:extLst>
              <a:ext uri="{FF2B5EF4-FFF2-40B4-BE49-F238E27FC236}">
                <a16:creationId xmlns:a16="http://schemas.microsoft.com/office/drawing/2014/main" id="{FE081120-69CE-4453-AB93-1DAF0E1C04E6}"/>
              </a:ext>
            </a:extLst>
          </p:cNvPr>
          <p:cNvSpPr/>
          <p:nvPr/>
        </p:nvSpPr>
        <p:spPr bwMode="auto">
          <a:xfrm>
            <a:off x="355954" y="1031065"/>
            <a:ext cx="399905" cy="414427"/>
          </a:xfrm>
          <a:prstGeom prst="rect">
            <a:avLst/>
          </a:prstGeom>
          <a:solidFill>
            <a:srgbClr val="A5A5A5">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a:t>
            </a:r>
          </a:p>
        </p:txBody>
      </p:sp>
    </p:spTree>
    <p:extLst>
      <p:ext uri="{BB962C8B-B14F-4D97-AF65-F5344CB8AC3E}">
        <p14:creationId xmlns:p14="http://schemas.microsoft.com/office/powerpoint/2010/main" val="609751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E4EB9DD4-631C-4B63-90E6-2AC021DA6C03}"/>
              </a:ext>
            </a:extLst>
          </p:cNvPr>
          <p:cNvSpPr>
            <a:spLocks noGrp="1"/>
          </p:cNvSpPr>
          <p:nvPr>
            <p:ph type="title"/>
          </p:nvPr>
        </p:nvSpPr>
        <p:spPr>
          <a:xfrm>
            <a:off x="1368531" y="257370"/>
            <a:ext cx="8353965" cy="492443"/>
          </a:xfrm>
        </p:spPr>
        <p:txBody>
          <a:bodyPr/>
          <a:lstStyle/>
          <a:p>
            <a:r>
              <a:rPr lang="en-US" sz="3200">
                <a:latin typeface="Segoe UI" panose="020B0502040204020203" pitchFamily="34" charset="0"/>
              </a:rPr>
              <a:t>Power Platform Partner Program</a:t>
            </a:r>
          </a:p>
        </p:txBody>
      </p:sp>
      <p:sp>
        <p:nvSpPr>
          <p:cNvPr id="37" name="Rectangle 36">
            <a:extLst>
              <a:ext uri="{FF2B5EF4-FFF2-40B4-BE49-F238E27FC236}">
                <a16:creationId xmlns:a16="http://schemas.microsoft.com/office/drawing/2014/main" id="{60EEB113-2B7D-446F-85A0-923FC1C7F2AB}"/>
              </a:ext>
            </a:extLst>
          </p:cNvPr>
          <p:cNvSpPr/>
          <p:nvPr/>
        </p:nvSpPr>
        <p:spPr bwMode="auto">
          <a:xfrm>
            <a:off x="355953" y="1445471"/>
            <a:ext cx="11480091" cy="5013518"/>
          </a:xfrm>
          <a:prstGeom prst="rect">
            <a:avLst/>
          </a:prstGeom>
          <a:noFill/>
          <a:ln w="6350" cap="flat" cmpd="sng" algn="ctr">
            <a:solidFill>
              <a:sysClr val="window" lastClr="FFFFFF">
                <a:lumMod val="75000"/>
              </a:sys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a:solidFill>
                  <a:srgbClr val="000000"/>
                </a:solidFill>
                <a:latin typeface="Segoe UI"/>
                <a:cs typeface="Segoe UI"/>
              </a:rPr>
              <a:t>Get access to an </a:t>
            </a:r>
            <a:r>
              <a:rPr lang="en-US" b="1">
                <a:solidFill>
                  <a:srgbClr val="000000"/>
                </a:solidFill>
                <a:latin typeface="Segoe UI"/>
                <a:cs typeface="Segoe UI"/>
              </a:rPr>
              <a:t>exclusive partner portal</a:t>
            </a:r>
            <a:r>
              <a:rPr lang="en-US">
                <a:solidFill>
                  <a:srgbClr val="000000"/>
                </a:solidFill>
                <a:latin typeface="Segoe UI"/>
                <a:cs typeface="Segoe UI"/>
              </a:rPr>
              <a:t>, community, and resources to kick-start becoming a Power Apps partner. </a:t>
            </a:r>
            <a:r>
              <a:rPr lang="en-US" b="1">
                <a:solidFill>
                  <a:srgbClr val="000000"/>
                </a:solidFill>
                <a:latin typeface="Segoe UI"/>
                <a:cs typeface="Segoe UI"/>
              </a:rPr>
              <a:t>Gain exposure </a:t>
            </a:r>
            <a:r>
              <a:rPr lang="en-US">
                <a:solidFill>
                  <a:srgbClr val="000000"/>
                </a:solidFill>
                <a:latin typeface="Segoe UI"/>
                <a:cs typeface="Segoe UI"/>
              </a:rPr>
              <a:t>by listing your organization on PowerApps.com as a preferred partner.</a:t>
            </a:r>
          </a:p>
          <a:p>
            <a:pPr marL="0" marR="0" lvl="0" indent="0" algn="l" defTabSz="932472" rtl="0" eaLnBrk="1" fontAlgn="base" latinLnBrk="0" hangingPunct="1">
              <a:lnSpc>
                <a:spcPct val="90000"/>
              </a:lnSpc>
              <a:spcBef>
                <a:spcPct val="0"/>
              </a:spcBef>
              <a:spcAft>
                <a:spcPct val="0"/>
              </a:spcAft>
              <a:buClrTx/>
              <a:buSzTx/>
              <a:buFontTx/>
              <a:buNone/>
              <a:tabLst/>
              <a:defRPr/>
            </a:pPr>
            <a:r>
              <a:rPr lang="en-US">
                <a:solidFill>
                  <a:srgbClr val="000000"/>
                </a:solidFill>
                <a:latin typeface="Segoe UI"/>
                <a:cs typeface="Segoe UI"/>
              </a:rPr>
              <a:t>Get early access to free webinars and training workshops</a:t>
            </a:r>
          </a:p>
          <a:p>
            <a:pPr marL="0" marR="0" lvl="0" indent="0" algn="l" defTabSz="932472" rtl="0" eaLnBrk="1" fontAlgn="base" latinLnBrk="0" hangingPunct="1">
              <a:lnSpc>
                <a:spcPct val="90000"/>
              </a:lnSpc>
              <a:spcBef>
                <a:spcPct val="0"/>
              </a:spcBef>
              <a:spcAft>
                <a:spcPct val="0"/>
              </a:spcAft>
              <a:buClrTx/>
              <a:buSzTx/>
              <a:buFontTx/>
              <a:buNone/>
              <a:tabLst/>
              <a:defRPr/>
            </a:pPr>
            <a:r>
              <a:rPr lang="en-US">
                <a:solidFill>
                  <a:srgbClr val="000000"/>
                </a:solidFill>
                <a:latin typeface="Segoe UI"/>
                <a:cs typeface="Segoe UI"/>
              </a:rPr>
              <a:t>Showcase app building skills by letting customers test drive your apps. </a:t>
            </a:r>
          </a:p>
          <a:p>
            <a:pPr marL="0" marR="0" lvl="0" indent="0" algn="l" defTabSz="932472" rtl="0" eaLnBrk="1" fontAlgn="base" latinLnBrk="0" hangingPunct="1">
              <a:lnSpc>
                <a:spcPct val="90000"/>
              </a:lnSpc>
              <a:spcBef>
                <a:spcPct val="0"/>
              </a:spcBef>
              <a:spcAft>
                <a:spcPct val="0"/>
              </a:spcAft>
              <a:buClrTx/>
              <a:buSzTx/>
              <a:buFontTx/>
              <a:buNone/>
              <a:tabLst/>
              <a:defRPr/>
            </a:pPr>
            <a:endParaRPr lang="en-US">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r>
              <a:rPr lang="en-US" b="1">
                <a:solidFill>
                  <a:srgbClr val="000000"/>
                </a:solidFill>
                <a:latin typeface="Segoe UI"/>
                <a:cs typeface="Segoe UI"/>
              </a:rPr>
              <a:t>Run Microsoft co-branded marketing events </a:t>
            </a:r>
            <a:r>
              <a:rPr lang="en-US">
                <a:solidFill>
                  <a:srgbClr val="000000"/>
                </a:solidFill>
                <a:latin typeface="Segoe UI"/>
                <a:cs typeface="Segoe UI"/>
              </a:rPr>
              <a:t>to receive high quality leads for your services pipeline.  Receive invitations for private previews from Engineering.</a:t>
            </a:r>
          </a:p>
          <a:p>
            <a:pPr marL="0" marR="0" lvl="0" indent="0" algn="l" defTabSz="932472" rtl="0" eaLnBrk="1" fontAlgn="base" latinLnBrk="0" hangingPunct="1">
              <a:lnSpc>
                <a:spcPct val="90000"/>
              </a:lnSpc>
              <a:spcBef>
                <a:spcPct val="0"/>
              </a:spcBef>
              <a:spcAft>
                <a:spcPct val="0"/>
              </a:spcAft>
              <a:buClrTx/>
              <a:buSzTx/>
              <a:buFontTx/>
              <a:buNone/>
              <a:tabLst/>
              <a:defRPr/>
            </a:pPr>
            <a:r>
              <a:rPr lang="en-US" b="1">
                <a:solidFill>
                  <a:srgbClr val="000000"/>
                </a:solidFill>
                <a:latin typeface="Segoe UI"/>
                <a:cs typeface="Segoe UI"/>
              </a:rPr>
              <a:t>Get targeted leads </a:t>
            </a:r>
            <a:r>
              <a:rPr lang="en-US">
                <a:solidFill>
                  <a:srgbClr val="000000"/>
                </a:solidFill>
                <a:latin typeface="Segoe UI"/>
                <a:cs typeface="Segoe UI"/>
              </a:rPr>
              <a:t>and pre-sales support for strategic campaigns. </a:t>
            </a:r>
          </a:p>
          <a:p>
            <a:pPr marL="0" marR="0" lvl="0" indent="0" algn="l" defTabSz="932472" rtl="0" eaLnBrk="1" fontAlgn="base" latinLnBrk="0" hangingPunct="1">
              <a:lnSpc>
                <a:spcPct val="90000"/>
              </a:lnSpc>
              <a:spcBef>
                <a:spcPct val="0"/>
              </a:spcBef>
              <a:spcAft>
                <a:spcPct val="0"/>
              </a:spcAft>
              <a:buClrTx/>
              <a:buSzTx/>
              <a:buFontTx/>
              <a:buNone/>
              <a:tabLst/>
              <a:defRPr/>
            </a:pPr>
            <a:r>
              <a:rPr lang="en-US">
                <a:solidFill>
                  <a:srgbClr val="000000"/>
                </a:solidFill>
                <a:latin typeface="Segoe UI"/>
                <a:cs typeface="Segoe UI"/>
              </a:rPr>
              <a:t>Publish your Power Apps consulting services offers in AppSource</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b="1"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lang="en-US" b="1">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r>
              <a:rPr lang="ru-RU">
                <a:hlinkClick r:id="rId3"/>
              </a:rPr>
              <a:t>https://aka.ms/PowerAppsPartner</a:t>
            </a:r>
            <a:endParaRPr lang="en-US" b="1">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b="1"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b="0" i="1" u="none" strike="noStrike" kern="1200" cap="none" spc="0" normalizeH="0" baseline="0" noProof="0">
                <a:ln>
                  <a:noFill/>
                </a:ln>
                <a:solidFill>
                  <a:srgbClr val="000000"/>
                </a:solidFill>
                <a:effectLst/>
                <a:uLnTx/>
                <a:uFillTx/>
                <a:latin typeface="Segoe UI"/>
                <a:ea typeface="+mn-ea"/>
                <a:cs typeface="Segoe UI"/>
              </a:rPr>
              <a:t>Terms and conditions apply, you need to discuss with your local Microsoft representative to determine eligibility, and the right program for you.  </a:t>
            </a:r>
          </a:p>
          <a:p>
            <a:pPr marL="0" marR="0" lvl="0" indent="0" algn="l" defTabSz="932472" rtl="0" eaLnBrk="1" fontAlgn="base" latinLnBrk="0" hangingPunct="1">
              <a:lnSpc>
                <a:spcPct val="90000"/>
              </a:lnSpc>
              <a:spcBef>
                <a:spcPct val="0"/>
              </a:spcBef>
              <a:spcAft>
                <a:spcPct val="0"/>
              </a:spcAft>
              <a:buClrTx/>
              <a:buSzTx/>
              <a:buFontTx/>
              <a:buNone/>
              <a:tabLst/>
              <a:defRPr/>
            </a:pPr>
            <a:endParaRPr lang="en-US" sz="1400">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Segoe UI"/>
            </a:endParaRPr>
          </a:p>
        </p:txBody>
      </p:sp>
      <p:sp>
        <p:nvSpPr>
          <p:cNvPr id="38" name="Rectangle 37">
            <a:extLst>
              <a:ext uri="{FF2B5EF4-FFF2-40B4-BE49-F238E27FC236}">
                <a16:creationId xmlns:a16="http://schemas.microsoft.com/office/drawing/2014/main" id="{09BE3D99-D018-49E1-9709-795A45D9C11E}"/>
              </a:ext>
            </a:extLst>
          </p:cNvPr>
          <p:cNvSpPr/>
          <p:nvPr/>
        </p:nvSpPr>
        <p:spPr bwMode="auto">
          <a:xfrm>
            <a:off x="355956" y="1031905"/>
            <a:ext cx="11480088" cy="413566"/>
          </a:xfrm>
          <a:prstGeom prst="rect">
            <a:avLst/>
          </a:prstGeom>
          <a:solidFill>
            <a:srgbClr val="0078D7"/>
          </a:solidFill>
          <a:ln w="6350" cap="flat" cmpd="sng" algn="ctr">
            <a:solidFill>
              <a:srgbClr val="A5A5A5"/>
            </a:solidFill>
            <a:prstDash val="solid"/>
            <a:miter lim="800000"/>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IN" sz="1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Description</a:t>
            </a:r>
            <a:endParaRPr kumimoji="0" lang="en-IN"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39" name="Rectangle 38">
            <a:extLst>
              <a:ext uri="{FF2B5EF4-FFF2-40B4-BE49-F238E27FC236}">
                <a16:creationId xmlns:a16="http://schemas.microsoft.com/office/drawing/2014/main" id="{FE081120-69CE-4453-AB93-1DAF0E1C04E6}"/>
              </a:ext>
            </a:extLst>
          </p:cNvPr>
          <p:cNvSpPr/>
          <p:nvPr/>
        </p:nvSpPr>
        <p:spPr bwMode="auto">
          <a:xfrm>
            <a:off x="355954" y="1031065"/>
            <a:ext cx="399905" cy="414427"/>
          </a:xfrm>
          <a:prstGeom prst="rect">
            <a:avLst/>
          </a:prstGeom>
          <a:solidFill>
            <a:srgbClr val="A5A5A5">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a:t>
            </a:r>
          </a:p>
        </p:txBody>
      </p:sp>
    </p:spTree>
    <p:extLst>
      <p:ext uri="{BB962C8B-B14F-4D97-AF65-F5344CB8AC3E}">
        <p14:creationId xmlns:p14="http://schemas.microsoft.com/office/powerpoint/2010/main" val="66866957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E4EB9DD4-631C-4B63-90E6-2AC021DA6C03}"/>
              </a:ext>
            </a:extLst>
          </p:cNvPr>
          <p:cNvSpPr>
            <a:spLocks noGrp="1"/>
          </p:cNvSpPr>
          <p:nvPr>
            <p:ph type="title"/>
          </p:nvPr>
        </p:nvSpPr>
        <p:spPr>
          <a:xfrm>
            <a:off x="1386941" y="257370"/>
            <a:ext cx="8335555" cy="492443"/>
          </a:xfrm>
        </p:spPr>
        <p:txBody>
          <a:bodyPr/>
          <a:lstStyle/>
          <a:p>
            <a:r>
              <a:rPr lang="en-US" sz="3200">
                <a:latin typeface="Segoe UI" panose="020B0502040204020203" pitchFamily="34" charset="0"/>
              </a:rPr>
              <a:t>Dynamics Migration Program</a:t>
            </a:r>
          </a:p>
        </p:txBody>
      </p:sp>
      <p:sp>
        <p:nvSpPr>
          <p:cNvPr id="7" name="Rectangle 6">
            <a:extLst>
              <a:ext uri="{FF2B5EF4-FFF2-40B4-BE49-F238E27FC236}">
                <a16:creationId xmlns:a16="http://schemas.microsoft.com/office/drawing/2014/main" id="{A655A8C1-516A-4B7C-805D-F03AD97F9350}"/>
              </a:ext>
            </a:extLst>
          </p:cNvPr>
          <p:cNvSpPr/>
          <p:nvPr/>
        </p:nvSpPr>
        <p:spPr bwMode="auto">
          <a:xfrm>
            <a:off x="355953" y="1445471"/>
            <a:ext cx="11480091" cy="5013518"/>
          </a:xfrm>
          <a:prstGeom prst="rect">
            <a:avLst/>
          </a:prstGeom>
          <a:noFill/>
          <a:ln w="6350" cap="flat" cmpd="sng" algn="ctr">
            <a:solidFill>
              <a:sysClr val="window" lastClr="FFFFFF">
                <a:lumMod val="75000"/>
              </a:sysClr>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a:solidFill>
                  <a:srgbClr val="000000"/>
                </a:solidFill>
                <a:latin typeface="Segoe UI"/>
                <a:cs typeface="Segoe UI"/>
              </a:rPr>
              <a:t>Customers can request a free assessment from Microsoft through certified assessment partners to start them on their cloud journey.</a:t>
            </a:r>
          </a:p>
          <a:p>
            <a:pPr marL="0" marR="0" lvl="0" indent="0" algn="l" defTabSz="932472" rtl="0" eaLnBrk="1" fontAlgn="base" latinLnBrk="0" hangingPunct="1">
              <a:lnSpc>
                <a:spcPct val="90000"/>
              </a:lnSpc>
              <a:spcBef>
                <a:spcPct val="0"/>
              </a:spcBef>
              <a:spcAft>
                <a:spcPct val="0"/>
              </a:spcAft>
              <a:buClrTx/>
              <a:buSzTx/>
              <a:buFontTx/>
              <a:buNone/>
              <a:tabLst/>
              <a:defRPr/>
            </a:pPr>
            <a:endParaRPr lang="en-US">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r>
              <a:rPr lang="en-US">
                <a:solidFill>
                  <a:srgbClr val="000000"/>
                </a:solidFill>
                <a:latin typeface="Segoe UI"/>
                <a:cs typeface="Segoe UI"/>
              </a:rPr>
              <a:t>Microsoft team will reach out proactively to end of support customers to enroll them in the program.</a:t>
            </a:r>
          </a:p>
          <a:p>
            <a:pPr marL="0" marR="0" lvl="0" indent="0" algn="l" defTabSz="932472" rtl="0" eaLnBrk="1" fontAlgn="base" latinLnBrk="0" hangingPunct="1">
              <a:lnSpc>
                <a:spcPct val="90000"/>
              </a:lnSpc>
              <a:spcBef>
                <a:spcPct val="0"/>
              </a:spcBef>
              <a:spcAft>
                <a:spcPct val="0"/>
              </a:spcAft>
              <a:buClrTx/>
              <a:buSzTx/>
              <a:buFontTx/>
              <a:buNone/>
              <a:tabLst/>
              <a:defRPr/>
            </a:pPr>
            <a:endParaRPr lang="en-US">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r>
              <a:rPr lang="en-US">
                <a:solidFill>
                  <a:srgbClr val="000000"/>
                </a:solidFill>
                <a:latin typeface="Segoe UI"/>
                <a:cs typeface="Segoe UI"/>
              </a:rPr>
              <a:t>Customers with End of Support products have a great opportunity to join the Cloud world (Migration license offers and deployment funding is available in case we manage to identify a good path to cloud.</a:t>
            </a:r>
          </a:p>
          <a:p>
            <a:pPr marL="0" marR="0" lvl="0" indent="0" algn="l" defTabSz="932472" rtl="0" eaLnBrk="1" fontAlgn="base" latinLnBrk="0" hangingPunct="1">
              <a:lnSpc>
                <a:spcPct val="90000"/>
              </a:lnSpc>
              <a:spcBef>
                <a:spcPct val="0"/>
              </a:spcBef>
              <a:spcAft>
                <a:spcPct val="0"/>
              </a:spcAft>
              <a:buClrTx/>
              <a:buSzTx/>
              <a:buFontTx/>
              <a:buNone/>
              <a:tabLst/>
              <a:defRPr/>
            </a:pPr>
            <a:endParaRPr lang="en-US">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r>
              <a:rPr lang="en-US">
                <a:solidFill>
                  <a:srgbClr val="000000"/>
                </a:solidFill>
                <a:latin typeface="Segoe UI"/>
                <a:cs typeface="Segoe UI"/>
              </a:rPr>
              <a:t>The program is a collaboration between Microsoft – You – and a migration assessment partner</a:t>
            </a:r>
          </a:p>
          <a:p>
            <a:pPr marL="0" marR="0" lvl="0" indent="0" algn="l" defTabSz="932472" rtl="0" eaLnBrk="1" fontAlgn="base" latinLnBrk="0" hangingPunct="1">
              <a:lnSpc>
                <a:spcPct val="90000"/>
              </a:lnSpc>
              <a:spcBef>
                <a:spcPct val="0"/>
              </a:spcBef>
              <a:spcAft>
                <a:spcPct val="0"/>
              </a:spcAft>
              <a:buClrTx/>
              <a:buSzTx/>
              <a:buFontTx/>
              <a:buNone/>
              <a:tabLst/>
              <a:defRPr/>
            </a:pPr>
            <a:endParaRPr lang="en-US">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lang="en-US">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r>
              <a:rPr lang="en-US">
                <a:hlinkClick r:id="rId3"/>
              </a:rPr>
              <a:t>https://dynamics.microsoft.com/en-us/migration-program/</a:t>
            </a:r>
            <a:endParaRPr lang="en-US">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lang="en-US">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b="0" i="1" u="none" strike="noStrike" kern="1200" cap="none" spc="0" normalizeH="0" baseline="0" noProof="0">
                <a:ln>
                  <a:noFill/>
                </a:ln>
                <a:solidFill>
                  <a:srgbClr val="000000"/>
                </a:solidFill>
                <a:effectLst/>
                <a:uLnTx/>
                <a:uFillTx/>
                <a:latin typeface="Segoe UI"/>
                <a:ea typeface="+mn-ea"/>
                <a:cs typeface="Segoe UI"/>
              </a:rPr>
              <a:t>Terms and conditions apply, you need to discuss with your local Microsoft representative to determine eligibility, and the right program for you.  </a:t>
            </a:r>
          </a:p>
          <a:p>
            <a:pPr marL="0" marR="0" lvl="0" indent="0" algn="l" defTabSz="932472" rtl="0" eaLnBrk="1" fontAlgn="base" latinLnBrk="0" hangingPunct="1">
              <a:lnSpc>
                <a:spcPct val="90000"/>
              </a:lnSpc>
              <a:spcBef>
                <a:spcPct val="0"/>
              </a:spcBef>
              <a:spcAft>
                <a:spcPct val="0"/>
              </a:spcAft>
              <a:buClrTx/>
              <a:buSzTx/>
              <a:buFontTx/>
              <a:buNone/>
              <a:tabLst/>
              <a:defRPr/>
            </a:pPr>
            <a:endParaRPr lang="en-US" sz="1400">
              <a:solidFill>
                <a:srgbClr val="000000"/>
              </a:solidFill>
              <a:latin typeface="Segoe UI"/>
              <a:cs typeface="Segoe UI"/>
            </a:endParaRP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a:ea typeface="+mn-ea"/>
              <a:cs typeface="Segoe UI"/>
            </a:endParaRPr>
          </a:p>
        </p:txBody>
      </p:sp>
      <p:sp>
        <p:nvSpPr>
          <p:cNvPr id="8" name="Rectangle 7">
            <a:extLst>
              <a:ext uri="{FF2B5EF4-FFF2-40B4-BE49-F238E27FC236}">
                <a16:creationId xmlns:a16="http://schemas.microsoft.com/office/drawing/2014/main" id="{5EDBC796-1A66-4BD3-B778-FACF184EEF99}"/>
              </a:ext>
            </a:extLst>
          </p:cNvPr>
          <p:cNvSpPr/>
          <p:nvPr/>
        </p:nvSpPr>
        <p:spPr bwMode="auto">
          <a:xfrm>
            <a:off x="355956" y="1031905"/>
            <a:ext cx="11480088" cy="413566"/>
          </a:xfrm>
          <a:prstGeom prst="rect">
            <a:avLst/>
          </a:prstGeom>
          <a:solidFill>
            <a:srgbClr val="0078D7"/>
          </a:solidFill>
          <a:ln w="6350" cap="flat" cmpd="sng" algn="ctr">
            <a:solidFill>
              <a:srgbClr val="A5A5A5"/>
            </a:solidFill>
            <a:prstDash val="solid"/>
            <a:miter lim="800000"/>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IN" sz="1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Description</a:t>
            </a:r>
            <a:endParaRPr kumimoji="0" lang="en-IN"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9" name="Rectangle 8">
            <a:extLst>
              <a:ext uri="{FF2B5EF4-FFF2-40B4-BE49-F238E27FC236}">
                <a16:creationId xmlns:a16="http://schemas.microsoft.com/office/drawing/2014/main" id="{C841082B-0270-47BA-ADBC-CBE46F9ADDDB}"/>
              </a:ext>
            </a:extLst>
          </p:cNvPr>
          <p:cNvSpPr/>
          <p:nvPr/>
        </p:nvSpPr>
        <p:spPr bwMode="auto">
          <a:xfrm>
            <a:off x="355954" y="1031065"/>
            <a:ext cx="399905" cy="414427"/>
          </a:xfrm>
          <a:prstGeom prst="rect">
            <a:avLst/>
          </a:prstGeom>
          <a:solidFill>
            <a:srgbClr val="A5A5A5">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a:t>
            </a:r>
          </a:p>
        </p:txBody>
      </p:sp>
    </p:spTree>
    <p:extLst>
      <p:ext uri="{BB962C8B-B14F-4D97-AF65-F5344CB8AC3E}">
        <p14:creationId xmlns:p14="http://schemas.microsoft.com/office/powerpoint/2010/main" val="256143883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Y20 Co-Sell Guide" descr="FY20 Co-sell Guide">
            <a:extLst>
              <a:ext uri="{FF2B5EF4-FFF2-40B4-BE49-F238E27FC236}">
                <a16:creationId xmlns:a16="http://schemas.microsoft.com/office/drawing/2014/main" id="{6CF67FE7-FDF2-485E-920B-C579DAED9632}"/>
              </a:ext>
            </a:extLst>
          </p:cNvPr>
          <p:cNvSpPr>
            <a:spLocks noGrp="1"/>
          </p:cNvSpPr>
          <p:nvPr>
            <p:ph type="title"/>
          </p:nvPr>
        </p:nvSpPr>
        <p:spPr>
          <a:xfrm>
            <a:off x="339958" y="2457326"/>
            <a:ext cx="5473613" cy="2585323"/>
          </a:xfrm>
        </p:spPr>
        <p:txBody>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hu-HU">
                <a:latin typeface="Segoe UI Semibold"/>
              </a:rPr>
              <a:t>Azure</a:t>
            </a:r>
            <a:br>
              <a:rPr lang="hu-HU">
                <a:latin typeface="Segoe UI Semibold"/>
              </a:rPr>
            </a:br>
            <a:r>
              <a:rPr lang="hu-HU" sz="2400">
                <a:latin typeface="Segoe UI Semibold"/>
              </a:rPr>
              <a:t>Applications, Infrastructure, Data, AI</a:t>
            </a:r>
            <a:br>
              <a:rPr lang="hu-HU">
                <a:latin typeface="Segoe UI Semibold"/>
              </a:rPr>
            </a:br>
            <a:br>
              <a:rPr lang="hu-HU">
                <a:latin typeface="Segoe UI Semibold"/>
              </a:rPr>
            </a:br>
            <a:br>
              <a:rPr lang="hu-HU">
                <a:latin typeface="Segoe UI Semibold"/>
              </a:rPr>
            </a:br>
            <a:r>
              <a:rPr lang="hu-HU">
                <a:latin typeface="Segoe UI Semibold"/>
              </a:rPr>
              <a:t>Tomas Pavlu</a:t>
            </a:r>
            <a:endParaRPr kumimoji="0" lang="hu-HU" sz="9600" b="0" i="0" u="none" strike="noStrike" kern="1200" cap="none" spc="-50" normalizeH="0" baseline="0" noProof="0">
              <a:ln w="3175">
                <a:noFill/>
              </a:ln>
              <a:solidFill>
                <a:srgbClr val="50E6FF"/>
              </a:solidFill>
              <a:effectLst/>
              <a:uLnTx/>
              <a:uFillTx/>
              <a:latin typeface="Segoe UI Semibold"/>
              <a:ea typeface="+mn-ea"/>
              <a:cs typeface="Segoe UI" panose="020B0502040204020203" pitchFamily="34" charset="0"/>
            </a:endParaRPr>
          </a:p>
        </p:txBody>
      </p:sp>
      <p:pic>
        <p:nvPicPr>
          <p:cNvPr id="6" name="Co-sell graphic" descr="Connections">
            <a:extLst>
              <a:ext uri="{FF2B5EF4-FFF2-40B4-BE49-F238E27FC236}">
                <a16:creationId xmlns:a16="http://schemas.microsoft.com/office/drawing/2014/main" id="{E07770A4-D2E5-414E-9EE1-4890FFB473C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5535605" y="-82866"/>
            <a:ext cx="6826477" cy="6826477"/>
          </a:xfrm>
          <a:prstGeom prst="rect">
            <a:avLst/>
          </a:prstGeom>
        </p:spPr>
      </p:pic>
    </p:spTree>
    <p:extLst>
      <p:ext uri="{BB962C8B-B14F-4D97-AF65-F5344CB8AC3E}">
        <p14:creationId xmlns:p14="http://schemas.microsoft.com/office/powerpoint/2010/main" val="4547454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8B676000-A100-4CDB-B964-AF17121DD1BB}"/>
              </a:ext>
            </a:extLst>
          </p:cNvPr>
          <p:cNvSpPr txBox="1">
            <a:spLocks/>
          </p:cNvSpPr>
          <p:nvPr/>
        </p:nvSpPr>
        <p:spPr>
          <a:xfrm>
            <a:off x="188838" y="91440"/>
            <a:ext cx="11756571" cy="484094"/>
          </a:xfrm>
          <a:prstGeom prst="rect">
            <a:avLst/>
          </a:prstGeom>
        </p:spPr>
        <p:txBody>
          <a:bodyPr/>
          <a:lst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rPr>
              <a:t>FY21 </a:t>
            </a:r>
            <a:r>
              <a:rPr kumimoji="0" lang="cs-CZ" sz="2400" b="1"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rPr>
              <a:t>Azure </a:t>
            </a:r>
            <a:r>
              <a:rPr kumimoji="0" lang="en-US" sz="2400" b="1"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rPr>
              <a:t>Priorities</a:t>
            </a:r>
            <a:r>
              <a:rPr kumimoji="0" lang="cs-CZ" sz="2400" b="1"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rPr>
              <a:t>, Sales Plays</a:t>
            </a:r>
            <a:endParaRPr kumimoji="0" lang="en-US" sz="2400" b="0"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endParaRPr>
          </a:p>
        </p:txBody>
      </p:sp>
      <p:sp>
        <p:nvSpPr>
          <p:cNvPr id="13" name="TextBox 12">
            <a:extLst>
              <a:ext uri="{FF2B5EF4-FFF2-40B4-BE49-F238E27FC236}">
                <a16:creationId xmlns:a16="http://schemas.microsoft.com/office/drawing/2014/main" id="{E88F39BF-8003-4465-A304-E63E6532E01A}"/>
              </a:ext>
            </a:extLst>
          </p:cNvPr>
          <p:cNvSpPr txBox="1"/>
          <p:nvPr/>
        </p:nvSpPr>
        <p:spPr>
          <a:xfrm>
            <a:off x="192024" y="585216"/>
            <a:ext cx="7848600" cy="307777"/>
          </a:xfrm>
          <a:prstGeom prst="rect">
            <a:avLst/>
          </a:prstGeom>
          <a:noFill/>
        </p:spPr>
        <p:txBody>
          <a:bodyPr wrap="square" lIns="0" tIns="0" rIns="0" bIns="0" rtlCol="0">
            <a:spAutoFit/>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gradFill>
                  <a:gsLst>
                    <a:gs pos="0">
                      <a:srgbClr val="000000"/>
                    </a:gs>
                    <a:gs pos="100000">
                      <a:srgbClr val="000000"/>
                    </a:gs>
                  </a:gsLst>
                  <a:lin ang="5400000" scaled="1"/>
                </a:gradFill>
                <a:effectLst/>
                <a:uLnTx/>
                <a:uFillTx/>
                <a:latin typeface="Segoe UI"/>
                <a:ea typeface="+mn-ea"/>
                <a:cs typeface="Segoe UI"/>
              </a:rPr>
              <a:t>Applications, Infrastructure, Data, AI</a:t>
            </a:r>
            <a:endParaRPr kumimoji="0" lang="en-IN"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Segoe UI" pitchFamily="34" charset="0"/>
              <a:cs typeface="Segoe UI"/>
            </a:endParaRPr>
          </a:p>
        </p:txBody>
      </p:sp>
      <p:pic>
        <p:nvPicPr>
          <p:cNvPr id="15" name="Picture 14">
            <a:extLst>
              <a:ext uri="{FF2B5EF4-FFF2-40B4-BE49-F238E27FC236}">
                <a16:creationId xmlns:a16="http://schemas.microsoft.com/office/drawing/2014/main" id="{6D2FBC6E-33FF-4ED0-A5FD-9FF3480CAFB4}"/>
              </a:ext>
            </a:extLst>
          </p:cNvPr>
          <p:cNvPicPr>
            <a:picLocks noChangeAspect="1"/>
          </p:cNvPicPr>
          <p:nvPr/>
        </p:nvPicPr>
        <p:blipFill rotWithShape="1">
          <a:blip r:embed="rId3"/>
          <a:srcRect r="30781"/>
          <a:stretch/>
        </p:blipFill>
        <p:spPr>
          <a:xfrm>
            <a:off x="322189" y="1400449"/>
            <a:ext cx="5395533" cy="3287326"/>
          </a:xfrm>
          <a:prstGeom prst="rect">
            <a:avLst/>
          </a:prstGeom>
        </p:spPr>
      </p:pic>
      <p:pic>
        <p:nvPicPr>
          <p:cNvPr id="2" name="Picture 1" descr="A picture containing game, drawing&#10;&#10;Description automatically generated">
            <a:extLst>
              <a:ext uri="{FF2B5EF4-FFF2-40B4-BE49-F238E27FC236}">
                <a16:creationId xmlns:a16="http://schemas.microsoft.com/office/drawing/2014/main" id="{EB1A1C1B-07CD-493D-BC64-A5F23803A9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83710" y="31421"/>
            <a:ext cx="1209040" cy="643563"/>
          </a:xfrm>
          <a:prstGeom prst="rect">
            <a:avLst/>
          </a:prstGeom>
        </p:spPr>
      </p:pic>
      <p:pic>
        <p:nvPicPr>
          <p:cNvPr id="4" name="Picture 3">
            <a:extLst>
              <a:ext uri="{FF2B5EF4-FFF2-40B4-BE49-F238E27FC236}">
                <a16:creationId xmlns:a16="http://schemas.microsoft.com/office/drawing/2014/main" id="{526E6540-F0DA-42F1-898F-0E9A9325D712}"/>
              </a:ext>
            </a:extLst>
          </p:cNvPr>
          <p:cNvPicPr>
            <a:picLocks noChangeAspect="1"/>
          </p:cNvPicPr>
          <p:nvPr/>
        </p:nvPicPr>
        <p:blipFill>
          <a:blip r:embed="rId5"/>
          <a:stretch>
            <a:fillRect/>
          </a:stretch>
        </p:blipFill>
        <p:spPr>
          <a:xfrm>
            <a:off x="188838" y="4793602"/>
            <a:ext cx="2611293" cy="1532554"/>
          </a:xfrm>
          <a:prstGeom prst="rect">
            <a:avLst/>
          </a:prstGeom>
        </p:spPr>
      </p:pic>
      <p:pic>
        <p:nvPicPr>
          <p:cNvPr id="7" name="Picture 6">
            <a:extLst>
              <a:ext uri="{FF2B5EF4-FFF2-40B4-BE49-F238E27FC236}">
                <a16:creationId xmlns:a16="http://schemas.microsoft.com/office/drawing/2014/main" id="{3C09A5DB-6BE0-40F1-8E33-899A76EA60ED}"/>
              </a:ext>
            </a:extLst>
          </p:cNvPr>
          <p:cNvPicPr>
            <a:picLocks noChangeAspect="1"/>
          </p:cNvPicPr>
          <p:nvPr/>
        </p:nvPicPr>
        <p:blipFill>
          <a:blip r:embed="rId6"/>
          <a:stretch>
            <a:fillRect/>
          </a:stretch>
        </p:blipFill>
        <p:spPr>
          <a:xfrm>
            <a:off x="6737505" y="1844653"/>
            <a:ext cx="5265657" cy="3903214"/>
          </a:xfrm>
          <a:prstGeom prst="rect">
            <a:avLst/>
          </a:prstGeom>
        </p:spPr>
      </p:pic>
      <p:sp>
        <p:nvSpPr>
          <p:cNvPr id="8" name="Arrow: Right 7">
            <a:extLst>
              <a:ext uri="{FF2B5EF4-FFF2-40B4-BE49-F238E27FC236}">
                <a16:creationId xmlns:a16="http://schemas.microsoft.com/office/drawing/2014/main" id="{EC828DF0-2450-461E-9A93-DAAE356EF17A}"/>
              </a:ext>
            </a:extLst>
          </p:cNvPr>
          <p:cNvSpPr/>
          <p:nvPr/>
        </p:nvSpPr>
        <p:spPr bwMode="auto">
          <a:xfrm>
            <a:off x="6016375" y="3347046"/>
            <a:ext cx="721130" cy="1102799"/>
          </a:xfrm>
          <a:prstGeom prst="rightArrow">
            <a:avLst>
              <a:gd name="adj1" fmla="val 50000"/>
              <a:gd name="adj2" fmla="val 50000"/>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1F5D70CE-7F15-44F3-84EB-B9031BC52A71}"/>
              </a:ext>
            </a:extLst>
          </p:cNvPr>
          <p:cNvSpPr/>
          <p:nvPr/>
        </p:nvSpPr>
        <p:spPr bwMode="auto">
          <a:xfrm>
            <a:off x="130629" y="1200150"/>
            <a:ext cx="5666014" cy="5396593"/>
          </a:xfrm>
          <a:prstGeom prst="rect">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020406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ectangle 111">
            <a:extLst>
              <a:ext uri="{FF2B5EF4-FFF2-40B4-BE49-F238E27FC236}">
                <a16:creationId xmlns:a16="http://schemas.microsoft.com/office/drawing/2014/main" id="{E2739007-5209-463A-AE93-6881D109E075}"/>
              </a:ext>
            </a:extLst>
          </p:cNvPr>
          <p:cNvSpPr/>
          <p:nvPr/>
        </p:nvSpPr>
        <p:spPr bwMode="auto">
          <a:xfrm rot="16200000">
            <a:off x="8228967" y="2191249"/>
            <a:ext cx="297004" cy="6288325"/>
          </a:xfrm>
          <a:prstGeom prst="rect">
            <a:avLst/>
          </a:prstGeom>
          <a:solidFill>
            <a:srgbClr val="50E6FF">
              <a:lumMod val="75000"/>
              <a:alpha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3">
            <a:extLst>
              <a:ext uri="{FF2B5EF4-FFF2-40B4-BE49-F238E27FC236}">
                <a16:creationId xmlns:a16="http://schemas.microsoft.com/office/drawing/2014/main" id="{8B676000-A100-4CDB-B964-AF17121DD1BB}"/>
              </a:ext>
            </a:extLst>
          </p:cNvPr>
          <p:cNvSpPr txBox="1">
            <a:spLocks/>
          </p:cNvSpPr>
          <p:nvPr/>
        </p:nvSpPr>
        <p:spPr>
          <a:xfrm>
            <a:off x="188838" y="91440"/>
            <a:ext cx="11756571" cy="484094"/>
          </a:xfrm>
          <a:prstGeom prst="rect">
            <a:avLst/>
          </a:prstGeom>
        </p:spPr>
        <p:txBody>
          <a:bodyPr/>
          <a:lst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rPr>
              <a:t>Migrate</a:t>
            </a:r>
            <a:endParaRPr kumimoji="0" lang="en-US" sz="2400" b="0"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endParaRPr>
          </a:p>
        </p:txBody>
      </p:sp>
      <p:pic>
        <p:nvPicPr>
          <p:cNvPr id="2" name="Picture 1" descr="A picture containing game, drawing&#10;&#10;Description automatically generated">
            <a:extLst>
              <a:ext uri="{FF2B5EF4-FFF2-40B4-BE49-F238E27FC236}">
                <a16:creationId xmlns:a16="http://schemas.microsoft.com/office/drawing/2014/main" id="{EB1A1C1B-07CD-493D-BC64-A5F23803A9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83710" y="31421"/>
            <a:ext cx="1209040" cy="643563"/>
          </a:xfrm>
          <a:prstGeom prst="rect">
            <a:avLst/>
          </a:prstGeom>
        </p:spPr>
      </p:pic>
      <p:sp>
        <p:nvSpPr>
          <p:cNvPr id="51" name="Rectangle 50">
            <a:extLst>
              <a:ext uri="{FF2B5EF4-FFF2-40B4-BE49-F238E27FC236}">
                <a16:creationId xmlns:a16="http://schemas.microsoft.com/office/drawing/2014/main" id="{538D0E7E-BFD5-4472-9230-3612695AF40B}"/>
              </a:ext>
            </a:extLst>
          </p:cNvPr>
          <p:cNvSpPr/>
          <p:nvPr/>
        </p:nvSpPr>
        <p:spPr bwMode="auto">
          <a:xfrm>
            <a:off x="68903" y="558727"/>
            <a:ext cx="11956863" cy="1390379"/>
          </a:xfrm>
          <a:prstGeom prst="rect">
            <a:avLst/>
          </a:prstGeom>
          <a:solidFill>
            <a:srgbClr val="FFFFFF">
              <a:lumMod val="95000"/>
              <a:alpha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10EF9F54-FEB6-44AC-96E3-B7C3B4A28DD2}"/>
              </a:ext>
            </a:extLst>
          </p:cNvPr>
          <p:cNvSpPr/>
          <p:nvPr/>
        </p:nvSpPr>
        <p:spPr>
          <a:xfrm>
            <a:off x="0" y="5621463"/>
            <a:ext cx="12033149" cy="960491"/>
          </a:xfrm>
          <a:prstGeom prst="rect">
            <a:avLst/>
          </a:prstGeom>
          <a:solidFill>
            <a:srgbClr val="FFFFFF">
              <a:lumMod val="95000"/>
            </a:srgbClr>
          </a:solidFill>
          <a:ln w="10795" cap="flat" cmpd="sng" algn="ctr">
            <a:noFill/>
            <a:prstDash val="solid"/>
          </a:ln>
          <a:effectLst/>
        </p:spPr>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Roboto Light"/>
              <a:ea typeface="+mn-ea"/>
              <a:cs typeface="+mn-cs"/>
            </a:endParaRPr>
          </a:p>
        </p:txBody>
      </p:sp>
      <p:sp>
        <p:nvSpPr>
          <p:cNvPr id="54" name="Rectangle 53">
            <a:extLst>
              <a:ext uri="{FF2B5EF4-FFF2-40B4-BE49-F238E27FC236}">
                <a16:creationId xmlns:a16="http://schemas.microsoft.com/office/drawing/2014/main" id="{7C4849A5-29D2-4EA3-9152-EA371F275B77}"/>
              </a:ext>
            </a:extLst>
          </p:cNvPr>
          <p:cNvSpPr/>
          <p:nvPr/>
        </p:nvSpPr>
        <p:spPr>
          <a:xfrm>
            <a:off x="67735" y="5643693"/>
            <a:ext cx="1466826" cy="951432"/>
          </a:xfrm>
          <a:prstGeom prst="rect">
            <a:avLst/>
          </a:prstGeom>
          <a:solidFill>
            <a:srgbClr val="0D0D0D"/>
          </a:solidFill>
          <a:ln w="10795" cap="flat" cmpd="sng" algn="ctr">
            <a:noFill/>
            <a:prstDash val="solid"/>
          </a:ln>
          <a:effectLst/>
        </p:spPr>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Roboto Light"/>
              <a:ea typeface="+mn-ea"/>
              <a:cs typeface="+mn-cs"/>
            </a:endParaRPr>
          </a:p>
        </p:txBody>
      </p:sp>
      <p:sp>
        <p:nvSpPr>
          <p:cNvPr id="55" name="Rectangle 54">
            <a:extLst>
              <a:ext uri="{FF2B5EF4-FFF2-40B4-BE49-F238E27FC236}">
                <a16:creationId xmlns:a16="http://schemas.microsoft.com/office/drawing/2014/main" id="{4A65F77D-B147-4563-AE99-A30DCEDD8C05}"/>
              </a:ext>
            </a:extLst>
          </p:cNvPr>
          <p:cNvSpPr/>
          <p:nvPr/>
        </p:nvSpPr>
        <p:spPr>
          <a:xfrm>
            <a:off x="67735" y="1920080"/>
            <a:ext cx="1466826" cy="3756647"/>
          </a:xfrm>
          <a:prstGeom prst="rect">
            <a:avLst/>
          </a:prstGeom>
          <a:solidFill>
            <a:srgbClr val="243A5E"/>
          </a:solidFill>
          <a:ln>
            <a:noFill/>
          </a:ln>
          <a:effectLst/>
        </p:spPr>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Roboto Light"/>
              <a:ea typeface="+mn-ea"/>
              <a:cs typeface="+mn-cs"/>
            </a:endParaRPr>
          </a:p>
        </p:txBody>
      </p:sp>
      <p:sp>
        <p:nvSpPr>
          <p:cNvPr id="56" name="Rectangle 55">
            <a:extLst>
              <a:ext uri="{FF2B5EF4-FFF2-40B4-BE49-F238E27FC236}">
                <a16:creationId xmlns:a16="http://schemas.microsoft.com/office/drawing/2014/main" id="{E9BE8E97-162F-4879-8761-29B2AC386B6B}"/>
              </a:ext>
            </a:extLst>
          </p:cNvPr>
          <p:cNvSpPr/>
          <p:nvPr/>
        </p:nvSpPr>
        <p:spPr>
          <a:xfrm>
            <a:off x="68903" y="558726"/>
            <a:ext cx="1465823" cy="1371229"/>
          </a:xfrm>
          <a:prstGeom prst="rect">
            <a:avLst/>
          </a:prstGeom>
          <a:solidFill>
            <a:srgbClr val="0078D4"/>
          </a:solidFill>
          <a:ln w="10795" cap="flat" cmpd="sng" algn="ctr">
            <a:noFill/>
            <a:prstDash val="solid"/>
          </a:ln>
          <a:effectLst/>
        </p:spPr>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Roboto Light"/>
              <a:ea typeface="+mn-ea"/>
              <a:cs typeface="+mn-cs"/>
            </a:endParaRPr>
          </a:p>
        </p:txBody>
      </p:sp>
      <p:sp>
        <p:nvSpPr>
          <p:cNvPr id="57" name="Text Placeholder 6">
            <a:extLst>
              <a:ext uri="{FF2B5EF4-FFF2-40B4-BE49-F238E27FC236}">
                <a16:creationId xmlns:a16="http://schemas.microsoft.com/office/drawing/2014/main" id="{8AECE521-4D13-4CD9-B667-9B1D00FA62B7}"/>
              </a:ext>
            </a:extLst>
          </p:cNvPr>
          <p:cNvSpPr txBox="1">
            <a:spLocks/>
          </p:cNvSpPr>
          <p:nvPr/>
        </p:nvSpPr>
        <p:spPr>
          <a:xfrm>
            <a:off x="108061" y="1152469"/>
            <a:ext cx="1308212" cy="553998"/>
          </a:xfrm>
          <a:prstGeom prst="rect">
            <a:avLst/>
          </a:prstGeom>
        </p:spPr>
        <p:txBody>
          <a:bodyPr vert="horz" wrap="square" lIns="0" tIns="0" rIns="0" bIns="0" rtlCol="0">
            <a:spAutoFit/>
          </a:bodyPr>
          <a:lstStyle>
            <a:lvl1pPr marL="0" indent="0" algn="l" defTabSz="1036290" rtl="0" eaLnBrk="1" latinLnBrk="0" hangingPunct="1">
              <a:lnSpc>
                <a:spcPct val="90000"/>
              </a:lnSpc>
              <a:spcBef>
                <a:spcPts val="1133"/>
              </a:spcBef>
              <a:buFont typeface="Arial" panose="020B0604020202020204" pitchFamily="34" charset="0"/>
              <a:buNone/>
              <a:defRPr sz="2493" kern="1200">
                <a:solidFill>
                  <a:schemeClr val="bg2"/>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marL="0" marR="0" lvl="0" indent="0" algn="ctr" defTabSz="863505" rtl="0" eaLnBrk="1" fontAlgn="auto" latinLnBrk="0" hangingPunct="1">
              <a:lnSpc>
                <a:spcPct val="100000"/>
              </a:lnSpc>
              <a:spcBef>
                <a:spcPts val="500"/>
              </a:spcBef>
              <a:spcAft>
                <a:spcPts val="0"/>
              </a:spcAft>
              <a:buClrTx/>
              <a:buSzTx/>
              <a:buFont typeface="Arial" panose="020B0604020202020204" pitchFamily="34" charset="0"/>
              <a:buNone/>
              <a:tabLst/>
              <a:defRPr/>
            </a:pPr>
            <a:r>
              <a:rPr kumimoji="0" lang="cs-CZ"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MIGRATE </a:t>
            </a: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Priority</a:t>
            </a:r>
            <a:b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b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OVERVIEW</a:t>
            </a:r>
          </a:p>
        </p:txBody>
      </p:sp>
      <p:sp>
        <p:nvSpPr>
          <p:cNvPr id="58" name="Text Placeholder 6">
            <a:extLst>
              <a:ext uri="{FF2B5EF4-FFF2-40B4-BE49-F238E27FC236}">
                <a16:creationId xmlns:a16="http://schemas.microsoft.com/office/drawing/2014/main" id="{DBEB2347-430A-439F-A093-21964251149C}"/>
              </a:ext>
            </a:extLst>
          </p:cNvPr>
          <p:cNvSpPr txBox="1">
            <a:spLocks/>
          </p:cNvSpPr>
          <p:nvPr/>
        </p:nvSpPr>
        <p:spPr>
          <a:xfrm>
            <a:off x="321864" y="6118067"/>
            <a:ext cx="955133" cy="369332"/>
          </a:xfrm>
          <a:prstGeom prst="rect">
            <a:avLst/>
          </a:prstGeom>
        </p:spPr>
        <p:txBody>
          <a:bodyPr vert="horz" wrap="none" lIns="0" tIns="0" rIns="0" bIns="0" rtlCol="0">
            <a:spAutoFit/>
          </a:bodyPr>
          <a:lstStyle>
            <a:lvl1pPr marL="0" indent="0" algn="l" defTabSz="1036290" rtl="0" eaLnBrk="1" latinLnBrk="0" hangingPunct="1">
              <a:lnSpc>
                <a:spcPct val="90000"/>
              </a:lnSpc>
              <a:spcBef>
                <a:spcPts val="1133"/>
              </a:spcBef>
              <a:buFont typeface="Arial" panose="020B0604020202020204" pitchFamily="34" charset="0"/>
              <a:buNone/>
              <a:defRPr sz="2493" kern="1200">
                <a:solidFill>
                  <a:schemeClr val="bg2"/>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marL="0" marR="0" lvl="0" indent="0" algn="ctr" defTabSz="863505" rtl="0" eaLnBrk="1" fontAlgn="auto" latinLnBrk="0" hangingPunct="1">
              <a:lnSpc>
                <a:spcPct val="100000"/>
              </a:lnSpc>
              <a:spcBef>
                <a:spcPts val="500"/>
              </a:spcBef>
              <a:spcAft>
                <a:spcPts val="0"/>
              </a:spcAft>
              <a:buClrTx/>
              <a:buSzTx/>
              <a:buFont typeface="Arial" panose="020B0604020202020204" pitchFamily="34" charset="0"/>
              <a:buNone/>
              <a:tabLst/>
              <a:defRPr/>
            </a:pP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RELEVANT</a:t>
            </a:r>
            <a:b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b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RESOURCES</a:t>
            </a:r>
          </a:p>
        </p:txBody>
      </p:sp>
      <p:sp>
        <p:nvSpPr>
          <p:cNvPr id="59" name="Text Placeholder 6">
            <a:extLst>
              <a:ext uri="{FF2B5EF4-FFF2-40B4-BE49-F238E27FC236}">
                <a16:creationId xmlns:a16="http://schemas.microsoft.com/office/drawing/2014/main" id="{46954799-0519-4AA1-A4F9-56C5258CB3BF}"/>
              </a:ext>
            </a:extLst>
          </p:cNvPr>
          <p:cNvSpPr txBox="1">
            <a:spLocks/>
          </p:cNvSpPr>
          <p:nvPr/>
        </p:nvSpPr>
        <p:spPr>
          <a:xfrm>
            <a:off x="194302" y="3408078"/>
            <a:ext cx="1210267" cy="553998"/>
          </a:xfrm>
          <a:prstGeom prst="rect">
            <a:avLst/>
          </a:prstGeom>
        </p:spPr>
        <p:txBody>
          <a:bodyPr vert="horz" wrap="none" lIns="0" tIns="0" rIns="0" bIns="0" rtlCol="0">
            <a:spAutoFit/>
          </a:bodyPr>
          <a:lstStyle>
            <a:lvl1pPr marL="0" indent="0" algn="l" defTabSz="1036290" rtl="0" eaLnBrk="1" latinLnBrk="0" hangingPunct="1">
              <a:lnSpc>
                <a:spcPct val="90000"/>
              </a:lnSpc>
              <a:spcBef>
                <a:spcPts val="1133"/>
              </a:spcBef>
              <a:buFont typeface="Arial" panose="020B0604020202020204" pitchFamily="34" charset="0"/>
              <a:buNone/>
              <a:defRPr sz="2493" kern="1200">
                <a:solidFill>
                  <a:schemeClr val="bg2"/>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marL="0" marR="0" lvl="0" indent="0" algn="ctr" defTabSz="863505" rtl="0" eaLnBrk="1" fontAlgn="auto" latinLnBrk="0" hangingPunct="1">
              <a:lnSpc>
                <a:spcPct val="100000"/>
              </a:lnSpc>
              <a:spcBef>
                <a:spcPts val="500"/>
              </a:spcBef>
              <a:spcAft>
                <a:spcPts val="0"/>
              </a:spcAft>
              <a:buClrTx/>
              <a:buSzTx/>
              <a:buFont typeface="Arial" panose="020B0604020202020204" pitchFamily="34" charset="0"/>
              <a:buNone/>
              <a:tabLst/>
              <a:defRPr/>
            </a:pP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Play Activities </a:t>
            </a:r>
            <a:b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b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by </a:t>
            </a:r>
            <a:b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b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Sales Stage</a:t>
            </a:r>
          </a:p>
        </p:txBody>
      </p:sp>
      <p:grpSp>
        <p:nvGrpSpPr>
          <p:cNvPr id="61" name="Group 60">
            <a:extLst>
              <a:ext uri="{FF2B5EF4-FFF2-40B4-BE49-F238E27FC236}">
                <a16:creationId xmlns:a16="http://schemas.microsoft.com/office/drawing/2014/main" id="{C5AEF21B-D2E2-41D8-8D10-1C55028FFA74}"/>
              </a:ext>
            </a:extLst>
          </p:cNvPr>
          <p:cNvGrpSpPr/>
          <p:nvPr/>
        </p:nvGrpSpPr>
        <p:grpSpPr>
          <a:xfrm>
            <a:off x="1703714" y="610471"/>
            <a:ext cx="9997208" cy="475625"/>
            <a:chOff x="1634811" y="258440"/>
            <a:chExt cx="9997208" cy="475625"/>
          </a:xfrm>
        </p:grpSpPr>
        <p:sp>
          <p:nvSpPr>
            <p:cNvPr id="62" name="Rectangle 61">
              <a:extLst>
                <a:ext uri="{FF2B5EF4-FFF2-40B4-BE49-F238E27FC236}">
                  <a16:creationId xmlns:a16="http://schemas.microsoft.com/office/drawing/2014/main" id="{4B1BE1E5-435A-4C56-955D-8AF7379EC241}"/>
                </a:ext>
              </a:extLst>
            </p:cNvPr>
            <p:cNvSpPr/>
            <p:nvPr/>
          </p:nvSpPr>
          <p:spPr>
            <a:xfrm>
              <a:off x="1701812" y="258440"/>
              <a:ext cx="673261" cy="138499"/>
            </a:xfrm>
            <a:prstGeom prst="rect">
              <a:avLst/>
            </a:prstGeom>
          </p:spPr>
          <p:txBody>
            <a:bodyPr wrap="non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en-US" sz="900" b="1" i="0" u="none" strike="noStrike" kern="0" cap="none" spc="0" normalizeH="0" baseline="0" noProof="0">
                  <a:ln>
                    <a:noFill/>
                  </a:ln>
                  <a:solidFill>
                    <a:srgbClr val="1A1A1A"/>
                  </a:solidFill>
                  <a:effectLst/>
                  <a:uLnTx/>
                  <a:uFillTx/>
                  <a:latin typeface="Segoe UI"/>
                  <a:ea typeface="+mn-ea"/>
                  <a:cs typeface="+mn-cs"/>
                </a:rPr>
                <a:t>WHAT IS IT?</a:t>
              </a:r>
            </a:p>
          </p:txBody>
        </p:sp>
        <p:sp>
          <p:nvSpPr>
            <p:cNvPr id="63" name="Rectangle 62">
              <a:extLst>
                <a:ext uri="{FF2B5EF4-FFF2-40B4-BE49-F238E27FC236}">
                  <a16:creationId xmlns:a16="http://schemas.microsoft.com/office/drawing/2014/main" id="{C4632F82-EDBF-4CA6-8FE8-1C9DFB5C3F39}"/>
                </a:ext>
              </a:extLst>
            </p:cNvPr>
            <p:cNvSpPr/>
            <p:nvPr/>
          </p:nvSpPr>
          <p:spPr bwMode="auto">
            <a:xfrm>
              <a:off x="1634811" y="349881"/>
              <a:ext cx="9997208" cy="38418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76200" tIns="0" rIns="0" bIns="0" numCol="1" spcCol="0" rtlCol="0" fromWordArt="0" anchor="ctr" anchorCtr="0" forceAA="0" compatLnSpc="1">
              <a:prstTxWarp prst="textNoShape">
                <a:avLst/>
              </a:prstTxWarp>
              <a:noAutofit/>
            </a:bodyPr>
            <a:lstStyle/>
            <a:p>
              <a:pPr marL="0" marR="0" lvl="0" indent="0" algn="l" defTabSz="761719" rtl="0" eaLnBrk="1" fontAlgn="base" latinLnBrk="0" hangingPunct="1">
                <a:lnSpc>
                  <a:spcPct val="100000"/>
                </a:lnSpc>
                <a:spcBef>
                  <a:spcPct val="0"/>
                </a:spcBef>
                <a:spcAft>
                  <a:spcPct val="0"/>
                </a:spcAft>
                <a:buClrTx/>
                <a:buSzTx/>
                <a:buFontTx/>
                <a:buNone/>
                <a:tabLst/>
                <a:defRPr/>
              </a:pPr>
              <a:r>
                <a:rPr kumimoji="0" lang="en-US" sz="9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The </a:t>
              </a:r>
              <a:r>
                <a:rPr kumimoji="0" lang="cs-CZ" sz="900" b="1" i="0" u="none" strike="noStrike" kern="0" cap="none" spc="42" normalizeH="0" baseline="0" noProof="0">
                  <a:ln>
                    <a:noFill/>
                  </a:ln>
                  <a:solidFill>
                    <a:srgbClr val="0078D4"/>
                  </a:solidFill>
                  <a:effectLst/>
                  <a:uLnTx/>
                  <a:uFillTx/>
                  <a:latin typeface="Segoe UI"/>
                  <a:ea typeface="Roboto" panose="02000000000000000000" pitchFamily="2" charset="0"/>
                  <a:cs typeface="+mn-cs"/>
                </a:rPr>
                <a:t>MIGRATE</a:t>
              </a:r>
              <a:r>
                <a:rPr kumimoji="0" lang="en-US" sz="900" b="1" i="0" u="none" strike="noStrike" kern="0" cap="none" spc="42" normalizeH="0" baseline="0" noProof="0">
                  <a:ln>
                    <a:noFill/>
                  </a:ln>
                  <a:solidFill>
                    <a:srgbClr val="0078D4"/>
                  </a:solidFill>
                  <a:effectLst/>
                  <a:uLnTx/>
                  <a:uFillTx/>
                  <a:latin typeface="Segoe UI"/>
                  <a:ea typeface="Roboto" panose="02000000000000000000" pitchFamily="2" charset="0"/>
                  <a:cs typeface="+mn-cs"/>
                </a:rPr>
                <a:t> </a:t>
              </a:r>
              <a:r>
                <a:rPr kumimoji="0" lang="en-GB" sz="900" b="1" i="0" u="none" strike="noStrike" kern="0" cap="none" spc="42" normalizeH="0" baseline="0" noProof="0">
                  <a:ln>
                    <a:noFill/>
                  </a:ln>
                  <a:solidFill>
                    <a:srgbClr val="0078D4"/>
                  </a:solidFill>
                  <a:effectLst/>
                  <a:uLnTx/>
                  <a:uFillTx/>
                  <a:latin typeface="Segoe UI"/>
                  <a:ea typeface="+mn-ea"/>
                  <a:cs typeface="+mn-cs"/>
                </a:rPr>
                <a:t>priority </a:t>
              </a:r>
              <a:r>
                <a:rPr kumimoji="0" lang="en-GB" sz="900" b="0" i="0" u="none" strike="noStrike" kern="0" cap="none" spc="42" normalizeH="0" baseline="0" noProof="0">
                  <a:ln>
                    <a:noFill/>
                  </a:ln>
                  <a:solidFill>
                    <a:srgbClr val="282828"/>
                  </a:solidFill>
                  <a:effectLst/>
                  <a:uLnTx/>
                  <a:uFillTx/>
                  <a:latin typeface="Segoe UI"/>
                  <a:ea typeface="+mn-ea"/>
                  <a:cs typeface="+mn-cs"/>
                </a:rPr>
                <a:t>is focused on helping customers </a:t>
              </a:r>
              <a:r>
                <a:rPr kumimoji="0" lang="cs-CZ" sz="900" b="0" i="0" u="none" strike="noStrike" kern="0" cap="none" spc="42" normalizeH="0" baseline="0" noProof="0">
                  <a:ln>
                    <a:noFill/>
                  </a:ln>
                  <a:solidFill>
                    <a:srgbClr val="282828"/>
                  </a:solidFill>
                  <a:effectLst/>
                  <a:uLnTx/>
                  <a:uFillTx/>
                  <a:latin typeface="Segoe UI"/>
                  <a:ea typeface="+mn-ea"/>
                  <a:cs typeface="+mn-cs"/>
                </a:rPr>
                <a:t>to migrate their existing applications to Azure and opptimize to save cost and enable business continuity</a:t>
              </a:r>
              <a:endParaRPr kumimoji="0" lang="en-US" sz="900" b="0" i="0" u="none" strike="noStrike" kern="0" cap="none" spc="42" normalizeH="0" baseline="0" noProof="0">
                <a:ln>
                  <a:noFill/>
                </a:ln>
                <a:solidFill>
                  <a:srgbClr val="282828"/>
                </a:soli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81FAF5FA-1CD2-4EEB-B79D-F989CE8B93E7}"/>
              </a:ext>
            </a:extLst>
          </p:cNvPr>
          <p:cNvGrpSpPr/>
          <p:nvPr/>
        </p:nvGrpSpPr>
        <p:grpSpPr>
          <a:xfrm>
            <a:off x="1703714" y="1048597"/>
            <a:ext cx="10089048" cy="642689"/>
            <a:chOff x="1634811" y="696566"/>
            <a:chExt cx="10089048" cy="642689"/>
          </a:xfrm>
        </p:grpSpPr>
        <p:sp>
          <p:nvSpPr>
            <p:cNvPr id="65" name="Rectangle 64">
              <a:extLst>
                <a:ext uri="{FF2B5EF4-FFF2-40B4-BE49-F238E27FC236}">
                  <a16:creationId xmlns:a16="http://schemas.microsoft.com/office/drawing/2014/main" id="{866C7949-60C0-4DF1-8B36-ED22C6480FFB}"/>
                </a:ext>
              </a:extLst>
            </p:cNvPr>
            <p:cNvSpPr/>
            <p:nvPr/>
          </p:nvSpPr>
          <p:spPr bwMode="auto">
            <a:xfrm>
              <a:off x="1634811" y="742427"/>
              <a:ext cx="10089048" cy="59682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76200" tIns="0" rIns="38100" bIns="0" numCol="1" spcCol="0" rtlCol="0" fromWordArt="0" anchor="t" anchorCtr="0" forceAA="0" compatLnSpc="1">
              <a:prstTxWarp prst="textNoShape">
                <a:avLst/>
              </a:prstTxWarp>
              <a:noAutofit/>
            </a:bodyPr>
            <a:lstStyle/>
            <a:p>
              <a:pPr marL="171450" marR="0" lvl="0" indent="-171450" algn="l" defTabSz="76171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00" b="1" i="0" u="none" strike="noStrike" kern="0" cap="none" spc="42" normalizeH="0" baseline="0" noProof="0">
                  <a:ln>
                    <a:noFill/>
                  </a:ln>
                  <a:solidFill>
                    <a:srgbClr val="282828"/>
                  </a:solidFill>
                  <a:effectLst/>
                  <a:uLnTx/>
                  <a:uFillTx/>
                  <a:latin typeface="Segoe UI"/>
                  <a:ea typeface="+mn-ea"/>
                  <a:cs typeface="+mn-cs"/>
                </a:rPr>
                <a:t>Key Sales Play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700" b="0" i="0" u="none" strike="noStrike" kern="0" cap="none" spc="0" normalizeH="0" baseline="0" noProof="0">
                  <a:ln>
                    <a:noFill/>
                  </a:ln>
                  <a:solidFill>
                    <a:srgbClr val="1A1A1A"/>
                  </a:solidFill>
                  <a:effectLst/>
                  <a:uLnTx/>
                  <a:uFillTx/>
                  <a:latin typeface="Segoe UI"/>
                  <a:ea typeface="+mn-ea"/>
                  <a:cs typeface="+mn-cs"/>
                </a:rPr>
                <a:t>Windows &amp; SQL Server Migration </a:t>
              </a: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700" b="0" i="0" u="none" strike="noStrike" kern="0" cap="none" spc="0" normalizeH="0" baseline="0" noProof="0">
                  <a:ln>
                    <a:noFill/>
                  </a:ln>
                  <a:solidFill>
                    <a:srgbClr val="1A1A1A"/>
                  </a:solidFill>
                  <a:effectLst/>
                  <a:uLnTx/>
                  <a:uFillTx/>
                  <a:latin typeface="Segoe UI"/>
                  <a:ea typeface="+mn-ea"/>
                  <a:cs typeface="+mn-cs"/>
                </a:rPr>
                <a:t>Linux&amp;OSS DB: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700" b="0" i="0" u="none" strike="noStrike" kern="0" cap="none" spc="0" normalizeH="0" baseline="0" noProof="0">
                  <a:ln>
                    <a:noFill/>
                  </a:ln>
                  <a:solidFill>
                    <a:srgbClr val="1A1A1A"/>
                  </a:solidFill>
                  <a:effectLst/>
                  <a:uLnTx/>
                  <a:uFillTx/>
                  <a:latin typeface="Segoe UI"/>
                  <a:ea typeface="+mn-ea"/>
                  <a:cs typeface="+mn-cs"/>
                </a:rPr>
                <a:t>SAP On Azure Migration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700" b="0" i="0" u="none" strike="noStrike" kern="0" cap="none" spc="0" normalizeH="0" baseline="0" noProof="0">
                  <a:ln>
                    <a:noFill/>
                  </a:ln>
                  <a:solidFill>
                    <a:srgbClr val="1A1A1A"/>
                  </a:solidFill>
                  <a:effectLst/>
                  <a:uLnTx/>
                  <a:uFillTx/>
                  <a:latin typeface="Segoe UI"/>
                  <a:ea typeface="+mn-ea"/>
                  <a:cs typeface="+mn-cs"/>
                </a:rPr>
                <a:t>Windows Virtual Desktop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700" b="0" i="0" u="none" strike="noStrike" kern="0" cap="none" spc="0" normalizeH="0" baseline="0" noProof="0">
                  <a:ln>
                    <a:noFill/>
                  </a:ln>
                  <a:solidFill>
                    <a:srgbClr val="1A1A1A"/>
                  </a:solidFill>
                  <a:effectLst/>
                  <a:uLnTx/>
                  <a:uFillTx/>
                  <a:latin typeface="Segoe UI"/>
                  <a:ea typeface="+mn-ea"/>
                  <a:cs typeface="+mn-cs"/>
                </a:rPr>
                <a:t>Hybrid cloud Solution </a:t>
              </a:r>
              <a:endParaRPr kumimoji="0" lang="en-US" sz="800" b="0" i="0" u="none" strike="noStrike" kern="0" cap="none" spc="0" normalizeH="0" baseline="0" noProof="0">
                <a:ln>
                  <a:noFill/>
                </a:ln>
                <a:solidFill>
                  <a:srgbClr val="1A1A1A"/>
                </a:solidFill>
                <a:effectLst/>
                <a:uLnTx/>
                <a:uFillTx/>
                <a:latin typeface="Segoe UI"/>
                <a:ea typeface="+mn-ea"/>
                <a:cs typeface="+mn-cs"/>
              </a:endParaRPr>
            </a:p>
          </p:txBody>
        </p:sp>
        <p:sp>
          <p:nvSpPr>
            <p:cNvPr id="66" name="Rectangle 65">
              <a:extLst>
                <a:ext uri="{FF2B5EF4-FFF2-40B4-BE49-F238E27FC236}">
                  <a16:creationId xmlns:a16="http://schemas.microsoft.com/office/drawing/2014/main" id="{506900F0-1A8F-464A-A31D-DF1C9ADCAC60}"/>
                </a:ext>
              </a:extLst>
            </p:cNvPr>
            <p:cNvSpPr/>
            <p:nvPr/>
          </p:nvSpPr>
          <p:spPr>
            <a:xfrm>
              <a:off x="1704966" y="696566"/>
              <a:ext cx="65" cy="138499"/>
            </a:xfrm>
            <a:prstGeom prst="rect">
              <a:avLst/>
            </a:prstGeom>
          </p:spPr>
          <p:txBody>
            <a:bodyPr wrap="non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endParaRPr kumimoji="0" lang="en-US" sz="900" b="1" i="0" u="none" strike="noStrike" kern="0" cap="none" spc="0" normalizeH="0" baseline="0" noProof="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D19A8148-54F8-4DD4-8F51-676A0033BE0C}"/>
              </a:ext>
            </a:extLst>
          </p:cNvPr>
          <p:cNvSpPr/>
          <p:nvPr/>
        </p:nvSpPr>
        <p:spPr>
          <a:xfrm>
            <a:off x="1770818" y="3272708"/>
            <a:ext cx="1200203" cy="12311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mn-ea"/>
                <a:cs typeface="+mn-cs"/>
              </a:rPr>
              <a:t>Windows &amp; SQL Server</a:t>
            </a:r>
          </a:p>
        </p:txBody>
      </p:sp>
      <p:sp>
        <p:nvSpPr>
          <p:cNvPr id="68" name="Rectangle 67">
            <a:extLst>
              <a:ext uri="{FF2B5EF4-FFF2-40B4-BE49-F238E27FC236}">
                <a16:creationId xmlns:a16="http://schemas.microsoft.com/office/drawing/2014/main" id="{5D07B818-0656-4804-9D87-A944C1985734}"/>
              </a:ext>
            </a:extLst>
          </p:cNvPr>
          <p:cNvSpPr/>
          <p:nvPr/>
        </p:nvSpPr>
        <p:spPr>
          <a:xfrm>
            <a:off x="1773869" y="5787540"/>
            <a:ext cx="1170192" cy="138499"/>
          </a:xfrm>
          <a:prstGeom prst="rect">
            <a:avLst/>
          </a:prstGeom>
        </p:spPr>
        <p:txBody>
          <a:bodyPr wrap="non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en-US" sz="900" b="1" i="0" u="none" strike="noStrike" kern="0" cap="none" spc="0" normalizeH="0" baseline="0" noProof="0">
                <a:ln>
                  <a:noFill/>
                </a:ln>
                <a:solidFill>
                  <a:srgbClr val="1A1A1A"/>
                </a:solidFill>
                <a:effectLst/>
                <a:uLnTx/>
                <a:uFillTx/>
                <a:latin typeface="Segoe UI"/>
                <a:ea typeface="+mn-ea"/>
                <a:cs typeface="+mn-cs"/>
              </a:rPr>
              <a:t>Investment Programs</a:t>
            </a:r>
          </a:p>
        </p:txBody>
      </p:sp>
      <p:sp>
        <p:nvSpPr>
          <p:cNvPr id="69" name="Rectangle 68">
            <a:extLst>
              <a:ext uri="{FF2B5EF4-FFF2-40B4-BE49-F238E27FC236}">
                <a16:creationId xmlns:a16="http://schemas.microsoft.com/office/drawing/2014/main" id="{9534895C-AD97-4CC5-AA9E-7D56066413D0}"/>
              </a:ext>
            </a:extLst>
          </p:cNvPr>
          <p:cNvSpPr/>
          <p:nvPr/>
        </p:nvSpPr>
        <p:spPr>
          <a:xfrm>
            <a:off x="1773869" y="2161855"/>
            <a:ext cx="769441" cy="138499"/>
          </a:xfrm>
          <a:prstGeom prst="rect">
            <a:avLst/>
          </a:prstGeom>
        </p:spPr>
        <p:txBody>
          <a:bodyPr wrap="non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en-US" sz="900" b="1" i="0" u="none" strike="noStrike" kern="0" cap="none" spc="0" normalizeH="0" baseline="0" noProof="0">
                <a:ln>
                  <a:noFill/>
                </a:ln>
                <a:solidFill>
                  <a:srgbClr val="1A1A1A"/>
                </a:solidFill>
                <a:effectLst/>
                <a:uLnTx/>
                <a:uFillTx/>
                <a:latin typeface="Segoe UI"/>
                <a:ea typeface="+mn-ea"/>
                <a:cs typeface="+mn-cs"/>
              </a:rPr>
              <a:t>THE JOURNEY</a:t>
            </a:r>
          </a:p>
        </p:txBody>
      </p:sp>
      <p:sp>
        <p:nvSpPr>
          <p:cNvPr id="70" name="Chevron 22">
            <a:extLst>
              <a:ext uri="{FF2B5EF4-FFF2-40B4-BE49-F238E27FC236}">
                <a16:creationId xmlns:a16="http://schemas.microsoft.com/office/drawing/2014/main" id="{B6F2870A-E912-4142-AA86-6175DEA59C25}"/>
              </a:ext>
            </a:extLst>
          </p:cNvPr>
          <p:cNvSpPr/>
          <p:nvPr/>
        </p:nvSpPr>
        <p:spPr>
          <a:xfrm>
            <a:off x="4564423" y="2091403"/>
            <a:ext cx="1478229" cy="237533"/>
          </a:xfrm>
          <a:prstGeom prst="chevron">
            <a:avLst/>
          </a:prstGeom>
          <a:solidFill>
            <a:srgbClr val="041E41"/>
          </a:solidFill>
          <a:ln w="9525" cap="flat" cmpd="sng" algn="ctr">
            <a:noFill/>
            <a:prstDash val="sysDash"/>
          </a:ln>
          <a:effectLst/>
        </p:spPr>
        <p:txBody>
          <a:bodyPr lIns="95250" tIns="0" rIns="0" bIns="0" anchor="ct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900" b="1" i="0" u="none" strike="noStrike" kern="0" cap="none" spc="100" normalizeH="0" baseline="0" noProof="0">
                <a:ln>
                  <a:noFill/>
                </a:ln>
                <a:solidFill>
                  <a:srgbClr val="FFFFFF"/>
                </a:solidFill>
                <a:effectLst/>
                <a:uLnTx/>
                <a:uFillTx/>
                <a:latin typeface="Segoe UI"/>
                <a:ea typeface="Roboto" panose="02000000000000000000" pitchFamily="2" charset="0"/>
                <a:cs typeface="+mn-cs"/>
              </a:rPr>
              <a:t>Envision</a:t>
            </a:r>
          </a:p>
        </p:txBody>
      </p:sp>
      <p:sp>
        <p:nvSpPr>
          <p:cNvPr id="71" name="Chevron 23">
            <a:extLst>
              <a:ext uri="{FF2B5EF4-FFF2-40B4-BE49-F238E27FC236}">
                <a16:creationId xmlns:a16="http://schemas.microsoft.com/office/drawing/2014/main" id="{87802923-B3B0-4877-81A8-C5EF62EA7AF2}"/>
              </a:ext>
            </a:extLst>
          </p:cNvPr>
          <p:cNvSpPr/>
          <p:nvPr/>
        </p:nvSpPr>
        <p:spPr>
          <a:xfrm>
            <a:off x="5992103" y="2091404"/>
            <a:ext cx="1517598" cy="228577"/>
          </a:xfrm>
          <a:prstGeom prst="chevron">
            <a:avLst/>
          </a:prstGeom>
          <a:solidFill>
            <a:srgbClr val="041E41"/>
          </a:solidFill>
          <a:ln w="9525" cap="flat" cmpd="sng" algn="ctr">
            <a:noFill/>
            <a:prstDash val="sysDash"/>
          </a:ln>
          <a:effectLst/>
        </p:spPr>
        <p:txBody>
          <a:bodyPr lIns="95250" tIns="0" rIns="0" bIns="0" anchor="ct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900" b="1" i="0" u="none" strike="noStrike" kern="0" cap="none" spc="100" normalizeH="0" baseline="0" noProof="0">
                <a:ln>
                  <a:noFill/>
                </a:ln>
                <a:solidFill>
                  <a:srgbClr val="FFFFFF"/>
                </a:solidFill>
                <a:effectLst/>
                <a:uLnTx/>
                <a:uFillTx/>
                <a:latin typeface="Segoe UI"/>
                <a:ea typeface="Roboto" panose="02000000000000000000" pitchFamily="2" charset="0"/>
                <a:cs typeface="+mn-cs"/>
              </a:rPr>
              <a:t>Validate</a:t>
            </a:r>
          </a:p>
        </p:txBody>
      </p:sp>
      <p:sp>
        <p:nvSpPr>
          <p:cNvPr id="72" name="Chevron 24">
            <a:extLst>
              <a:ext uri="{FF2B5EF4-FFF2-40B4-BE49-F238E27FC236}">
                <a16:creationId xmlns:a16="http://schemas.microsoft.com/office/drawing/2014/main" id="{7DAABF6D-F771-409E-9A6E-336FE648FC7E}"/>
              </a:ext>
            </a:extLst>
          </p:cNvPr>
          <p:cNvSpPr/>
          <p:nvPr/>
        </p:nvSpPr>
        <p:spPr>
          <a:xfrm>
            <a:off x="7444934" y="2091404"/>
            <a:ext cx="1517598" cy="228577"/>
          </a:xfrm>
          <a:prstGeom prst="chevron">
            <a:avLst/>
          </a:prstGeom>
          <a:solidFill>
            <a:srgbClr val="041E41"/>
          </a:solidFill>
          <a:ln w="9525" cap="flat" cmpd="sng" algn="ctr">
            <a:noFill/>
            <a:prstDash val="sysDash"/>
          </a:ln>
          <a:effectLst/>
        </p:spPr>
        <p:txBody>
          <a:bodyPr lIns="95250" tIns="0" rIns="0" bIns="0" anchor="ct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900" b="1" i="0" u="none" strike="noStrike" kern="0" cap="none" spc="100" normalizeH="0" baseline="0" noProof="0">
                <a:ln>
                  <a:noFill/>
                </a:ln>
                <a:solidFill>
                  <a:srgbClr val="FFFFFF"/>
                </a:solidFill>
                <a:effectLst/>
                <a:uLnTx/>
                <a:uFillTx/>
                <a:latin typeface="Segoe UI"/>
                <a:ea typeface="Roboto" panose="02000000000000000000" pitchFamily="2" charset="0"/>
                <a:cs typeface="+mn-cs"/>
              </a:rPr>
              <a:t>Commit</a:t>
            </a:r>
          </a:p>
        </p:txBody>
      </p:sp>
      <p:sp>
        <p:nvSpPr>
          <p:cNvPr id="73" name="Chevron 25">
            <a:extLst>
              <a:ext uri="{FF2B5EF4-FFF2-40B4-BE49-F238E27FC236}">
                <a16:creationId xmlns:a16="http://schemas.microsoft.com/office/drawing/2014/main" id="{FE5DF023-B153-4C1F-BDEA-C07AB39DBEBE}"/>
              </a:ext>
            </a:extLst>
          </p:cNvPr>
          <p:cNvSpPr/>
          <p:nvPr/>
        </p:nvSpPr>
        <p:spPr>
          <a:xfrm>
            <a:off x="8889300" y="2091404"/>
            <a:ext cx="1517598" cy="228577"/>
          </a:xfrm>
          <a:prstGeom prst="chevron">
            <a:avLst/>
          </a:prstGeom>
          <a:solidFill>
            <a:srgbClr val="041E41"/>
          </a:solidFill>
          <a:ln w="9525" cap="flat" cmpd="sng" algn="ctr">
            <a:noFill/>
            <a:prstDash val="sysDash"/>
          </a:ln>
          <a:effectLst/>
        </p:spPr>
        <p:txBody>
          <a:bodyPr lIns="95250" tIns="0" rIns="0" bIns="0" anchor="ct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900" b="1" i="0" u="none" strike="noStrike" kern="0" cap="none" spc="100" normalizeH="0" baseline="0" noProof="0">
                <a:ln>
                  <a:noFill/>
                </a:ln>
                <a:solidFill>
                  <a:srgbClr val="FFFFFF"/>
                </a:solidFill>
                <a:effectLst/>
                <a:uLnTx/>
                <a:uFillTx/>
                <a:latin typeface="Segoe UI"/>
                <a:ea typeface="Roboto" panose="02000000000000000000" pitchFamily="2" charset="0"/>
                <a:cs typeface="+mn-cs"/>
              </a:rPr>
              <a:t>Onboard</a:t>
            </a:r>
          </a:p>
        </p:txBody>
      </p:sp>
      <p:sp>
        <p:nvSpPr>
          <p:cNvPr id="74" name="Chevron 70">
            <a:extLst>
              <a:ext uri="{FF2B5EF4-FFF2-40B4-BE49-F238E27FC236}">
                <a16:creationId xmlns:a16="http://schemas.microsoft.com/office/drawing/2014/main" id="{BEF5FE6B-DF11-40C9-9A08-6806AFAECF0B}"/>
              </a:ext>
            </a:extLst>
          </p:cNvPr>
          <p:cNvSpPr/>
          <p:nvPr/>
        </p:nvSpPr>
        <p:spPr>
          <a:xfrm>
            <a:off x="10343153" y="2091404"/>
            <a:ext cx="1622260" cy="228577"/>
          </a:xfrm>
          <a:prstGeom prst="chevron">
            <a:avLst/>
          </a:prstGeom>
          <a:solidFill>
            <a:srgbClr val="041E41"/>
          </a:solidFill>
          <a:ln w="9525" cap="flat" cmpd="sng" algn="ctr">
            <a:noFill/>
            <a:prstDash val="sysDash"/>
          </a:ln>
          <a:effectLst/>
        </p:spPr>
        <p:txBody>
          <a:bodyPr lIns="95250" tIns="0" rIns="0" bIns="0" anchor="ctr"/>
          <a:lstStyle/>
          <a:p>
            <a:pPr marL="0" marR="0" lvl="0" indent="0" algn="l" defTabSz="1087618" rtl="0" eaLnBrk="1" fontAlgn="auto" latinLnBrk="0" hangingPunct="1">
              <a:lnSpc>
                <a:spcPct val="100000"/>
              </a:lnSpc>
              <a:spcBef>
                <a:spcPts val="0"/>
              </a:spcBef>
              <a:spcAft>
                <a:spcPts val="0"/>
              </a:spcAft>
              <a:buClrTx/>
              <a:buSzTx/>
              <a:buFontTx/>
              <a:buNone/>
              <a:tabLst/>
              <a:defRPr/>
            </a:pPr>
            <a:endParaRPr kumimoji="0" lang="en-US" sz="875" b="1" i="0" u="none" strike="noStrike" kern="0" cap="none" spc="167" normalizeH="0" baseline="0" noProof="0">
              <a:ln>
                <a:noFill/>
              </a:ln>
              <a:solidFill>
                <a:srgbClr val="FFFFFF"/>
              </a:solidFill>
              <a:effectLst/>
              <a:uLnTx/>
              <a:uFillTx/>
              <a:latin typeface="Roboto" panose="02000000000000000000" pitchFamily="2" charset="0"/>
              <a:ea typeface="Roboto" panose="02000000000000000000" pitchFamily="2" charset="0"/>
              <a:cs typeface="+mn-cs"/>
            </a:endParaRPr>
          </a:p>
        </p:txBody>
      </p:sp>
      <p:sp>
        <p:nvSpPr>
          <p:cNvPr id="75" name="Rectangle 74">
            <a:extLst>
              <a:ext uri="{FF2B5EF4-FFF2-40B4-BE49-F238E27FC236}">
                <a16:creationId xmlns:a16="http://schemas.microsoft.com/office/drawing/2014/main" id="{B26F53B6-A725-4109-862F-F0787141F28F}"/>
              </a:ext>
            </a:extLst>
          </p:cNvPr>
          <p:cNvSpPr/>
          <p:nvPr/>
        </p:nvSpPr>
        <p:spPr>
          <a:xfrm>
            <a:off x="3184827" y="2380335"/>
            <a:ext cx="1580176" cy="24622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Driving top of funnel</a:t>
            </a:r>
          </a:p>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Output:</a:t>
            </a: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 Known leads</a:t>
            </a:r>
          </a:p>
        </p:txBody>
      </p:sp>
      <p:sp>
        <p:nvSpPr>
          <p:cNvPr id="76" name="Rectangle 75">
            <a:extLst>
              <a:ext uri="{FF2B5EF4-FFF2-40B4-BE49-F238E27FC236}">
                <a16:creationId xmlns:a16="http://schemas.microsoft.com/office/drawing/2014/main" id="{149C636E-E124-41C0-AF56-48A72CE20CBD}"/>
              </a:ext>
            </a:extLst>
          </p:cNvPr>
          <p:cNvSpPr/>
          <p:nvPr/>
        </p:nvSpPr>
        <p:spPr>
          <a:xfrm>
            <a:off x="4634909" y="2389601"/>
            <a:ext cx="1290644" cy="369332"/>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We are considering to move to the cloud.</a:t>
            </a:r>
          </a:p>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Output: </a:t>
            </a: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New Engagements</a:t>
            </a:r>
          </a:p>
        </p:txBody>
      </p:sp>
      <p:sp>
        <p:nvSpPr>
          <p:cNvPr id="77" name="Rectangle 76">
            <a:extLst>
              <a:ext uri="{FF2B5EF4-FFF2-40B4-BE49-F238E27FC236}">
                <a16:creationId xmlns:a16="http://schemas.microsoft.com/office/drawing/2014/main" id="{2129615E-AD9F-43D9-A058-FC0AE53A027B}"/>
              </a:ext>
            </a:extLst>
          </p:cNvPr>
          <p:cNvSpPr/>
          <p:nvPr/>
        </p:nvSpPr>
        <p:spPr>
          <a:xfrm>
            <a:off x="7537774" y="2380335"/>
            <a:ext cx="1290644" cy="24622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Investigating Architecture</a:t>
            </a:r>
          </a:p>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Output: </a:t>
            </a: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Won Engagements</a:t>
            </a:r>
          </a:p>
        </p:txBody>
      </p:sp>
      <p:sp>
        <p:nvSpPr>
          <p:cNvPr id="78" name="Rectangle 77">
            <a:extLst>
              <a:ext uri="{FF2B5EF4-FFF2-40B4-BE49-F238E27FC236}">
                <a16:creationId xmlns:a16="http://schemas.microsoft.com/office/drawing/2014/main" id="{12967F5C-3784-4E38-B831-24528DB69FE1}"/>
              </a:ext>
            </a:extLst>
          </p:cNvPr>
          <p:cNvSpPr/>
          <p:nvPr/>
        </p:nvSpPr>
        <p:spPr>
          <a:xfrm>
            <a:off x="8955367" y="2389502"/>
            <a:ext cx="1290645" cy="369332"/>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Deploy and train staff to operate new environment​ </a:t>
            </a:r>
          </a:p>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Output: ACR</a:t>
            </a:r>
          </a:p>
        </p:txBody>
      </p:sp>
      <p:sp>
        <p:nvSpPr>
          <p:cNvPr id="79" name="Rectangle 78">
            <a:extLst>
              <a:ext uri="{FF2B5EF4-FFF2-40B4-BE49-F238E27FC236}">
                <a16:creationId xmlns:a16="http://schemas.microsoft.com/office/drawing/2014/main" id="{3784FAD1-51BC-47F7-BC14-593CADFA0D44}"/>
              </a:ext>
            </a:extLst>
          </p:cNvPr>
          <p:cNvSpPr/>
          <p:nvPr/>
        </p:nvSpPr>
        <p:spPr>
          <a:xfrm>
            <a:off x="10387229" y="2380335"/>
            <a:ext cx="1645920" cy="24622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Has our operation improved and what are the next steps​?</a:t>
            </a:r>
          </a:p>
        </p:txBody>
      </p:sp>
      <p:cxnSp>
        <p:nvCxnSpPr>
          <p:cNvPr id="80" name="Straight Connector 79">
            <a:extLst>
              <a:ext uri="{FF2B5EF4-FFF2-40B4-BE49-F238E27FC236}">
                <a16:creationId xmlns:a16="http://schemas.microsoft.com/office/drawing/2014/main" id="{7C11471C-E395-4BD4-8802-7B56AD557214}"/>
              </a:ext>
            </a:extLst>
          </p:cNvPr>
          <p:cNvCxnSpPr>
            <a:cxnSpLocks/>
          </p:cNvCxnSpPr>
          <p:nvPr/>
        </p:nvCxnSpPr>
        <p:spPr>
          <a:xfrm flipV="1">
            <a:off x="67735" y="5618819"/>
            <a:ext cx="12193168" cy="16921"/>
          </a:xfrm>
          <a:prstGeom prst="line">
            <a:avLst/>
          </a:prstGeom>
          <a:noFill/>
          <a:ln w="12700" cap="flat" cmpd="sng" algn="ctr">
            <a:solidFill>
              <a:srgbClr val="FFFFFF"/>
            </a:solidFill>
            <a:prstDash val="solid"/>
          </a:ln>
          <a:effectLst/>
        </p:spPr>
      </p:cxnSp>
      <p:graphicFrame>
        <p:nvGraphicFramePr>
          <p:cNvPr id="81" name="Table 80">
            <a:extLst>
              <a:ext uri="{FF2B5EF4-FFF2-40B4-BE49-F238E27FC236}">
                <a16:creationId xmlns:a16="http://schemas.microsoft.com/office/drawing/2014/main" id="{224B6D8D-905F-48D3-97EC-7E19D93DCB97}"/>
              </a:ext>
            </a:extLst>
          </p:cNvPr>
          <p:cNvGraphicFramePr>
            <a:graphicFrameLocks noGrp="1"/>
          </p:cNvGraphicFramePr>
          <p:nvPr/>
        </p:nvGraphicFramePr>
        <p:xfrm>
          <a:off x="3111336" y="5689059"/>
          <a:ext cx="8941325" cy="685800"/>
        </p:xfrm>
        <a:graphic>
          <a:graphicData uri="http://schemas.openxmlformats.org/drawingml/2006/table">
            <a:tbl>
              <a:tblPr firstRow="1" bandRow="1"/>
              <a:tblGrid>
                <a:gridCol w="1465032">
                  <a:extLst>
                    <a:ext uri="{9D8B030D-6E8A-4147-A177-3AD203B41FA5}">
                      <a16:colId xmlns:a16="http://schemas.microsoft.com/office/drawing/2014/main" val="20000"/>
                    </a:ext>
                  </a:extLst>
                </a:gridCol>
                <a:gridCol w="1426197">
                  <a:extLst>
                    <a:ext uri="{9D8B030D-6E8A-4147-A177-3AD203B41FA5}">
                      <a16:colId xmlns:a16="http://schemas.microsoft.com/office/drawing/2014/main" val="2808334872"/>
                    </a:ext>
                  </a:extLst>
                </a:gridCol>
                <a:gridCol w="1421296">
                  <a:extLst>
                    <a:ext uri="{9D8B030D-6E8A-4147-A177-3AD203B41FA5}">
                      <a16:colId xmlns:a16="http://schemas.microsoft.com/office/drawing/2014/main" val="20001"/>
                    </a:ext>
                  </a:extLst>
                </a:gridCol>
                <a:gridCol w="1470991">
                  <a:extLst>
                    <a:ext uri="{9D8B030D-6E8A-4147-A177-3AD203B41FA5}">
                      <a16:colId xmlns:a16="http://schemas.microsoft.com/office/drawing/2014/main" val="20002"/>
                    </a:ext>
                  </a:extLst>
                </a:gridCol>
                <a:gridCol w="1441174">
                  <a:extLst>
                    <a:ext uri="{9D8B030D-6E8A-4147-A177-3AD203B41FA5}">
                      <a16:colId xmlns:a16="http://schemas.microsoft.com/office/drawing/2014/main" val="20003"/>
                    </a:ext>
                  </a:extLst>
                </a:gridCol>
                <a:gridCol w="1716635">
                  <a:extLst>
                    <a:ext uri="{9D8B030D-6E8A-4147-A177-3AD203B41FA5}">
                      <a16:colId xmlns:a16="http://schemas.microsoft.com/office/drawing/2014/main" val="20004"/>
                    </a:ext>
                  </a:extLst>
                </a:gridCol>
              </a:tblGrid>
              <a:tr h="663080">
                <a:tc>
                  <a:txBody>
                    <a:bodyPr/>
                    <a:lstStyle>
                      <a:lvl1pPr marL="0" algn="l" defTabSz="1229087" rtl="0" eaLnBrk="1" latinLnBrk="0" hangingPunct="1">
                        <a:defRPr sz="2400" b="1" kern="1200">
                          <a:solidFill>
                            <a:schemeClr val="lt1"/>
                          </a:solidFill>
                          <a:latin typeface="Swis721 Cn BT"/>
                        </a:defRPr>
                      </a:lvl1pPr>
                      <a:lvl2pPr marL="614544" algn="l" defTabSz="1229087" rtl="0" eaLnBrk="1" latinLnBrk="0" hangingPunct="1">
                        <a:defRPr sz="2400" b="1" kern="1200">
                          <a:solidFill>
                            <a:schemeClr val="lt1"/>
                          </a:solidFill>
                          <a:latin typeface="Swis721 Cn BT"/>
                        </a:defRPr>
                      </a:lvl2pPr>
                      <a:lvl3pPr marL="1229087" algn="l" defTabSz="1229087" rtl="0" eaLnBrk="1" latinLnBrk="0" hangingPunct="1">
                        <a:defRPr sz="2400" b="1" kern="1200">
                          <a:solidFill>
                            <a:schemeClr val="lt1"/>
                          </a:solidFill>
                          <a:latin typeface="Swis721 Cn BT"/>
                        </a:defRPr>
                      </a:lvl3pPr>
                      <a:lvl4pPr marL="1843631" algn="l" defTabSz="1229087" rtl="0" eaLnBrk="1" latinLnBrk="0" hangingPunct="1">
                        <a:defRPr sz="2400" b="1" kern="1200">
                          <a:solidFill>
                            <a:schemeClr val="lt1"/>
                          </a:solidFill>
                          <a:latin typeface="Swis721 Cn BT"/>
                        </a:defRPr>
                      </a:lvl4pPr>
                      <a:lvl5pPr marL="2458175" algn="l" defTabSz="1229087" rtl="0" eaLnBrk="1" latinLnBrk="0" hangingPunct="1">
                        <a:defRPr sz="2400" b="1" kern="1200">
                          <a:solidFill>
                            <a:schemeClr val="lt1"/>
                          </a:solidFill>
                          <a:latin typeface="Swis721 Cn BT"/>
                        </a:defRPr>
                      </a:lvl5pPr>
                      <a:lvl6pPr marL="3072719" algn="l" defTabSz="1229087" rtl="0" eaLnBrk="1" latinLnBrk="0" hangingPunct="1">
                        <a:defRPr sz="2400" b="1" kern="1200">
                          <a:solidFill>
                            <a:schemeClr val="lt1"/>
                          </a:solidFill>
                          <a:latin typeface="Swis721 Cn BT"/>
                        </a:defRPr>
                      </a:lvl6pPr>
                      <a:lvl7pPr marL="3687262" algn="l" defTabSz="1229087" rtl="0" eaLnBrk="1" latinLnBrk="0" hangingPunct="1">
                        <a:defRPr sz="2400" b="1" kern="1200">
                          <a:solidFill>
                            <a:schemeClr val="lt1"/>
                          </a:solidFill>
                          <a:latin typeface="Swis721 Cn BT"/>
                        </a:defRPr>
                      </a:lvl7pPr>
                      <a:lvl8pPr marL="4301806" algn="l" defTabSz="1229087" rtl="0" eaLnBrk="1" latinLnBrk="0" hangingPunct="1">
                        <a:defRPr sz="2400" b="1" kern="1200">
                          <a:solidFill>
                            <a:schemeClr val="lt1"/>
                          </a:solidFill>
                          <a:latin typeface="Swis721 Cn BT"/>
                        </a:defRPr>
                      </a:lvl8pPr>
                      <a:lvl9pPr marL="4916350" algn="l" defTabSz="1229087" rtl="0" eaLnBrk="1" latinLnBrk="0" hangingPunct="1">
                        <a:defRPr sz="2400" b="1" kern="1200">
                          <a:solidFill>
                            <a:schemeClr val="lt1"/>
                          </a:solidFill>
                          <a:latin typeface="Swis721 Cn BT"/>
                        </a:defRPr>
                      </a:lvl9pPr>
                    </a:lstStyle>
                    <a:p>
                      <a:pPr marL="0" indent="0" algn="l">
                        <a:lnSpc>
                          <a:spcPts val="800"/>
                        </a:lnSpc>
                        <a:buFont typeface="Arial" panose="020B0604020202020204" pitchFamily="34" charset="0"/>
                        <a:buNone/>
                      </a:pPr>
                      <a:endParaRPr lang="en-US" sz="700" b="0" i="0">
                        <a:solidFill>
                          <a:schemeClr val="tx1"/>
                        </a:solidFill>
                        <a:latin typeface="+mn-lt"/>
                        <a:ea typeface="+mn-ea"/>
                      </a:endParaRPr>
                    </a:p>
                  </a:txBody>
                  <a:tcPr marL="76200" marR="38100" marT="76200" marB="0">
                    <a:lnL w="6350" cap="flat" cmpd="sng" algn="ctr">
                      <a:noFill/>
                      <a:prstDash val="sysDot"/>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2F2F2">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716351" rtl="0" eaLnBrk="1" latinLnBrk="0" hangingPunct="1">
                        <a:defRPr sz="1324" kern="1200">
                          <a:solidFill>
                            <a:schemeClr val="tx1"/>
                          </a:solidFill>
                          <a:latin typeface="Segoe UI"/>
                        </a:defRPr>
                      </a:lvl1pPr>
                      <a:lvl2pPr marL="358176" algn="l" defTabSz="716351" rtl="0" eaLnBrk="1" latinLnBrk="0" hangingPunct="1">
                        <a:defRPr sz="1324" kern="1200">
                          <a:solidFill>
                            <a:schemeClr val="tx1"/>
                          </a:solidFill>
                          <a:latin typeface="Segoe UI"/>
                        </a:defRPr>
                      </a:lvl2pPr>
                      <a:lvl3pPr marL="716351" algn="l" defTabSz="716351" rtl="0" eaLnBrk="1" latinLnBrk="0" hangingPunct="1">
                        <a:defRPr sz="1324" kern="1200">
                          <a:solidFill>
                            <a:schemeClr val="tx1"/>
                          </a:solidFill>
                          <a:latin typeface="Segoe UI"/>
                        </a:defRPr>
                      </a:lvl3pPr>
                      <a:lvl4pPr marL="1074528" algn="l" defTabSz="716351" rtl="0" eaLnBrk="1" latinLnBrk="0" hangingPunct="1">
                        <a:defRPr sz="1324" kern="1200">
                          <a:solidFill>
                            <a:schemeClr val="tx1"/>
                          </a:solidFill>
                          <a:latin typeface="Segoe UI"/>
                        </a:defRPr>
                      </a:lvl4pPr>
                      <a:lvl5pPr marL="1432703" algn="l" defTabSz="716351" rtl="0" eaLnBrk="1" latinLnBrk="0" hangingPunct="1">
                        <a:defRPr sz="1324" kern="1200">
                          <a:solidFill>
                            <a:schemeClr val="tx1"/>
                          </a:solidFill>
                          <a:latin typeface="Segoe UI"/>
                        </a:defRPr>
                      </a:lvl5pPr>
                      <a:lvl6pPr marL="1790880" algn="l" defTabSz="716351" rtl="0" eaLnBrk="1" latinLnBrk="0" hangingPunct="1">
                        <a:defRPr sz="1324" kern="1200">
                          <a:solidFill>
                            <a:schemeClr val="tx1"/>
                          </a:solidFill>
                          <a:latin typeface="Segoe UI"/>
                        </a:defRPr>
                      </a:lvl6pPr>
                      <a:lvl7pPr marL="2149055" algn="l" defTabSz="716351" rtl="0" eaLnBrk="1" latinLnBrk="0" hangingPunct="1">
                        <a:defRPr sz="1324" kern="1200">
                          <a:solidFill>
                            <a:schemeClr val="tx1"/>
                          </a:solidFill>
                          <a:latin typeface="Segoe UI"/>
                        </a:defRPr>
                      </a:lvl7pPr>
                      <a:lvl8pPr marL="2507231" algn="l" defTabSz="716351" rtl="0" eaLnBrk="1" latinLnBrk="0" hangingPunct="1">
                        <a:defRPr sz="1324" kern="1200">
                          <a:solidFill>
                            <a:schemeClr val="tx1"/>
                          </a:solidFill>
                          <a:latin typeface="Segoe UI"/>
                        </a:defRPr>
                      </a:lvl8pPr>
                      <a:lvl9pPr marL="2865407" algn="l" defTabSz="716351" rtl="0" eaLnBrk="1" latinLnBrk="0" hangingPunct="1">
                        <a:defRPr sz="1324" kern="1200">
                          <a:solidFill>
                            <a:schemeClr val="tx1"/>
                          </a:solidFill>
                          <a:latin typeface="Segoe UI"/>
                        </a:defRPr>
                      </a:lvl9pPr>
                    </a:lstStyle>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a:ln>
                            <a:noFill/>
                          </a:ln>
                          <a:solidFill>
                            <a:schemeClr val="tx1"/>
                          </a:solidFill>
                          <a:effectLst/>
                          <a:uLnTx/>
                          <a:uFillTx/>
                          <a:latin typeface="Swis721 Cn BT"/>
                          <a:ea typeface="+mn-ea"/>
                          <a:cs typeface="+mn-cs"/>
                        </a:rPr>
                        <a:t>Azure Access</a:t>
                      </a: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a:ln>
                            <a:noFill/>
                          </a:ln>
                          <a:solidFill>
                            <a:schemeClr val="tx1"/>
                          </a:solidFill>
                          <a:effectLst/>
                          <a:uLnTx/>
                          <a:uFillTx/>
                          <a:latin typeface="Swis721 Cn BT"/>
                          <a:ea typeface="+mn-ea"/>
                          <a:cs typeface="+mn-cs"/>
                        </a:rPr>
                        <a:t>Industry partner AI solutions</a:t>
                      </a:r>
                      <a:endParaRPr kumimoji="0" lang="pl-PL" sz="700" b="0" i="0" u="none" strike="noStrike" kern="1200" cap="none" spc="0" normalizeH="0" baseline="0">
                        <a:ln>
                          <a:noFill/>
                        </a:ln>
                        <a:solidFill>
                          <a:schemeClr val="tx1"/>
                        </a:solidFill>
                        <a:effectLst/>
                        <a:uLnTx/>
                        <a:uFillTx/>
                        <a:latin typeface="Swis721 Cn BT"/>
                        <a:ea typeface="+mn-ea"/>
                        <a:cs typeface="+mn-cs"/>
                      </a:endParaRP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pl-PL" sz="700" b="0" i="0" u="none" strike="noStrike" kern="1200" cap="none" spc="0" normalizeH="0" baseline="0">
                          <a:ln>
                            <a:noFill/>
                          </a:ln>
                          <a:solidFill>
                            <a:schemeClr val="tx1"/>
                          </a:solidFill>
                          <a:effectLst/>
                          <a:uLnTx/>
                          <a:uFillTx/>
                          <a:latin typeface="Swis721 Cn BT"/>
                          <a:ea typeface="+mn-ea"/>
                          <a:cs typeface="+mn-cs"/>
                        </a:rPr>
                        <a:t>TCO Calculator for Apps</a:t>
                      </a:r>
                      <a:endParaRPr kumimoji="0" lang="en-US" sz="700" b="0" i="0" u="none" strike="noStrike" kern="1200" cap="none" spc="0" normalizeH="0" baseline="0">
                        <a:ln>
                          <a:noFill/>
                        </a:ln>
                        <a:solidFill>
                          <a:schemeClr val="tx1"/>
                        </a:solidFill>
                        <a:effectLst/>
                        <a:uLnTx/>
                        <a:uFillTx/>
                        <a:latin typeface="Swis721 Cn BT"/>
                        <a:ea typeface="+mn-ea"/>
                        <a:cs typeface="+mn-cs"/>
                      </a:endParaRPr>
                    </a:p>
                    <a:p>
                      <a:pPr marL="0" marR="0" lvl="0" indent="0" algn="l" defTabSz="1305194" rtl="0" eaLnBrk="1" fontAlgn="auto" latinLnBrk="0" hangingPunct="1">
                        <a:lnSpc>
                          <a:spcPts val="800"/>
                        </a:lnSpc>
                        <a:spcBef>
                          <a:spcPts val="0"/>
                        </a:spcBef>
                        <a:spcAft>
                          <a:spcPts val="0"/>
                        </a:spcAft>
                        <a:buClrTx/>
                        <a:buSzTx/>
                        <a:buFont typeface="Arial" panose="020B0604020202020204" pitchFamily="34" charset="0"/>
                        <a:buNone/>
                        <a:tabLst/>
                        <a:defRPr/>
                      </a:pPr>
                      <a:endParaRPr kumimoji="0" lang="en-US" sz="700" b="0" i="0" u="none" strike="noStrike" kern="1200" cap="none" spc="0" normalizeH="0" baseline="0">
                        <a:ln>
                          <a:noFill/>
                        </a:ln>
                        <a:solidFill>
                          <a:schemeClr val="tx1"/>
                        </a:solidFill>
                        <a:effectLst/>
                        <a:uLnTx/>
                        <a:uFillTx/>
                        <a:latin typeface="Swis721 Cn BT"/>
                        <a:ea typeface="+mn-ea"/>
                        <a:cs typeface="+mn-cs"/>
                      </a:endParaRPr>
                    </a:p>
                  </a:txBody>
                  <a:tcPr marL="76200" marR="38100" marT="762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2F2F2">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b="1" kern="1200">
                          <a:solidFill>
                            <a:schemeClr val="lt1"/>
                          </a:solidFill>
                          <a:latin typeface="Swis721 Cn BT"/>
                        </a:defRPr>
                      </a:lvl1pPr>
                      <a:lvl2pPr marL="614544" algn="l" defTabSz="1229087" rtl="0" eaLnBrk="1" latinLnBrk="0" hangingPunct="1">
                        <a:defRPr sz="2400" b="1" kern="1200">
                          <a:solidFill>
                            <a:schemeClr val="lt1"/>
                          </a:solidFill>
                          <a:latin typeface="Swis721 Cn BT"/>
                        </a:defRPr>
                      </a:lvl2pPr>
                      <a:lvl3pPr marL="1229087" algn="l" defTabSz="1229087" rtl="0" eaLnBrk="1" latinLnBrk="0" hangingPunct="1">
                        <a:defRPr sz="2400" b="1" kern="1200">
                          <a:solidFill>
                            <a:schemeClr val="lt1"/>
                          </a:solidFill>
                          <a:latin typeface="Swis721 Cn BT"/>
                        </a:defRPr>
                      </a:lvl3pPr>
                      <a:lvl4pPr marL="1843631" algn="l" defTabSz="1229087" rtl="0" eaLnBrk="1" latinLnBrk="0" hangingPunct="1">
                        <a:defRPr sz="2400" b="1" kern="1200">
                          <a:solidFill>
                            <a:schemeClr val="lt1"/>
                          </a:solidFill>
                          <a:latin typeface="Swis721 Cn BT"/>
                        </a:defRPr>
                      </a:lvl4pPr>
                      <a:lvl5pPr marL="2458175" algn="l" defTabSz="1229087" rtl="0" eaLnBrk="1" latinLnBrk="0" hangingPunct="1">
                        <a:defRPr sz="2400" b="1" kern="1200">
                          <a:solidFill>
                            <a:schemeClr val="lt1"/>
                          </a:solidFill>
                          <a:latin typeface="Swis721 Cn BT"/>
                        </a:defRPr>
                      </a:lvl5pPr>
                      <a:lvl6pPr marL="3072719" algn="l" defTabSz="1229087" rtl="0" eaLnBrk="1" latinLnBrk="0" hangingPunct="1">
                        <a:defRPr sz="2400" b="1" kern="1200">
                          <a:solidFill>
                            <a:schemeClr val="lt1"/>
                          </a:solidFill>
                          <a:latin typeface="Swis721 Cn BT"/>
                        </a:defRPr>
                      </a:lvl6pPr>
                      <a:lvl7pPr marL="3687262" algn="l" defTabSz="1229087" rtl="0" eaLnBrk="1" latinLnBrk="0" hangingPunct="1">
                        <a:defRPr sz="2400" b="1" kern="1200">
                          <a:solidFill>
                            <a:schemeClr val="lt1"/>
                          </a:solidFill>
                          <a:latin typeface="Swis721 Cn BT"/>
                        </a:defRPr>
                      </a:lvl7pPr>
                      <a:lvl8pPr marL="4301806" algn="l" defTabSz="1229087" rtl="0" eaLnBrk="1" latinLnBrk="0" hangingPunct="1">
                        <a:defRPr sz="2400" b="1" kern="1200">
                          <a:solidFill>
                            <a:schemeClr val="lt1"/>
                          </a:solidFill>
                          <a:latin typeface="Swis721 Cn BT"/>
                        </a:defRPr>
                      </a:lvl8pPr>
                      <a:lvl9pPr marL="4916350" algn="l" defTabSz="1229087" rtl="0" eaLnBrk="1" latinLnBrk="0" hangingPunct="1">
                        <a:defRPr sz="2400" b="1" kern="1200">
                          <a:solidFill>
                            <a:schemeClr val="lt1"/>
                          </a:solidFill>
                          <a:latin typeface="Swis721 Cn BT"/>
                        </a:defRPr>
                      </a:lvl9pPr>
                    </a:lstStyle>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cs-CZ"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Solution Assesments</a:t>
                      </a: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cs-CZ"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ISV tools (i.e. Cloudlab)</a:t>
                      </a: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cs-CZ"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Business Viability Assesment</a:t>
                      </a: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txBody>
                  <a:tcPr marL="76200" marR="38100" marT="762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2F2F2">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b="1" kern="1200">
                          <a:solidFill>
                            <a:schemeClr val="lt1"/>
                          </a:solidFill>
                          <a:latin typeface="Swis721 Cn BT"/>
                        </a:defRPr>
                      </a:lvl1pPr>
                      <a:lvl2pPr marL="614544" algn="l" defTabSz="1229087" rtl="0" eaLnBrk="1" latinLnBrk="0" hangingPunct="1">
                        <a:defRPr sz="2400" b="1" kern="1200">
                          <a:solidFill>
                            <a:schemeClr val="lt1"/>
                          </a:solidFill>
                          <a:latin typeface="Swis721 Cn BT"/>
                        </a:defRPr>
                      </a:lvl2pPr>
                      <a:lvl3pPr marL="1229087" algn="l" defTabSz="1229087" rtl="0" eaLnBrk="1" latinLnBrk="0" hangingPunct="1">
                        <a:defRPr sz="2400" b="1" kern="1200">
                          <a:solidFill>
                            <a:schemeClr val="lt1"/>
                          </a:solidFill>
                          <a:latin typeface="Swis721 Cn BT"/>
                        </a:defRPr>
                      </a:lvl3pPr>
                      <a:lvl4pPr marL="1843631" algn="l" defTabSz="1229087" rtl="0" eaLnBrk="1" latinLnBrk="0" hangingPunct="1">
                        <a:defRPr sz="2400" b="1" kern="1200">
                          <a:solidFill>
                            <a:schemeClr val="lt1"/>
                          </a:solidFill>
                          <a:latin typeface="Swis721 Cn BT"/>
                        </a:defRPr>
                      </a:lvl4pPr>
                      <a:lvl5pPr marL="2458175" algn="l" defTabSz="1229087" rtl="0" eaLnBrk="1" latinLnBrk="0" hangingPunct="1">
                        <a:defRPr sz="2400" b="1" kern="1200">
                          <a:solidFill>
                            <a:schemeClr val="lt1"/>
                          </a:solidFill>
                          <a:latin typeface="Swis721 Cn BT"/>
                        </a:defRPr>
                      </a:lvl5pPr>
                      <a:lvl6pPr marL="3072719" algn="l" defTabSz="1229087" rtl="0" eaLnBrk="1" latinLnBrk="0" hangingPunct="1">
                        <a:defRPr sz="2400" b="1" kern="1200">
                          <a:solidFill>
                            <a:schemeClr val="lt1"/>
                          </a:solidFill>
                          <a:latin typeface="Swis721 Cn BT"/>
                        </a:defRPr>
                      </a:lvl6pPr>
                      <a:lvl7pPr marL="3687262" algn="l" defTabSz="1229087" rtl="0" eaLnBrk="1" latinLnBrk="0" hangingPunct="1">
                        <a:defRPr sz="2400" b="1" kern="1200">
                          <a:solidFill>
                            <a:schemeClr val="lt1"/>
                          </a:solidFill>
                          <a:latin typeface="Swis721 Cn BT"/>
                        </a:defRPr>
                      </a:lvl7pPr>
                      <a:lvl8pPr marL="4301806" algn="l" defTabSz="1229087" rtl="0" eaLnBrk="1" latinLnBrk="0" hangingPunct="1">
                        <a:defRPr sz="2400" b="1" kern="1200">
                          <a:solidFill>
                            <a:schemeClr val="lt1"/>
                          </a:solidFill>
                          <a:latin typeface="Swis721 Cn BT"/>
                        </a:defRPr>
                      </a:lvl8pPr>
                      <a:lvl9pPr marL="4916350" algn="l" defTabSz="1229087" rtl="0" eaLnBrk="1" latinLnBrk="0" hangingPunct="1">
                        <a:defRPr sz="2400" b="1" kern="1200">
                          <a:solidFill>
                            <a:schemeClr val="lt1"/>
                          </a:solidFill>
                          <a:latin typeface="Swis721 Cn BT"/>
                        </a:defRPr>
                      </a:lvl9pPr>
                    </a:lstStyle>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cs-CZ"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AzAcces</a:t>
                      </a: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cs-CZ"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Azure Credit Offer</a:t>
                      </a: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lang="cs-CZ" sz="700" b="0" i="0" spc="0">
                          <a:solidFill>
                            <a:schemeClr val="tx1"/>
                          </a:solidFill>
                          <a:latin typeface="Swis721 Cn BT"/>
                          <a:ea typeface="Roboto" panose="02000000000000000000" pitchFamily="2" charset="0"/>
                        </a:rPr>
                        <a:t>ECIF</a:t>
                      </a: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txBody>
                  <a:tcPr marL="76200" marR="38100" marT="762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F2F2F2">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b="1" kern="1200">
                          <a:solidFill>
                            <a:schemeClr val="lt1"/>
                          </a:solidFill>
                          <a:latin typeface="Swis721 Cn BT"/>
                        </a:defRPr>
                      </a:lvl1pPr>
                      <a:lvl2pPr marL="614544" algn="l" defTabSz="1229087" rtl="0" eaLnBrk="1" latinLnBrk="0" hangingPunct="1">
                        <a:defRPr sz="2400" b="1" kern="1200">
                          <a:solidFill>
                            <a:schemeClr val="lt1"/>
                          </a:solidFill>
                          <a:latin typeface="Swis721 Cn BT"/>
                        </a:defRPr>
                      </a:lvl2pPr>
                      <a:lvl3pPr marL="1229087" algn="l" defTabSz="1229087" rtl="0" eaLnBrk="1" latinLnBrk="0" hangingPunct="1">
                        <a:defRPr sz="2400" b="1" kern="1200">
                          <a:solidFill>
                            <a:schemeClr val="lt1"/>
                          </a:solidFill>
                          <a:latin typeface="Swis721 Cn BT"/>
                        </a:defRPr>
                      </a:lvl3pPr>
                      <a:lvl4pPr marL="1843631" algn="l" defTabSz="1229087" rtl="0" eaLnBrk="1" latinLnBrk="0" hangingPunct="1">
                        <a:defRPr sz="2400" b="1" kern="1200">
                          <a:solidFill>
                            <a:schemeClr val="lt1"/>
                          </a:solidFill>
                          <a:latin typeface="Swis721 Cn BT"/>
                        </a:defRPr>
                      </a:lvl4pPr>
                      <a:lvl5pPr marL="2458175" algn="l" defTabSz="1229087" rtl="0" eaLnBrk="1" latinLnBrk="0" hangingPunct="1">
                        <a:defRPr sz="2400" b="1" kern="1200">
                          <a:solidFill>
                            <a:schemeClr val="lt1"/>
                          </a:solidFill>
                          <a:latin typeface="Swis721 Cn BT"/>
                        </a:defRPr>
                      </a:lvl5pPr>
                      <a:lvl6pPr marL="3072719" algn="l" defTabSz="1229087" rtl="0" eaLnBrk="1" latinLnBrk="0" hangingPunct="1">
                        <a:defRPr sz="2400" b="1" kern="1200">
                          <a:solidFill>
                            <a:schemeClr val="lt1"/>
                          </a:solidFill>
                          <a:latin typeface="Swis721 Cn BT"/>
                        </a:defRPr>
                      </a:lvl6pPr>
                      <a:lvl7pPr marL="3687262" algn="l" defTabSz="1229087" rtl="0" eaLnBrk="1" latinLnBrk="0" hangingPunct="1">
                        <a:defRPr sz="2400" b="1" kern="1200">
                          <a:solidFill>
                            <a:schemeClr val="lt1"/>
                          </a:solidFill>
                          <a:latin typeface="Swis721 Cn BT"/>
                        </a:defRPr>
                      </a:lvl7pPr>
                      <a:lvl8pPr marL="4301806" algn="l" defTabSz="1229087" rtl="0" eaLnBrk="1" latinLnBrk="0" hangingPunct="1">
                        <a:defRPr sz="2400" b="1" kern="1200">
                          <a:solidFill>
                            <a:schemeClr val="lt1"/>
                          </a:solidFill>
                          <a:latin typeface="Swis721 Cn BT"/>
                        </a:defRPr>
                      </a:lvl8pPr>
                      <a:lvl9pPr marL="4916350" algn="l" defTabSz="1229087" rtl="0" eaLnBrk="1" latinLnBrk="0" hangingPunct="1">
                        <a:defRPr sz="2400" b="1" kern="1200">
                          <a:solidFill>
                            <a:schemeClr val="lt1"/>
                          </a:solidFill>
                          <a:latin typeface="Swis721 Cn BT"/>
                        </a:defRPr>
                      </a:lvl9pPr>
                    </a:lstStyle>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cs-CZ"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CAF Workshop</a:t>
                      </a: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cs-CZ"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Azure Fast Track</a:t>
                      </a: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cs-CZ"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AMP</a:t>
                      </a: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cs-CZ"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ACIF</a:t>
                      </a: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cs-CZ"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Hoster DCM Program</a:t>
                      </a: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cs-CZ"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Migrate ISV Program </a:t>
                      </a: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txBody>
                  <a:tcPr marL="76200" marR="38100" marT="762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F2F2F2">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b="1" kern="1200">
                          <a:solidFill>
                            <a:schemeClr val="lt1"/>
                          </a:solidFill>
                          <a:latin typeface="Swis721 Cn BT"/>
                        </a:defRPr>
                      </a:lvl1pPr>
                      <a:lvl2pPr marL="614544" algn="l" defTabSz="1229087" rtl="0" eaLnBrk="1" latinLnBrk="0" hangingPunct="1">
                        <a:defRPr sz="2400" b="1" kern="1200">
                          <a:solidFill>
                            <a:schemeClr val="lt1"/>
                          </a:solidFill>
                          <a:latin typeface="Swis721 Cn BT"/>
                        </a:defRPr>
                      </a:lvl2pPr>
                      <a:lvl3pPr marL="1229087" algn="l" defTabSz="1229087" rtl="0" eaLnBrk="1" latinLnBrk="0" hangingPunct="1">
                        <a:defRPr sz="2400" b="1" kern="1200">
                          <a:solidFill>
                            <a:schemeClr val="lt1"/>
                          </a:solidFill>
                          <a:latin typeface="Swis721 Cn BT"/>
                        </a:defRPr>
                      </a:lvl3pPr>
                      <a:lvl4pPr marL="1843631" algn="l" defTabSz="1229087" rtl="0" eaLnBrk="1" latinLnBrk="0" hangingPunct="1">
                        <a:defRPr sz="2400" b="1" kern="1200">
                          <a:solidFill>
                            <a:schemeClr val="lt1"/>
                          </a:solidFill>
                          <a:latin typeface="Swis721 Cn BT"/>
                        </a:defRPr>
                      </a:lvl4pPr>
                      <a:lvl5pPr marL="2458175" algn="l" defTabSz="1229087" rtl="0" eaLnBrk="1" latinLnBrk="0" hangingPunct="1">
                        <a:defRPr sz="2400" b="1" kern="1200">
                          <a:solidFill>
                            <a:schemeClr val="lt1"/>
                          </a:solidFill>
                          <a:latin typeface="Swis721 Cn BT"/>
                        </a:defRPr>
                      </a:lvl5pPr>
                      <a:lvl6pPr marL="3072719" algn="l" defTabSz="1229087" rtl="0" eaLnBrk="1" latinLnBrk="0" hangingPunct="1">
                        <a:defRPr sz="2400" b="1" kern="1200">
                          <a:solidFill>
                            <a:schemeClr val="lt1"/>
                          </a:solidFill>
                          <a:latin typeface="Swis721 Cn BT"/>
                        </a:defRPr>
                      </a:lvl6pPr>
                      <a:lvl7pPr marL="3687262" algn="l" defTabSz="1229087" rtl="0" eaLnBrk="1" latinLnBrk="0" hangingPunct="1">
                        <a:defRPr sz="2400" b="1" kern="1200">
                          <a:solidFill>
                            <a:schemeClr val="lt1"/>
                          </a:solidFill>
                          <a:latin typeface="Swis721 Cn BT"/>
                        </a:defRPr>
                      </a:lvl7pPr>
                      <a:lvl8pPr marL="4301806" algn="l" defTabSz="1229087" rtl="0" eaLnBrk="1" latinLnBrk="0" hangingPunct="1">
                        <a:defRPr sz="2400" b="1" kern="1200">
                          <a:solidFill>
                            <a:schemeClr val="lt1"/>
                          </a:solidFill>
                          <a:latin typeface="Swis721 Cn BT"/>
                        </a:defRPr>
                      </a:lvl8pPr>
                      <a:lvl9pPr marL="4916350" algn="l" defTabSz="1229087" rtl="0" eaLnBrk="1" latinLnBrk="0" hangingPunct="1">
                        <a:defRPr sz="2400" b="1" kern="1200">
                          <a:solidFill>
                            <a:schemeClr val="lt1"/>
                          </a:solidFill>
                          <a:latin typeface="Swis721 Cn BT"/>
                        </a:defRPr>
                      </a:lvl9pPr>
                    </a:lstStyle>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endParaRPr kumimoji="0" lang="en-US" sz="700" b="0" i="0" u="none" strike="noStrike" kern="1200" cap="none" spc="0" normalizeH="0" baseline="0" noProof="0">
                        <a:ln>
                          <a:noFill/>
                        </a:ln>
                        <a:solidFill>
                          <a:schemeClr val="tx1"/>
                        </a:solidFill>
                        <a:effectLst/>
                        <a:uLnTx/>
                        <a:uFillTx/>
                        <a:latin typeface="+mn-lt"/>
                        <a:ea typeface="Roboto" panose="02000000000000000000" pitchFamily="2" charset="0"/>
                        <a:cs typeface="+mn-cs"/>
                      </a:endParaRPr>
                    </a:p>
                  </a:txBody>
                  <a:tcPr marL="76200" marR="38100" marT="762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F2F2F2">
                          <a:lumMod val="9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82" name="Straight Connector 81">
            <a:extLst>
              <a:ext uri="{FF2B5EF4-FFF2-40B4-BE49-F238E27FC236}">
                <a16:creationId xmlns:a16="http://schemas.microsoft.com/office/drawing/2014/main" id="{F5BD0F7A-002A-44D5-A0F6-CD4599CD0EE0}"/>
              </a:ext>
            </a:extLst>
          </p:cNvPr>
          <p:cNvCxnSpPr>
            <a:cxnSpLocks/>
          </p:cNvCxnSpPr>
          <p:nvPr/>
        </p:nvCxnSpPr>
        <p:spPr>
          <a:xfrm flipV="1">
            <a:off x="1534561" y="1916759"/>
            <a:ext cx="10491205" cy="10664"/>
          </a:xfrm>
          <a:prstGeom prst="line">
            <a:avLst/>
          </a:prstGeom>
          <a:noFill/>
          <a:ln w="12700" cap="flat" cmpd="sng" algn="ctr">
            <a:solidFill>
              <a:srgbClr val="FFFFFF">
                <a:lumMod val="85000"/>
              </a:srgbClr>
            </a:solidFill>
            <a:prstDash val="solid"/>
          </a:ln>
          <a:effectLst/>
        </p:spPr>
      </p:cxnSp>
      <p:sp>
        <p:nvSpPr>
          <p:cNvPr id="83" name="TextBox 82">
            <a:extLst>
              <a:ext uri="{FF2B5EF4-FFF2-40B4-BE49-F238E27FC236}">
                <a16:creationId xmlns:a16="http://schemas.microsoft.com/office/drawing/2014/main" id="{02982649-0BC1-4235-BDCE-A4805904EE9E}"/>
              </a:ext>
            </a:extLst>
          </p:cNvPr>
          <p:cNvSpPr txBox="1"/>
          <p:nvPr/>
        </p:nvSpPr>
        <p:spPr>
          <a:xfrm>
            <a:off x="4966019" y="2939051"/>
            <a:ext cx="810539" cy="501676"/>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cs-CZ" sz="700" b="1" i="0" u="none" strike="noStrike" kern="0" cap="none" spc="0" normalizeH="0" baseline="0" noProof="0">
                <a:ln>
                  <a:noFill/>
                </a:ln>
                <a:solidFill>
                  <a:srgbClr val="243A5E"/>
                </a:solidFill>
                <a:effectLst/>
                <a:uLnTx/>
                <a:uFillTx/>
                <a:latin typeface="Segoe UI"/>
                <a:ea typeface="+mn-ea"/>
                <a:cs typeface="+mn-cs"/>
              </a:rPr>
              <a:t>Infrastructure/Server Migration in </a:t>
            </a:r>
            <a:r>
              <a:rPr kumimoji="0" lang="en-US" sz="700" b="1" i="0" u="none" strike="noStrike" kern="0" cap="none" spc="0" normalizeH="0" baseline="0" noProof="0">
                <a:ln>
                  <a:noFill/>
                </a:ln>
                <a:solidFill>
                  <a:srgbClr val="243A5E"/>
                </a:solidFill>
                <a:effectLst/>
                <a:uLnTx/>
                <a:uFillTx/>
                <a:latin typeface="Segoe UI"/>
                <a:ea typeface="+mn-ea"/>
                <a:cs typeface="+mn-cs"/>
              </a:rPr>
              <a:t>a Day</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sp>
        <p:nvSpPr>
          <p:cNvPr id="84" name="Touchscreen" title="Icon of a closed hand with one finger touching a screen">
            <a:extLst>
              <a:ext uri="{FF2B5EF4-FFF2-40B4-BE49-F238E27FC236}">
                <a16:creationId xmlns:a16="http://schemas.microsoft.com/office/drawing/2014/main" id="{4A5C20A1-676C-48D7-AFC9-60F68B12256F}"/>
              </a:ext>
            </a:extLst>
          </p:cNvPr>
          <p:cNvSpPr>
            <a:spLocks noChangeAspect="1" noEditPoints="1"/>
          </p:cNvSpPr>
          <p:nvPr/>
        </p:nvSpPr>
        <p:spPr bwMode="auto">
          <a:xfrm>
            <a:off x="604380" y="2918607"/>
            <a:ext cx="390103"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5" name="briefcase" title="Icon of a briefcase">
            <a:extLst>
              <a:ext uri="{FF2B5EF4-FFF2-40B4-BE49-F238E27FC236}">
                <a16:creationId xmlns:a16="http://schemas.microsoft.com/office/drawing/2014/main" id="{1AF075A5-10F4-472A-9F65-4C9C1A3EAD92}"/>
              </a:ext>
            </a:extLst>
          </p:cNvPr>
          <p:cNvSpPr>
            <a:spLocks noChangeAspect="1" noEditPoints="1"/>
          </p:cNvSpPr>
          <p:nvPr/>
        </p:nvSpPr>
        <p:spPr bwMode="auto">
          <a:xfrm>
            <a:off x="570831" y="5738246"/>
            <a:ext cx="457200" cy="334537"/>
          </a:xfrm>
          <a:custGeom>
            <a:avLst/>
            <a:gdLst>
              <a:gd name="T0" fmla="*/ 339 w 339"/>
              <a:gd name="T1" fmla="*/ 247 h 247"/>
              <a:gd name="T2" fmla="*/ 0 w 339"/>
              <a:gd name="T3" fmla="*/ 247 h 247"/>
              <a:gd name="T4" fmla="*/ 0 w 339"/>
              <a:gd name="T5" fmla="*/ 45 h 247"/>
              <a:gd name="T6" fmla="*/ 339 w 339"/>
              <a:gd name="T7" fmla="*/ 45 h 247"/>
              <a:gd name="T8" fmla="*/ 339 w 339"/>
              <a:gd name="T9" fmla="*/ 247 h 247"/>
              <a:gd name="T10" fmla="*/ 203 w 339"/>
              <a:gd name="T11" fmla="*/ 133 h 247"/>
              <a:gd name="T12" fmla="*/ 136 w 339"/>
              <a:gd name="T13" fmla="*/ 133 h 247"/>
              <a:gd name="T14" fmla="*/ 136 w 339"/>
              <a:gd name="T15" fmla="*/ 178 h 247"/>
              <a:gd name="T16" fmla="*/ 203 w 339"/>
              <a:gd name="T17" fmla="*/ 178 h 247"/>
              <a:gd name="T18" fmla="*/ 203 w 339"/>
              <a:gd name="T19" fmla="*/ 133 h 247"/>
              <a:gd name="T20" fmla="*/ 136 w 339"/>
              <a:gd name="T21" fmla="*/ 161 h 247"/>
              <a:gd name="T22" fmla="*/ 0 w 339"/>
              <a:gd name="T23" fmla="*/ 90 h 247"/>
              <a:gd name="T24" fmla="*/ 203 w 339"/>
              <a:gd name="T25" fmla="*/ 161 h 247"/>
              <a:gd name="T26" fmla="*/ 339 w 339"/>
              <a:gd name="T27" fmla="*/ 90 h 247"/>
              <a:gd name="T28" fmla="*/ 228 w 339"/>
              <a:gd name="T29" fmla="*/ 45 h 247"/>
              <a:gd name="T30" fmla="*/ 228 w 339"/>
              <a:gd name="T31" fmla="*/ 17 h 247"/>
              <a:gd name="T32" fmla="*/ 211 w 339"/>
              <a:gd name="T33" fmla="*/ 0 h 247"/>
              <a:gd name="T34" fmla="*/ 129 w 339"/>
              <a:gd name="T35" fmla="*/ 0 h 247"/>
              <a:gd name="T36" fmla="*/ 112 w 339"/>
              <a:gd name="T37" fmla="*/ 17 h 247"/>
              <a:gd name="T38" fmla="*/ 112 w 339"/>
              <a:gd name="T39" fmla="*/ 4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9" h="247">
                <a:moveTo>
                  <a:pt x="339" y="247"/>
                </a:moveTo>
                <a:cubicBezTo>
                  <a:pt x="0" y="247"/>
                  <a:pt x="0" y="247"/>
                  <a:pt x="0" y="247"/>
                </a:cubicBezTo>
                <a:cubicBezTo>
                  <a:pt x="0" y="45"/>
                  <a:pt x="0" y="45"/>
                  <a:pt x="0" y="45"/>
                </a:cubicBezTo>
                <a:cubicBezTo>
                  <a:pt x="339" y="45"/>
                  <a:pt x="339" y="45"/>
                  <a:pt x="339" y="45"/>
                </a:cubicBezTo>
                <a:lnTo>
                  <a:pt x="339" y="247"/>
                </a:lnTo>
                <a:close/>
                <a:moveTo>
                  <a:pt x="203" y="133"/>
                </a:moveTo>
                <a:cubicBezTo>
                  <a:pt x="136" y="133"/>
                  <a:pt x="136" y="133"/>
                  <a:pt x="136" y="133"/>
                </a:cubicBezTo>
                <a:cubicBezTo>
                  <a:pt x="136" y="178"/>
                  <a:pt x="136" y="178"/>
                  <a:pt x="136" y="178"/>
                </a:cubicBezTo>
                <a:cubicBezTo>
                  <a:pt x="203" y="178"/>
                  <a:pt x="203" y="178"/>
                  <a:pt x="203" y="178"/>
                </a:cubicBezTo>
                <a:lnTo>
                  <a:pt x="203" y="133"/>
                </a:lnTo>
                <a:close/>
                <a:moveTo>
                  <a:pt x="136" y="161"/>
                </a:moveTo>
                <a:cubicBezTo>
                  <a:pt x="0" y="90"/>
                  <a:pt x="0" y="90"/>
                  <a:pt x="0" y="90"/>
                </a:cubicBezTo>
                <a:moveTo>
                  <a:pt x="203" y="161"/>
                </a:moveTo>
                <a:cubicBezTo>
                  <a:pt x="339" y="90"/>
                  <a:pt x="339" y="90"/>
                  <a:pt x="339" y="90"/>
                </a:cubicBezTo>
                <a:moveTo>
                  <a:pt x="228" y="45"/>
                </a:moveTo>
                <a:cubicBezTo>
                  <a:pt x="228" y="17"/>
                  <a:pt x="228" y="17"/>
                  <a:pt x="228" y="17"/>
                </a:cubicBezTo>
                <a:cubicBezTo>
                  <a:pt x="228" y="7"/>
                  <a:pt x="220" y="0"/>
                  <a:pt x="211" y="0"/>
                </a:cubicBezTo>
                <a:cubicBezTo>
                  <a:pt x="129" y="0"/>
                  <a:pt x="129" y="0"/>
                  <a:pt x="129" y="0"/>
                </a:cubicBezTo>
                <a:cubicBezTo>
                  <a:pt x="119" y="0"/>
                  <a:pt x="112" y="7"/>
                  <a:pt x="112" y="17"/>
                </a:cubicBezTo>
                <a:cubicBezTo>
                  <a:pt x="112" y="45"/>
                  <a:pt x="112" y="45"/>
                  <a:pt x="112" y="45"/>
                </a:cubicBez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 name="Eye" title="Icon of an eye">
            <a:extLst>
              <a:ext uri="{FF2B5EF4-FFF2-40B4-BE49-F238E27FC236}">
                <a16:creationId xmlns:a16="http://schemas.microsoft.com/office/drawing/2014/main" id="{499F64B3-204C-4116-BA42-F180979BCF26}"/>
              </a:ext>
            </a:extLst>
          </p:cNvPr>
          <p:cNvSpPr>
            <a:spLocks noChangeAspect="1" noEditPoints="1"/>
          </p:cNvSpPr>
          <p:nvPr/>
        </p:nvSpPr>
        <p:spPr bwMode="auto">
          <a:xfrm>
            <a:off x="547972" y="720967"/>
            <a:ext cx="502920" cy="277671"/>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speech_5" title="Icon of two overlapping chat bubbles">
            <a:extLst>
              <a:ext uri="{FF2B5EF4-FFF2-40B4-BE49-F238E27FC236}">
                <a16:creationId xmlns:a16="http://schemas.microsoft.com/office/drawing/2014/main" id="{D0ABAB79-4D73-4B33-8B16-7A7DB9C92DC2}"/>
              </a:ext>
            </a:extLst>
          </p:cNvPr>
          <p:cNvSpPr>
            <a:spLocks noChangeAspect="1" noEditPoints="1"/>
          </p:cNvSpPr>
          <p:nvPr/>
        </p:nvSpPr>
        <p:spPr bwMode="auto">
          <a:xfrm>
            <a:off x="4634909" y="3146608"/>
            <a:ext cx="248972" cy="194669"/>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88" name="Straight Connector 87">
            <a:extLst>
              <a:ext uri="{FF2B5EF4-FFF2-40B4-BE49-F238E27FC236}">
                <a16:creationId xmlns:a16="http://schemas.microsoft.com/office/drawing/2014/main" id="{CED89345-2232-40D4-ACF9-818E8F7E0336}"/>
              </a:ext>
            </a:extLst>
          </p:cNvPr>
          <p:cNvCxnSpPr>
            <a:cxnSpLocks/>
          </p:cNvCxnSpPr>
          <p:nvPr/>
        </p:nvCxnSpPr>
        <p:spPr>
          <a:xfrm>
            <a:off x="1561456" y="2848785"/>
            <a:ext cx="10491205" cy="0"/>
          </a:xfrm>
          <a:prstGeom prst="line">
            <a:avLst/>
          </a:prstGeom>
          <a:noFill/>
          <a:ln w="12700" cap="flat" cmpd="sng" algn="ctr">
            <a:solidFill>
              <a:srgbClr val="FFFFFF">
                <a:lumMod val="85000"/>
              </a:srgbClr>
            </a:solidFill>
            <a:prstDash val="solid"/>
          </a:ln>
          <a:effectLst/>
        </p:spPr>
      </p:cxnSp>
      <p:sp>
        <p:nvSpPr>
          <p:cNvPr id="89" name="Chevron 22">
            <a:extLst>
              <a:ext uri="{FF2B5EF4-FFF2-40B4-BE49-F238E27FC236}">
                <a16:creationId xmlns:a16="http://schemas.microsoft.com/office/drawing/2014/main" id="{84479BA6-1275-400A-B2F2-42AFA4A58047}"/>
              </a:ext>
            </a:extLst>
          </p:cNvPr>
          <p:cNvSpPr/>
          <p:nvPr/>
        </p:nvSpPr>
        <p:spPr>
          <a:xfrm>
            <a:off x="3139211" y="2090811"/>
            <a:ext cx="1478229" cy="237533"/>
          </a:xfrm>
          <a:prstGeom prst="chevron">
            <a:avLst/>
          </a:prstGeom>
          <a:solidFill>
            <a:srgbClr val="041E41"/>
          </a:solidFill>
          <a:ln w="9525" cap="flat" cmpd="sng" algn="ctr">
            <a:noFill/>
            <a:prstDash val="sysDash"/>
          </a:ln>
          <a:effectLst/>
        </p:spPr>
        <p:txBody>
          <a:bodyPr lIns="95250" tIns="0" rIns="0" bIns="0" anchor="ct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900" b="1" i="0" u="none" strike="noStrike" kern="0" cap="none" spc="100" normalizeH="0" baseline="0" noProof="0">
                <a:ln>
                  <a:noFill/>
                </a:ln>
                <a:solidFill>
                  <a:srgbClr val="FFFFFF"/>
                </a:solidFill>
                <a:effectLst/>
                <a:uLnTx/>
                <a:uFillTx/>
                <a:latin typeface="Segoe UI"/>
                <a:ea typeface="Roboto" panose="02000000000000000000" pitchFamily="2" charset="0"/>
                <a:cs typeface="+mn-cs"/>
              </a:rPr>
              <a:t>Awareness</a:t>
            </a:r>
          </a:p>
        </p:txBody>
      </p:sp>
      <p:sp>
        <p:nvSpPr>
          <p:cNvPr id="90" name="Rectangle 89">
            <a:extLst>
              <a:ext uri="{FF2B5EF4-FFF2-40B4-BE49-F238E27FC236}">
                <a16:creationId xmlns:a16="http://schemas.microsoft.com/office/drawing/2014/main" id="{1581648C-756D-42F2-BBB6-A22CD7DF5367}"/>
              </a:ext>
            </a:extLst>
          </p:cNvPr>
          <p:cNvSpPr/>
          <p:nvPr/>
        </p:nvSpPr>
        <p:spPr>
          <a:xfrm>
            <a:off x="1770715" y="3472813"/>
            <a:ext cx="1200203" cy="12311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mn-ea"/>
                <a:cs typeface="+mn-cs"/>
              </a:rPr>
              <a:t>Linux &amp; OSS DB</a:t>
            </a:r>
          </a:p>
        </p:txBody>
      </p:sp>
      <p:sp>
        <p:nvSpPr>
          <p:cNvPr id="91" name="Rectangle 90">
            <a:extLst>
              <a:ext uri="{FF2B5EF4-FFF2-40B4-BE49-F238E27FC236}">
                <a16:creationId xmlns:a16="http://schemas.microsoft.com/office/drawing/2014/main" id="{5C240EF1-0FF3-4E13-AFBA-29A6AF4B2518}"/>
              </a:ext>
            </a:extLst>
          </p:cNvPr>
          <p:cNvSpPr/>
          <p:nvPr/>
        </p:nvSpPr>
        <p:spPr>
          <a:xfrm>
            <a:off x="1761388" y="4341553"/>
            <a:ext cx="1200203" cy="24622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cs-CZ" sz="800" b="1" i="0" u="none" strike="noStrike" kern="0" cap="none" spc="0" normalizeH="0" baseline="0" noProof="0">
                <a:ln>
                  <a:noFill/>
                </a:ln>
                <a:solidFill>
                  <a:srgbClr val="1A1A1A"/>
                </a:solidFill>
                <a:effectLst/>
                <a:uLnTx/>
                <a:uFillTx/>
                <a:latin typeface="Segoe UI"/>
                <a:ea typeface="+mn-ea"/>
                <a:cs typeface="+mn-cs"/>
              </a:rPr>
              <a:t>WVD - Windovs Virtual Desktop </a:t>
            </a:r>
            <a:endParaRPr kumimoji="0" lang="en-US" sz="800" b="1" i="0" u="none" strike="noStrike" kern="0" cap="none" spc="0" normalizeH="0" baseline="0" noProof="0">
              <a:ln>
                <a:noFill/>
              </a:ln>
              <a:solidFill>
                <a:srgbClr val="1A1A1A"/>
              </a:solidFill>
              <a:effectLst/>
              <a:uLnTx/>
              <a:uFillTx/>
              <a:latin typeface="Segoe UI"/>
              <a:ea typeface="+mn-ea"/>
              <a:cs typeface="+mn-cs"/>
            </a:endParaRPr>
          </a:p>
        </p:txBody>
      </p:sp>
      <p:sp>
        <p:nvSpPr>
          <p:cNvPr id="92" name="TextBox 91">
            <a:extLst>
              <a:ext uri="{FF2B5EF4-FFF2-40B4-BE49-F238E27FC236}">
                <a16:creationId xmlns:a16="http://schemas.microsoft.com/office/drawing/2014/main" id="{D261684F-D920-4E3E-A61E-2E3A34B1AF54}"/>
              </a:ext>
            </a:extLst>
          </p:cNvPr>
          <p:cNvSpPr txBox="1"/>
          <p:nvPr/>
        </p:nvSpPr>
        <p:spPr>
          <a:xfrm>
            <a:off x="4973765" y="3585569"/>
            <a:ext cx="826319" cy="399340"/>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cs-CZ" sz="700" b="1" i="0" u="none" strike="noStrike" kern="0" cap="none" spc="0" normalizeH="0" baseline="0" noProof="0">
                <a:ln>
                  <a:noFill/>
                </a:ln>
                <a:solidFill>
                  <a:srgbClr val="243A5E"/>
                </a:solidFill>
                <a:effectLst/>
                <a:uLnTx/>
                <a:uFillTx/>
                <a:latin typeface="Segoe UI"/>
                <a:ea typeface="+mn-ea"/>
                <a:cs typeface="+mn-cs"/>
              </a:rPr>
              <a:t>Data Modernization </a:t>
            </a:r>
            <a:r>
              <a:rPr kumimoji="0" lang="en-US" sz="700" b="1" i="0" u="none" strike="noStrike" kern="0" cap="none" spc="0" normalizeH="0" baseline="0" noProof="0">
                <a:ln>
                  <a:noFill/>
                </a:ln>
                <a:solidFill>
                  <a:srgbClr val="243A5E"/>
                </a:solidFill>
                <a:effectLst/>
                <a:uLnTx/>
                <a:uFillTx/>
                <a:latin typeface="Segoe UI"/>
                <a:ea typeface="+mn-ea"/>
                <a:cs typeface="+mn-cs"/>
              </a:rPr>
              <a:t>In a Day</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sp>
        <p:nvSpPr>
          <p:cNvPr id="93" name="speech_5" title="Icon of two overlapping chat bubbles">
            <a:extLst>
              <a:ext uri="{FF2B5EF4-FFF2-40B4-BE49-F238E27FC236}">
                <a16:creationId xmlns:a16="http://schemas.microsoft.com/office/drawing/2014/main" id="{008ABF53-D7B1-4FB9-8658-A85B277174AD}"/>
              </a:ext>
            </a:extLst>
          </p:cNvPr>
          <p:cNvSpPr>
            <a:spLocks noChangeAspect="1" noEditPoints="1"/>
          </p:cNvSpPr>
          <p:nvPr/>
        </p:nvSpPr>
        <p:spPr bwMode="auto">
          <a:xfrm>
            <a:off x="4652674" y="3652955"/>
            <a:ext cx="248972" cy="194669"/>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 name="TextBox 93">
            <a:extLst>
              <a:ext uri="{FF2B5EF4-FFF2-40B4-BE49-F238E27FC236}">
                <a16:creationId xmlns:a16="http://schemas.microsoft.com/office/drawing/2014/main" id="{367D22E6-FF91-48AF-BB41-6E1F704E3B39}"/>
              </a:ext>
            </a:extLst>
          </p:cNvPr>
          <p:cNvSpPr txBox="1"/>
          <p:nvPr/>
        </p:nvSpPr>
        <p:spPr>
          <a:xfrm>
            <a:off x="4986129" y="4762060"/>
            <a:ext cx="782938"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cs-CZ" sz="700" b="1" i="0" u="none" strike="noStrike" kern="0" cap="none" spc="0" normalizeH="0" baseline="0" noProof="0">
                <a:ln>
                  <a:noFill/>
                </a:ln>
                <a:solidFill>
                  <a:srgbClr val="243A5E"/>
                </a:solidFill>
                <a:effectLst/>
                <a:uLnTx/>
                <a:uFillTx/>
                <a:latin typeface="Segoe UI"/>
                <a:ea typeface="+mn-ea"/>
                <a:cs typeface="+mn-cs"/>
              </a:rPr>
              <a:t>SAP on Azure In a Day</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sp>
        <p:nvSpPr>
          <p:cNvPr id="97" name="Rectangle 96">
            <a:extLst>
              <a:ext uri="{FF2B5EF4-FFF2-40B4-BE49-F238E27FC236}">
                <a16:creationId xmlns:a16="http://schemas.microsoft.com/office/drawing/2014/main" id="{30F4F42B-9375-4E8C-97BF-859869B1A33E}"/>
              </a:ext>
            </a:extLst>
          </p:cNvPr>
          <p:cNvSpPr/>
          <p:nvPr/>
        </p:nvSpPr>
        <p:spPr bwMode="auto">
          <a:xfrm>
            <a:off x="7221025" y="2949907"/>
            <a:ext cx="447818" cy="2492378"/>
          </a:xfrm>
          <a:prstGeom prst="rect">
            <a:avLst/>
          </a:prstGeom>
          <a:solidFill>
            <a:srgbClr val="0078D4">
              <a:alpha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TextBox 97">
            <a:extLst>
              <a:ext uri="{FF2B5EF4-FFF2-40B4-BE49-F238E27FC236}">
                <a16:creationId xmlns:a16="http://schemas.microsoft.com/office/drawing/2014/main" id="{395B739A-F5C3-4C63-B8EA-CAF4D7126F82}"/>
              </a:ext>
            </a:extLst>
          </p:cNvPr>
          <p:cNvSpPr txBox="1"/>
          <p:nvPr/>
        </p:nvSpPr>
        <p:spPr>
          <a:xfrm>
            <a:off x="7071946" y="3861726"/>
            <a:ext cx="799310" cy="399340"/>
          </a:xfrm>
          <a:prstGeom prst="rect">
            <a:avLst/>
          </a:prstGeom>
          <a:noFill/>
        </p:spPr>
        <p:txBody>
          <a:bodyPr wrap="square" rtlCol="0">
            <a:spAutoFit/>
          </a:bodyPr>
          <a:lstStyle/>
          <a:p>
            <a:pPr marL="0" marR="0" lvl="0" indent="0" algn="ctr"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1A1A1A"/>
                </a:solidFill>
                <a:effectLst/>
                <a:uLnTx/>
                <a:uFillTx/>
                <a:latin typeface="Segoe UI"/>
                <a:ea typeface="+mn-ea"/>
                <a:cs typeface="+mn-cs"/>
              </a:rPr>
              <a:t>CEE </a:t>
            </a:r>
            <a:br>
              <a:rPr kumimoji="0" lang="en-US" sz="700" b="1" i="0" u="none" strike="noStrike" kern="0" cap="none" spc="0" normalizeH="0" baseline="0" noProof="0">
                <a:ln>
                  <a:noFill/>
                </a:ln>
                <a:solidFill>
                  <a:srgbClr val="1A1A1A"/>
                </a:solidFill>
                <a:effectLst/>
                <a:uLnTx/>
                <a:uFillTx/>
                <a:latin typeface="Segoe UI"/>
                <a:ea typeface="+mn-ea"/>
                <a:cs typeface="+mn-cs"/>
              </a:rPr>
            </a:br>
            <a:r>
              <a:rPr kumimoji="0" lang="en-US" sz="700" b="1" i="0" u="none" strike="noStrike" kern="0" cap="none" spc="0" normalizeH="0" baseline="0" noProof="0">
                <a:ln>
                  <a:noFill/>
                </a:ln>
                <a:solidFill>
                  <a:srgbClr val="1A1A1A"/>
                </a:solidFill>
                <a:effectLst/>
                <a:uLnTx/>
                <a:uFillTx/>
                <a:latin typeface="Segoe UI"/>
                <a:ea typeface="+mn-ea"/>
                <a:cs typeface="+mn-cs"/>
              </a:rPr>
              <a:t>ACO/ECIF</a:t>
            </a:r>
            <a:br>
              <a:rPr kumimoji="0" lang="en-US" sz="700" b="1" i="0" u="none" strike="noStrike" kern="0" cap="none" spc="0" normalizeH="0" baseline="0" noProof="0">
                <a:ln>
                  <a:noFill/>
                </a:ln>
                <a:solidFill>
                  <a:srgbClr val="1A1A1A"/>
                </a:solidFill>
                <a:effectLst/>
                <a:uLnTx/>
                <a:uFillTx/>
                <a:latin typeface="Segoe UI"/>
                <a:ea typeface="+mn-ea"/>
                <a:cs typeface="+mn-cs"/>
              </a:rPr>
            </a:br>
            <a:r>
              <a:rPr kumimoji="0" lang="en-US" sz="700" b="1" i="0" u="none" strike="noStrike" kern="0" cap="none" spc="0" normalizeH="0" baseline="0" noProof="0">
                <a:ln>
                  <a:noFill/>
                </a:ln>
                <a:solidFill>
                  <a:srgbClr val="1A1A1A"/>
                </a:solidFill>
                <a:effectLst/>
                <a:uLnTx/>
                <a:uFillTx/>
                <a:latin typeface="Segoe UI"/>
                <a:ea typeface="+mn-ea"/>
                <a:cs typeface="+mn-cs"/>
              </a:rPr>
              <a:t>Funds</a:t>
            </a:r>
          </a:p>
        </p:txBody>
      </p:sp>
      <p:sp>
        <p:nvSpPr>
          <p:cNvPr id="99" name="bank" title="Icon of a piggy bank">
            <a:extLst>
              <a:ext uri="{FF2B5EF4-FFF2-40B4-BE49-F238E27FC236}">
                <a16:creationId xmlns:a16="http://schemas.microsoft.com/office/drawing/2014/main" id="{FAA438DF-D825-4411-9461-5F8549B428BC}"/>
              </a:ext>
            </a:extLst>
          </p:cNvPr>
          <p:cNvSpPr>
            <a:spLocks noChangeAspect="1" noEditPoints="1"/>
          </p:cNvSpPr>
          <p:nvPr/>
        </p:nvSpPr>
        <p:spPr bwMode="auto">
          <a:xfrm>
            <a:off x="7309245" y="3613680"/>
            <a:ext cx="245045" cy="226744"/>
          </a:xfrm>
          <a:custGeom>
            <a:avLst/>
            <a:gdLst>
              <a:gd name="T0" fmla="*/ 181 w 335"/>
              <a:gd name="T1" fmla="*/ 59 h 309"/>
              <a:gd name="T2" fmla="*/ 180 w 335"/>
              <a:gd name="T3" fmla="*/ 47 h 309"/>
              <a:gd name="T4" fmla="*/ 227 w 335"/>
              <a:gd name="T5" fmla="*/ 0 h 309"/>
              <a:gd name="T6" fmla="*/ 274 w 335"/>
              <a:gd name="T7" fmla="*/ 47 h 309"/>
              <a:gd name="T8" fmla="*/ 259 w 335"/>
              <a:gd name="T9" fmla="*/ 81 h 309"/>
              <a:gd name="T10" fmla="*/ 181 w 335"/>
              <a:gd name="T11" fmla="*/ 59 h 309"/>
              <a:gd name="T12" fmla="*/ 180 w 335"/>
              <a:gd name="T13" fmla="*/ 45 h 309"/>
              <a:gd name="T14" fmla="*/ 145 w 335"/>
              <a:gd name="T15" fmla="*/ 44 h 309"/>
              <a:gd name="T16" fmla="*/ 92 w 335"/>
              <a:gd name="T17" fmla="*/ 11 h 309"/>
              <a:gd name="T18" fmla="*/ 92 w 335"/>
              <a:gd name="T19" fmla="*/ 62 h 309"/>
              <a:gd name="T20" fmla="*/ 89 w 335"/>
              <a:gd name="T21" fmla="*/ 66 h 309"/>
              <a:gd name="T22" fmla="*/ 56 w 335"/>
              <a:gd name="T23" fmla="*/ 92 h 309"/>
              <a:gd name="T24" fmla="*/ 19 w 335"/>
              <a:gd name="T25" fmla="*/ 134 h 309"/>
              <a:gd name="T26" fmla="*/ 0 w 335"/>
              <a:gd name="T27" fmla="*/ 154 h 309"/>
              <a:gd name="T28" fmla="*/ 0 w 335"/>
              <a:gd name="T29" fmla="*/ 178 h 309"/>
              <a:gd name="T30" fmla="*/ 19 w 335"/>
              <a:gd name="T31" fmla="*/ 198 h 309"/>
              <a:gd name="T32" fmla="*/ 28 w 335"/>
              <a:gd name="T33" fmla="*/ 198 h 309"/>
              <a:gd name="T34" fmla="*/ 89 w 335"/>
              <a:gd name="T35" fmla="*/ 264 h 309"/>
              <a:gd name="T36" fmla="*/ 89 w 335"/>
              <a:gd name="T37" fmla="*/ 289 h 309"/>
              <a:gd name="T38" fmla="*/ 108 w 335"/>
              <a:gd name="T39" fmla="*/ 309 h 309"/>
              <a:gd name="T40" fmla="*/ 133 w 335"/>
              <a:gd name="T41" fmla="*/ 309 h 309"/>
              <a:gd name="T42" fmla="*/ 152 w 335"/>
              <a:gd name="T43" fmla="*/ 289 h 309"/>
              <a:gd name="T44" fmla="*/ 226 w 335"/>
              <a:gd name="T45" fmla="*/ 289 h 309"/>
              <a:gd name="T46" fmla="*/ 245 w 335"/>
              <a:gd name="T47" fmla="*/ 309 h 309"/>
              <a:gd name="T48" fmla="*/ 270 w 335"/>
              <a:gd name="T49" fmla="*/ 309 h 309"/>
              <a:gd name="T50" fmla="*/ 289 w 335"/>
              <a:gd name="T51" fmla="*/ 289 h 309"/>
              <a:gd name="T52" fmla="*/ 289 w 335"/>
              <a:gd name="T53" fmla="*/ 251 h 309"/>
              <a:gd name="T54" fmla="*/ 335 w 335"/>
              <a:gd name="T55" fmla="*/ 167 h 309"/>
              <a:gd name="T56" fmla="*/ 268 w 335"/>
              <a:gd name="T57" fmla="*/ 70 h 309"/>
              <a:gd name="T58" fmla="*/ 89 w 335"/>
              <a:gd name="T59" fmla="*/ 137 h 309"/>
              <a:gd name="T60" fmla="*/ 94 w 335"/>
              <a:gd name="T61" fmla="*/ 132 h 309"/>
              <a:gd name="T62" fmla="*/ 89 w 335"/>
              <a:gd name="T63" fmla="*/ 127 h 309"/>
              <a:gd name="T64" fmla="*/ 84 w 335"/>
              <a:gd name="T65" fmla="*/ 132 h 309"/>
              <a:gd name="T66" fmla="*/ 89 w 335"/>
              <a:gd name="T67" fmla="*/ 13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5" h="309">
                <a:moveTo>
                  <a:pt x="181" y="59"/>
                </a:moveTo>
                <a:cubicBezTo>
                  <a:pt x="180" y="55"/>
                  <a:pt x="180" y="51"/>
                  <a:pt x="180" y="47"/>
                </a:cubicBezTo>
                <a:cubicBezTo>
                  <a:pt x="180" y="21"/>
                  <a:pt x="201" y="0"/>
                  <a:pt x="227" y="0"/>
                </a:cubicBezTo>
                <a:cubicBezTo>
                  <a:pt x="253" y="0"/>
                  <a:pt x="274" y="21"/>
                  <a:pt x="274" y="47"/>
                </a:cubicBezTo>
                <a:cubicBezTo>
                  <a:pt x="274" y="60"/>
                  <a:pt x="268" y="73"/>
                  <a:pt x="259" y="81"/>
                </a:cubicBezTo>
                <a:lnTo>
                  <a:pt x="181" y="59"/>
                </a:lnTo>
                <a:close/>
                <a:moveTo>
                  <a:pt x="180" y="45"/>
                </a:moveTo>
                <a:cubicBezTo>
                  <a:pt x="145" y="44"/>
                  <a:pt x="145" y="44"/>
                  <a:pt x="145" y="44"/>
                </a:cubicBezTo>
                <a:cubicBezTo>
                  <a:pt x="92" y="11"/>
                  <a:pt x="92" y="11"/>
                  <a:pt x="92" y="11"/>
                </a:cubicBezTo>
                <a:cubicBezTo>
                  <a:pt x="92" y="62"/>
                  <a:pt x="92" y="62"/>
                  <a:pt x="92" y="62"/>
                </a:cubicBezTo>
                <a:cubicBezTo>
                  <a:pt x="92" y="64"/>
                  <a:pt x="91" y="66"/>
                  <a:pt x="89" y="66"/>
                </a:cubicBezTo>
                <a:cubicBezTo>
                  <a:pt x="85" y="68"/>
                  <a:pt x="76" y="74"/>
                  <a:pt x="56" y="92"/>
                </a:cubicBezTo>
                <a:cubicBezTo>
                  <a:pt x="24" y="120"/>
                  <a:pt x="19" y="134"/>
                  <a:pt x="19" y="134"/>
                </a:cubicBezTo>
                <a:cubicBezTo>
                  <a:pt x="8" y="134"/>
                  <a:pt x="0" y="143"/>
                  <a:pt x="0" y="154"/>
                </a:cubicBezTo>
                <a:cubicBezTo>
                  <a:pt x="0" y="178"/>
                  <a:pt x="0" y="178"/>
                  <a:pt x="0" y="178"/>
                </a:cubicBezTo>
                <a:cubicBezTo>
                  <a:pt x="0" y="189"/>
                  <a:pt x="8" y="198"/>
                  <a:pt x="19" y="198"/>
                </a:cubicBezTo>
                <a:cubicBezTo>
                  <a:pt x="28" y="198"/>
                  <a:pt x="28" y="198"/>
                  <a:pt x="28" y="198"/>
                </a:cubicBezTo>
                <a:cubicBezTo>
                  <a:pt x="28" y="237"/>
                  <a:pt x="62" y="264"/>
                  <a:pt x="89" y="264"/>
                </a:cubicBezTo>
                <a:cubicBezTo>
                  <a:pt x="89" y="289"/>
                  <a:pt x="89" y="289"/>
                  <a:pt x="89" y="289"/>
                </a:cubicBezTo>
                <a:cubicBezTo>
                  <a:pt x="89" y="300"/>
                  <a:pt x="98" y="309"/>
                  <a:pt x="108" y="309"/>
                </a:cubicBezTo>
                <a:cubicBezTo>
                  <a:pt x="133" y="309"/>
                  <a:pt x="133" y="309"/>
                  <a:pt x="133" y="309"/>
                </a:cubicBezTo>
                <a:cubicBezTo>
                  <a:pt x="144" y="309"/>
                  <a:pt x="152" y="300"/>
                  <a:pt x="152" y="289"/>
                </a:cubicBezTo>
                <a:cubicBezTo>
                  <a:pt x="226" y="289"/>
                  <a:pt x="226" y="289"/>
                  <a:pt x="226" y="289"/>
                </a:cubicBezTo>
                <a:cubicBezTo>
                  <a:pt x="226" y="300"/>
                  <a:pt x="235" y="309"/>
                  <a:pt x="245" y="309"/>
                </a:cubicBezTo>
                <a:cubicBezTo>
                  <a:pt x="270" y="309"/>
                  <a:pt x="270" y="309"/>
                  <a:pt x="270" y="309"/>
                </a:cubicBezTo>
                <a:cubicBezTo>
                  <a:pt x="281" y="309"/>
                  <a:pt x="289" y="300"/>
                  <a:pt x="289" y="289"/>
                </a:cubicBezTo>
                <a:cubicBezTo>
                  <a:pt x="289" y="251"/>
                  <a:pt x="289" y="251"/>
                  <a:pt x="289" y="251"/>
                </a:cubicBezTo>
                <a:cubicBezTo>
                  <a:pt x="317" y="233"/>
                  <a:pt x="335" y="202"/>
                  <a:pt x="335" y="167"/>
                </a:cubicBezTo>
                <a:cubicBezTo>
                  <a:pt x="335" y="123"/>
                  <a:pt x="306" y="85"/>
                  <a:pt x="268" y="70"/>
                </a:cubicBezTo>
                <a:moveTo>
                  <a:pt x="89" y="137"/>
                </a:moveTo>
                <a:cubicBezTo>
                  <a:pt x="92" y="137"/>
                  <a:pt x="94" y="135"/>
                  <a:pt x="94" y="132"/>
                </a:cubicBezTo>
                <a:cubicBezTo>
                  <a:pt x="94" y="129"/>
                  <a:pt x="92" y="127"/>
                  <a:pt x="89" y="127"/>
                </a:cubicBezTo>
                <a:cubicBezTo>
                  <a:pt x="86" y="127"/>
                  <a:pt x="84" y="129"/>
                  <a:pt x="84" y="132"/>
                </a:cubicBezTo>
                <a:cubicBezTo>
                  <a:pt x="84" y="135"/>
                  <a:pt x="86" y="137"/>
                  <a:pt x="89" y="137"/>
                </a:cubicBezTo>
                <a:close/>
              </a:path>
            </a:pathLst>
          </a:custGeom>
          <a:noFill/>
          <a:ln w="15875" cap="sq">
            <a:solidFill>
              <a:srgbClr val="1A1A1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a:ea typeface="+mn-ea"/>
              <a:cs typeface="+mn-cs"/>
            </a:endParaRPr>
          </a:p>
        </p:txBody>
      </p:sp>
      <p:sp>
        <p:nvSpPr>
          <p:cNvPr id="100" name="Rectangle 99">
            <a:extLst>
              <a:ext uri="{FF2B5EF4-FFF2-40B4-BE49-F238E27FC236}">
                <a16:creationId xmlns:a16="http://schemas.microsoft.com/office/drawing/2014/main" id="{9C4560F9-B8EA-4E59-A11B-89651E3A611F}"/>
              </a:ext>
            </a:extLst>
          </p:cNvPr>
          <p:cNvSpPr/>
          <p:nvPr/>
        </p:nvSpPr>
        <p:spPr>
          <a:xfrm>
            <a:off x="6039237" y="2380335"/>
            <a:ext cx="1378452" cy="24622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What are my cloud options</a:t>
            </a:r>
          </a:p>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Output: </a:t>
            </a: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Defined Milestones</a:t>
            </a:r>
          </a:p>
        </p:txBody>
      </p:sp>
      <p:sp>
        <p:nvSpPr>
          <p:cNvPr id="101" name="TextBox 100">
            <a:extLst>
              <a:ext uri="{FF2B5EF4-FFF2-40B4-BE49-F238E27FC236}">
                <a16:creationId xmlns:a16="http://schemas.microsoft.com/office/drawing/2014/main" id="{4B4387EB-C6CB-4568-B09F-388A277E8318}"/>
              </a:ext>
            </a:extLst>
          </p:cNvPr>
          <p:cNvSpPr txBox="1"/>
          <p:nvPr/>
        </p:nvSpPr>
        <p:spPr>
          <a:xfrm>
            <a:off x="9561907" y="4258851"/>
            <a:ext cx="825322" cy="194669"/>
          </a:xfrm>
          <a:prstGeom prst="rect">
            <a:avLst/>
          </a:prstGeom>
          <a:noFill/>
        </p:spPr>
        <p:txBody>
          <a:bodyPr wrap="square" rtlCol="0">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7030A0"/>
                </a:solidFill>
                <a:effectLst/>
                <a:uLnTx/>
                <a:uFillTx/>
                <a:latin typeface="Segoe UI"/>
                <a:ea typeface="+mn-ea"/>
                <a:cs typeface="+mn-cs"/>
              </a:rPr>
              <a:t>Cloud Factory</a:t>
            </a:r>
          </a:p>
        </p:txBody>
      </p:sp>
      <p:sp>
        <p:nvSpPr>
          <p:cNvPr id="102" name="cloud" title="Icon of a cloud">
            <a:extLst>
              <a:ext uri="{FF2B5EF4-FFF2-40B4-BE49-F238E27FC236}">
                <a16:creationId xmlns:a16="http://schemas.microsoft.com/office/drawing/2014/main" id="{562B4ED3-EA33-482C-ADD2-86474CBC8A63}"/>
              </a:ext>
            </a:extLst>
          </p:cNvPr>
          <p:cNvSpPr>
            <a:spLocks noChangeAspect="1"/>
          </p:cNvSpPr>
          <p:nvPr/>
        </p:nvSpPr>
        <p:spPr bwMode="auto">
          <a:xfrm>
            <a:off x="9252608" y="4256247"/>
            <a:ext cx="298848" cy="19039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 name="TextBox 102">
            <a:extLst>
              <a:ext uri="{FF2B5EF4-FFF2-40B4-BE49-F238E27FC236}">
                <a16:creationId xmlns:a16="http://schemas.microsoft.com/office/drawing/2014/main" id="{BBA2E982-EEC8-42F9-81AC-4CDCCEAA8D0C}"/>
              </a:ext>
            </a:extLst>
          </p:cNvPr>
          <p:cNvSpPr txBox="1"/>
          <p:nvPr/>
        </p:nvSpPr>
        <p:spPr>
          <a:xfrm>
            <a:off x="3525335" y="2965609"/>
            <a:ext cx="1134101" cy="604012"/>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FF0000"/>
                </a:solidFill>
                <a:effectLst/>
                <a:uLnTx/>
                <a:uFillTx/>
                <a:latin typeface="Segoe UI"/>
                <a:ea typeface="+mn-ea"/>
                <a:cs typeface="+mn-cs"/>
              </a:rPr>
              <a:t>Azure Training Days (Always on):</a:t>
            </a:r>
          </a:p>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FF0000"/>
                </a:solidFill>
                <a:effectLst/>
                <a:uLnTx/>
                <a:uFillTx/>
                <a:latin typeface="Segoe UI"/>
                <a:ea typeface="+mn-ea"/>
                <a:cs typeface="+mn-cs"/>
              </a:rPr>
              <a:t>Fundamentals*</a:t>
            </a:r>
          </a:p>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FF0000"/>
                </a:solidFill>
                <a:effectLst/>
                <a:uLnTx/>
                <a:uFillTx/>
                <a:latin typeface="Segoe UI"/>
                <a:ea typeface="+mn-ea"/>
                <a:cs typeface="+mn-cs"/>
              </a:rPr>
              <a:t>Migrating Server Infrastructure</a:t>
            </a:r>
          </a:p>
        </p:txBody>
      </p:sp>
      <p:pic>
        <p:nvPicPr>
          <p:cNvPr id="104" name="Graphic 69" descr="Teacher">
            <a:extLst>
              <a:ext uri="{FF2B5EF4-FFF2-40B4-BE49-F238E27FC236}">
                <a16:creationId xmlns:a16="http://schemas.microsoft.com/office/drawing/2014/main" id="{9EC7C166-FAF8-4F4E-8B39-A564B8E05A9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97456" y="2894739"/>
            <a:ext cx="296315" cy="296315"/>
          </a:xfrm>
          <a:prstGeom prst="rect">
            <a:avLst/>
          </a:prstGeom>
        </p:spPr>
      </p:pic>
      <p:sp>
        <p:nvSpPr>
          <p:cNvPr id="105" name="TextBox 42">
            <a:extLst>
              <a:ext uri="{FF2B5EF4-FFF2-40B4-BE49-F238E27FC236}">
                <a16:creationId xmlns:a16="http://schemas.microsoft.com/office/drawing/2014/main" id="{D02FDF9D-09CE-44D4-B8C1-0371AA271107}"/>
              </a:ext>
            </a:extLst>
          </p:cNvPr>
          <p:cNvSpPr txBox="1"/>
          <p:nvPr/>
        </p:nvSpPr>
        <p:spPr>
          <a:xfrm>
            <a:off x="7844689" y="3061195"/>
            <a:ext cx="992979"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pl-PL" sz="700" b="1" i="0" u="none" strike="noStrike" kern="0" cap="none" spc="0" normalizeH="0" baseline="0" noProof="0">
                <a:ln>
                  <a:noFill/>
                </a:ln>
                <a:solidFill>
                  <a:srgbClr val="243A5E"/>
                </a:solidFill>
                <a:effectLst/>
                <a:uLnTx/>
                <a:uFillTx/>
                <a:latin typeface="Segoe UI"/>
                <a:ea typeface="+mn-ea"/>
                <a:cs typeface="+mn-cs"/>
              </a:rPr>
              <a:t>AMP for WS/SQL Server migration </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pic>
        <p:nvPicPr>
          <p:cNvPr id="106" name="Grafika 32" descr="Koła zębate">
            <a:extLst>
              <a:ext uri="{FF2B5EF4-FFF2-40B4-BE49-F238E27FC236}">
                <a16:creationId xmlns:a16="http://schemas.microsoft.com/office/drawing/2014/main" id="{61DFA038-8504-4D74-A25C-217CE3E8EB5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36147" y="3035276"/>
            <a:ext cx="317266" cy="317266"/>
          </a:xfrm>
          <a:prstGeom prst="rect">
            <a:avLst/>
          </a:prstGeom>
        </p:spPr>
      </p:pic>
      <p:grpSp>
        <p:nvGrpSpPr>
          <p:cNvPr id="107" name="Group 106">
            <a:extLst>
              <a:ext uri="{FF2B5EF4-FFF2-40B4-BE49-F238E27FC236}">
                <a16:creationId xmlns:a16="http://schemas.microsoft.com/office/drawing/2014/main" id="{36DA9DE6-8FAE-493A-BCA4-1255461F551E}"/>
              </a:ext>
            </a:extLst>
          </p:cNvPr>
          <p:cNvGrpSpPr/>
          <p:nvPr/>
        </p:nvGrpSpPr>
        <p:grpSpPr>
          <a:xfrm>
            <a:off x="8673979" y="2935593"/>
            <a:ext cx="825322" cy="2492378"/>
            <a:chOff x="10517721" y="2663055"/>
            <a:chExt cx="825322" cy="2492378"/>
          </a:xfrm>
        </p:grpSpPr>
        <p:sp>
          <p:nvSpPr>
            <p:cNvPr id="108" name="Rectangle 107">
              <a:extLst>
                <a:ext uri="{FF2B5EF4-FFF2-40B4-BE49-F238E27FC236}">
                  <a16:creationId xmlns:a16="http://schemas.microsoft.com/office/drawing/2014/main" id="{CC6C1FA9-5028-437F-B702-BF49F58FEC48}"/>
                </a:ext>
              </a:extLst>
            </p:cNvPr>
            <p:cNvSpPr/>
            <p:nvPr/>
          </p:nvSpPr>
          <p:spPr bwMode="auto">
            <a:xfrm>
              <a:off x="10597632" y="2663055"/>
              <a:ext cx="447818" cy="2492378"/>
            </a:xfrm>
            <a:prstGeom prst="rect">
              <a:avLst/>
            </a:prstGeom>
            <a:solidFill>
              <a:srgbClr val="0078D4">
                <a:alpha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TextBox 36">
              <a:extLst>
                <a:ext uri="{FF2B5EF4-FFF2-40B4-BE49-F238E27FC236}">
                  <a16:creationId xmlns:a16="http://schemas.microsoft.com/office/drawing/2014/main" id="{3A2C70A0-A773-450E-9497-7618CAB0253D}"/>
                </a:ext>
              </a:extLst>
            </p:cNvPr>
            <p:cNvSpPr txBox="1"/>
            <p:nvPr/>
          </p:nvSpPr>
          <p:spPr>
            <a:xfrm>
              <a:off x="10517721" y="3596300"/>
              <a:ext cx="825322" cy="194669"/>
            </a:xfrm>
            <a:prstGeom prst="rect">
              <a:avLst/>
            </a:prstGeom>
            <a:noFill/>
          </p:spPr>
          <p:txBody>
            <a:bodyPr wrap="square" rtlCol="0">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7030A0"/>
                  </a:solidFill>
                  <a:effectLst/>
                  <a:uLnTx/>
                  <a:uFillTx/>
                  <a:latin typeface="Segoe UI"/>
                  <a:ea typeface="+mn-ea"/>
                  <a:cs typeface="+mn-cs"/>
                </a:rPr>
                <a:t>Fast Track</a:t>
              </a:r>
            </a:p>
          </p:txBody>
        </p:sp>
        <p:pic>
          <p:nvPicPr>
            <p:cNvPr id="110" name="Graphic 109" descr="Race Car">
              <a:extLst>
                <a:ext uri="{FF2B5EF4-FFF2-40B4-BE49-F238E27FC236}">
                  <a16:creationId xmlns:a16="http://schemas.microsoft.com/office/drawing/2014/main" id="{225F745C-DD56-43C4-9B06-7186F5B6B3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616100" y="3278692"/>
              <a:ext cx="408977" cy="408977"/>
            </a:xfrm>
            <a:prstGeom prst="rect">
              <a:avLst/>
            </a:prstGeom>
          </p:spPr>
        </p:pic>
      </p:grpSp>
      <p:sp>
        <p:nvSpPr>
          <p:cNvPr id="111" name="TextBox 110">
            <a:extLst>
              <a:ext uri="{FF2B5EF4-FFF2-40B4-BE49-F238E27FC236}">
                <a16:creationId xmlns:a16="http://schemas.microsoft.com/office/drawing/2014/main" id="{37F3E8ED-FDF8-4C62-8AE3-2E569A3FC179}"/>
              </a:ext>
            </a:extLst>
          </p:cNvPr>
          <p:cNvSpPr txBox="1"/>
          <p:nvPr/>
        </p:nvSpPr>
        <p:spPr>
          <a:xfrm>
            <a:off x="153206" y="4414709"/>
            <a:ext cx="1340258" cy="430887"/>
          </a:xfrm>
          <a:prstGeom prst="rect">
            <a:avLst/>
          </a:prstGeom>
          <a:solidFill>
            <a:srgbClr val="FFFFFF"/>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0000"/>
                </a:solidFill>
                <a:effectLst/>
                <a:uLnTx/>
                <a:uFillTx/>
                <a:latin typeface="Segoe UI"/>
                <a:ea typeface="+mn-ea"/>
                <a:cs typeface="+mn-cs"/>
              </a:rPr>
              <a:t>Red Text = Area Execu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78D4"/>
                </a:solidFill>
                <a:effectLst/>
                <a:uLnTx/>
                <a:uFillTx/>
                <a:latin typeface="Segoe UI"/>
                <a:ea typeface="+mn-ea"/>
                <a:cs typeface="+mn-cs"/>
              </a:rPr>
              <a:t>Blue Text = Locally Execu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7030A0"/>
                </a:solidFill>
                <a:effectLst/>
                <a:uLnTx/>
                <a:uFillTx/>
                <a:latin typeface="Segoe UI"/>
                <a:ea typeface="+mn-ea"/>
                <a:cs typeface="+mn-cs"/>
              </a:rPr>
              <a:t>Purple Text = Corp Progr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1A1A1A"/>
                </a:solidFill>
                <a:effectLst/>
                <a:uLnTx/>
                <a:uFillTx/>
                <a:latin typeface="Segoe UI"/>
                <a:ea typeface="+mn-ea"/>
                <a:cs typeface="+mn-cs"/>
              </a:rPr>
              <a:t>Black Text = CEE Program</a:t>
            </a:r>
          </a:p>
        </p:txBody>
      </p:sp>
      <p:sp>
        <p:nvSpPr>
          <p:cNvPr id="113" name="TextBox 36">
            <a:extLst>
              <a:ext uri="{FF2B5EF4-FFF2-40B4-BE49-F238E27FC236}">
                <a16:creationId xmlns:a16="http://schemas.microsoft.com/office/drawing/2014/main" id="{6AC150A6-7991-4A1A-8E6F-CD3098E8A3A7}"/>
              </a:ext>
            </a:extLst>
          </p:cNvPr>
          <p:cNvSpPr txBox="1"/>
          <p:nvPr/>
        </p:nvSpPr>
        <p:spPr>
          <a:xfrm>
            <a:off x="9656562" y="5215128"/>
            <a:ext cx="1723737" cy="194669"/>
          </a:xfrm>
          <a:prstGeom prst="rect">
            <a:avLst/>
          </a:prstGeom>
          <a:noFill/>
        </p:spPr>
        <p:txBody>
          <a:bodyPr wrap="square" rtlCol="0">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cs-CZ" sz="700" b="1" i="0" u="none" strike="noStrike" kern="0" cap="none" spc="0" normalizeH="0" baseline="0" noProof="0">
                <a:ln>
                  <a:noFill/>
                </a:ln>
                <a:solidFill>
                  <a:srgbClr val="7030A0"/>
                </a:solidFill>
                <a:effectLst/>
                <a:uLnTx/>
                <a:uFillTx/>
                <a:latin typeface="Segoe UI"/>
                <a:ea typeface="+mn-ea"/>
                <a:cs typeface="+mn-cs"/>
              </a:rPr>
              <a:t>ACO / Azure Credit Offer</a:t>
            </a:r>
            <a:endParaRPr kumimoji="0" lang="en-US" sz="700" b="1" i="0" u="none" strike="noStrike" kern="0" cap="none" spc="0" normalizeH="0" baseline="0" noProof="0">
              <a:ln>
                <a:noFill/>
              </a:ln>
              <a:solidFill>
                <a:srgbClr val="7030A0"/>
              </a:solidFill>
              <a:effectLst/>
              <a:uLnTx/>
              <a:uFillTx/>
              <a:latin typeface="Segoe UI"/>
              <a:ea typeface="+mn-ea"/>
              <a:cs typeface="+mn-cs"/>
            </a:endParaRPr>
          </a:p>
        </p:txBody>
      </p:sp>
      <p:pic>
        <p:nvPicPr>
          <p:cNvPr id="114" name="Graphic 113" descr="Speedometer Low">
            <a:extLst>
              <a:ext uri="{FF2B5EF4-FFF2-40B4-BE49-F238E27FC236}">
                <a16:creationId xmlns:a16="http://schemas.microsoft.com/office/drawing/2014/main" id="{B1106E65-B2C5-4940-A7F7-E34A832F1138}"/>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75050" y="5126276"/>
            <a:ext cx="376289" cy="376289"/>
          </a:xfrm>
          <a:prstGeom prst="rect">
            <a:avLst/>
          </a:prstGeom>
        </p:spPr>
      </p:pic>
      <p:sp>
        <p:nvSpPr>
          <p:cNvPr id="115" name="Rectangle 114">
            <a:extLst>
              <a:ext uri="{FF2B5EF4-FFF2-40B4-BE49-F238E27FC236}">
                <a16:creationId xmlns:a16="http://schemas.microsoft.com/office/drawing/2014/main" id="{D7E64B06-CC0E-4C6D-9FC0-837DE58FC1F2}"/>
              </a:ext>
            </a:extLst>
          </p:cNvPr>
          <p:cNvSpPr/>
          <p:nvPr/>
        </p:nvSpPr>
        <p:spPr bwMode="auto">
          <a:xfrm>
            <a:off x="5799203" y="2942642"/>
            <a:ext cx="447818" cy="2492378"/>
          </a:xfrm>
          <a:prstGeom prst="rect">
            <a:avLst/>
          </a:prstGeom>
          <a:solidFill>
            <a:srgbClr val="0078D4">
              <a:alpha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bank" title="Icon of a piggy bank">
            <a:extLst>
              <a:ext uri="{FF2B5EF4-FFF2-40B4-BE49-F238E27FC236}">
                <a16:creationId xmlns:a16="http://schemas.microsoft.com/office/drawing/2014/main" id="{2A92795E-A140-49D9-903D-36D4FF81F107}"/>
              </a:ext>
            </a:extLst>
          </p:cNvPr>
          <p:cNvSpPr>
            <a:spLocks noChangeAspect="1" noEditPoints="1"/>
          </p:cNvSpPr>
          <p:nvPr/>
        </p:nvSpPr>
        <p:spPr bwMode="auto">
          <a:xfrm>
            <a:off x="5887862" y="3634982"/>
            <a:ext cx="245045" cy="226744"/>
          </a:xfrm>
          <a:custGeom>
            <a:avLst/>
            <a:gdLst>
              <a:gd name="T0" fmla="*/ 181 w 335"/>
              <a:gd name="T1" fmla="*/ 59 h 309"/>
              <a:gd name="T2" fmla="*/ 180 w 335"/>
              <a:gd name="T3" fmla="*/ 47 h 309"/>
              <a:gd name="T4" fmla="*/ 227 w 335"/>
              <a:gd name="T5" fmla="*/ 0 h 309"/>
              <a:gd name="T6" fmla="*/ 274 w 335"/>
              <a:gd name="T7" fmla="*/ 47 h 309"/>
              <a:gd name="T8" fmla="*/ 259 w 335"/>
              <a:gd name="T9" fmla="*/ 81 h 309"/>
              <a:gd name="T10" fmla="*/ 181 w 335"/>
              <a:gd name="T11" fmla="*/ 59 h 309"/>
              <a:gd name="T12" fmla="*/ 180 w 335"/>
              <a:gd name="T13" fmla="*/ 45 h 309"/>
              <a:gd name="T14" fmla="*/ 145 w 335"/>
              <a:gd name="T15" fmla="*/ 44 h 309"/>
              <a:gd name="T16" fmla="*/ 92 w 335"/>
              <a:gd name="T17" fmla="*/ 11 h 309"/>
              <a:gd name="T18" fmla="*/ 92 w 335"/>
              <a:gd name="T19" fmla="*/ 62 h 309"/>
              <a:gd name="T20" fmla="*/ 89 w 335"/>
              <a:gd name="T21" fmla="*/ 66 h 309"/>
              <a:gd name="T22" fmla="*/ 56 w 335"/>
              <a:gd name="T23" fmla="*/ 92 h 309"/>
              <a:gd name="T24" fmla="*/ 19 w 335"/>
              <a:gd name="T25" fmla="*/ 134 h 309"/>
              <a:gd name="T26" fmla="*/ 0 w 335"/>
              <a:gd name="T27" fmla="*/ 154 h 309"/>
              <a:gd name="T28" fmla="*/ 0 w 335"/>
              <a:gd name="T29" fmla="*/ 178 h 309"/>
              <a:gd name="T30" fmla="*/ 19 w 335"/>
              <a:gd name="T31" fmla="*/ 198 h 309"/>
              <a:gd name="T32" fmla="*/ 28 w 335"/>
              <a:gd name="T33" fmla="*/ 198 h 309"/>
              <a:gd name="T34" fmla="*/ 89 w 335"/>
              <a:gd name="T35" fmla="*/ 264 h 309"/>
              <a:gd name="T36" fmla="*/ 89 w 335"/>
              <a:gd name="T37" fmla="*/ 289 h 309"/>
              <a:gd name="T38" fmla="*/ 108 w 335"/>
              <a:gd name="T39" fmla="*/ 309 h 309"/>
              <a:gd name="T40" fmla="*/ 133 w 335"/>
              <a:gd name="T41" fmla="*/ 309 h 309"/>
              <a:gd name="T42" fmla="*/ 152 w 335"/>
              <a:gd name="T43" fmla="*/ 289 h 309"/>
              <a:gd name="T44" fmla="*/ 226 w 335"/>
              <a:gd name="T45" fmla="*/ 289 h 309"/>
              <a:gd name="T46" fmla="*/ 245 w 335"/>
              <a:gd name="T47" fmla="*/ 309 h 309"/>
              <a:gd name="T48" fmla="*/ 270 w 335"/>
              <a:gd name="T49" fmla="*/ 309 h 309"/>
              <a:gd name="T50" fmla="*/ 289 w 335"/>
              <a:gd name="T51" fmla="*/ 289 h 309"/>
              <a:gd name="T52" fmla="*/ 289 w 335"/>
              <a:gd name="T53" fmla="*/ 251 h 309"/>
              <a:gd name="T54" fmla="*/ 335 w 335"/>
              <a:gd name="T55" fmla="*/ 167 h 309"/>
              <a:gd name="T56" fmla="*/ 268 w 335"/>
              <a:gd name="T57" fmla="*/ 70 h 309"/>
              <a:gd name="T58" fmla="*/ 89 w 335"/>
              <a:gd name="T59" fmla="*/ 137 h 309"/>
              <a:gd name="T60" fmla="*/ 94 w 335"/>
              <a:gd name="T61" fmla="*/ 132 h 309"/>
              <a:gd name="T62" fmla="*/ 89 w 335"/>
              <a:gd name="T63" fmla="*/ 127 h 309"/>
              <a:gd name="T64" fmla="*/ 84 w 335"/>
              <a:gd name="T65" fmla="*/ 132 h 309"/>
              <a:gd name="T66" fmla="*/ 89 w 335"/>
              <a:gd name="T67" fmla="*/ 13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5" h="309">
                <a:moveTo>
                  <a:pt x="181" y="59"/>
                </a:moveTo>
                <a:cubicBezTo>
                  <a:pt x="180" y="55"/>
                  <a:pt x="180" y="51"/>
                  <a:pt x="180" y="47"/>
                </a:cubicBezTo>
                <a:cubicBezTo>
                  <a:pt x="180" y="21"/>
                  <a:pt x="201" y="0"/>
                  <a:pt x="227" y="0"/>
                </a:cubicBezTo>
                <a:cubicBezTo>
                  <a:pt x="253" y="0"/>
                  <a:pt x="274" y="21"/>
                  <a:pt x="274" y="47"/>
                </a:cubicBezTo>
                <a:cubicBezTo>
                  <a:pt x="274" y="60"/>
                  <a:pt x="268" y="73"/>
                  <a:pt x="259" y="81"/>
                </a:cubicBezTo>
                <a:lnTo>
                  <a:pt x="181" y="59"/>
                </a:lnTo>
                <a:close/>
                <a:moveTo>
                  <a:pt x="180" y="45"/>
                </a:moveTo>
                <a:cubicBezTo>
                  <a:pt x="145" y="44"/>
                  <a:pt x="145" y="44"/>
                  <a:pt x="145" y="44"/>
                </a:cubicBezTo>
                <a:cubicBezTo>
                  <a:pt x="92" y="11"/>
                  <a:pt x="92" y="11"/>
                  <a:pt x="92" y="11"/>
                </a:cubicBezTo>
                <a:cubicBezTo>
                  <a:pt x="92" y="62"/>
                  <a:pt x="92" y="62"/>
                  <a:pt x="92" y="62"/>
                </a:cubicBezTo>
                <a:cubicBezTo>
                  <a:pt x="92" y="64"/>
                  <a:pt x="91" y="66"/>
                  <a:pt x="89" y="66"/>
                </a:cubicBezTo>
                <a:cubicBezTo>
                  <a:pt x="85" y="68"/>
                  <a:pt x="76" y="74"/>
                  <a:pt x="56" y="92"/>
                </a:cubicBezTo>
                <a:cubicBezTo>
                  <a:pt x="24" y="120"/>
                  <a:pt x="19" y="134"/>
                  <a:pt x="19" y="134"/>
                </a:cubicBezTo>
                <a:cubicBezTo>
                  <a:pt x="8" y="134"/>
                  <a:pt x="0" y="143"/>
                  <a:pt x="0" y="154"/>
                </a:cubicBezTo>
                <a:cubicBezTo>
                  <a:pt x="0" y="178"/>
                  <a:pt x="0" y="178"/>
                  <a:pt x="0" y="178"/>
                </a:cubicBezTo>
                <a:cubicBezTo>
                  <a:pt x="0" y="189"/>
                  <a:pt x="8" y="198"/>
                  <a:pt x="19" y="198"/>
                </a:cubicBezTo>
                <a:cubicBezTo>
                  <a:pt x="28" y="198"/>
                  <a:pt x="28" y="198"/>
                  <a:pt x="28" y="198"/>
                </a:cubicBezTo>
                <a:cubicBezTo>
                  <a:pt x="28" y="237"/>
                  <a:pt x="62" y="264"/>
                  <a:pt x="89" y="264"/>
                </a:cubicBezTo>
                <a:cubicBezTo>
                  <a:pt x="89" y="289"/>
                  <a:pt x="89" y="289"/>
                  <a:pt x="89" y="289"/>
                </a:cubicBezTo>
                <a:cubicBezTo>
                  <a:pt x="89" y="300"/>
                  <a:pt x="98" y="309"/>
                  <a:pt x="108" y="309"/>
                </a:cubicBezTo>
                <a:cubicBezTo>
                  <a:pt x="133" y="309"/>
                  <a:pt x="133" y="309"/>
                  <a:pt x="133" y="309"/>
                </a:cubicBezTo>
                <a:cubicBezTo>
                  <a:pt x="144" y="309"/>
                  <a:pt x="152" y="300"/>
                  <a:pt x="152" y="289"/>
                </a:cubicBezTo>
                <a:cubicBezTo>
                  <a:pt x="226" y="289"/>
                  <a:pt x="226" y="289"/>
                  <a:pt x="226" y="289"/>
                </a:cubicBezTo>
                <a:cubicBezTo>
                  <a:pt x="226" y="300"/>
                  <a:pt x="235" y="309"/>
                  <a:pt x="245" y="309"/>
                </a:cubicBezTo>
                <a:cubicBezTo>
                  <a:pt x="270" y="309"/>
                  <a:pt x="270" y="309"/>
                  <a:pt x="270" y="309"/>
                </a:cubicBezTo>
                <a:cubicBezTo>
                  <a:pt x="281" y="309"/>
                  <a:pt x="289" y="300"/>
                  <a:pt x="289" y="289"/>
                </a:cubicBezTo>
                <a:cubicBezTo>
                  <a:pt x="289" y="251"/>
                  <a:pt x="289" y="251"/>
                  <a:pt x="289" y="251"/>
                </a:cubicBezTo>
                <a:cubicBezTo>
                  <a:pt x="317" y="233"/>
                  <a:pt x="335" y="202"/>
                  <a:pt x="335" y="167"/>
                </a:cubicBezTo>
                <a:cubicBezTo>
                  <a:pt x="335" y="123"/>
                  <a:pt x="306" y="85"/>
                  <a:pt x="268" y="70"/>
                </a:cubicBezTo>
                <a:moveTo>
                  <a:pt x="89" y="137"/>
                </a:moveTo>
                <a:cubicBezTo>
                  <a:pt x="92" y="137"/>
                  <a:pt x="94" y="135"/>
                  <a:pt x="94" y="132"/>
                </a:cubicBezTo>
                <a:cubicBezTo>
                  <a:pt x="94" y="129"/>
                  <a:pt x="92" y="127"/>
                  <a:pt x="89" y="127"/>
                </a:cubicBezTo>
                <a:cubicBezTo>
                  <a:pt x="86" y="127"/>
                  <a:pt x="84" y="129"/>
                  <a:pt x="84" y="132"/>
                </a:cubicBezTo>
                <a:cubicBezTo>
                  <a:pt x="84" y="135"/>
                  <a:pt x="86" y="137"/>
                  <a:pt x="89" y="137"/>
                </a:cubicBezTo>
                <a:close/>
              </a:path>
            </a:pathLst>
          </a:custGeom>
          <a:noFill/>
          <a:ln w="15875" cap="sq">
            <a:solidFill>
              <a:srgbClr val="1A1A1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a:ea typeface="+mn-ea"/>
              <a:cs typeface="+mn-cs"/>
            </a:endParaRPr>
          </a:p>
        </p:txBody>
      </p:sp>
      <p:sp>
        <p:nvSpPr>
          <p:cNvPr id="117" name="TextBox 116">
            <a:extLst>
              <a:ext uri="{FF2B5EF4-FFF2-40B4-BE49-F238E27FC236}">
                <a16:creationId xmlns:a16="http://schemas.microsoft.com/office/drawing/2014/main" id="{97AD6269-957E-40B9-AD6C-C44A694E4B17}"/>
              </a:ext>
            </a:extLst>
          </p:cNvPr>
          <p:cNvSpPr txBox="1"/>
          <p:nvPr/>
        </p:nvSpPr>
        <p:spPr>
          <a:xfrm>
            <a:off x="5624296" y="3880128"/>
            <a:ext cx="799310" cy="399340"/>
          </a:xfrm>
          <a:prstGeom prst="rect">
            <a:avLst/>
          </a:prstGeom>
          <a:noFill/>
        </p:spPr>
        <p:txBody>
          <a:bodyPr wrap="square" rtlCol="0">
            <a:spAutoFit/>
          </a:bodyPr>
          <a:lstStyle/>
          <a:p>
            <a:pPr marL="0" marR="0" lvl="0" indent="0" algn="ctr"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1A1A1A"/>
                </a:solidFill>
                <a:effectLst/>
                <a:uLnTx/>
                <a:uFillTx/>
                <a:latin typeface="Segoe UI"/>
                <a:ea typeface="+mn-ea"/>
                <a:cs typeface="+mn-cs"/>
              </a:rPr>
              <a:t>CEE </a:t>
            </a:r>
            <a:br>
              <a:rPr kumimoji="0" lang="en-US" sz="700" b="1" i="0" u="none" strike="noStrike" kern="0" cap="none" spc="0" normalizeH="0" baseline="0" noProof="0">
                <a:ln>
                  <a:noFill/>
                </a:ln>
                <a:solidFill>
                  <a:srgbClr val="1A1A1A"/>
                </a:solidFill>
                <a:effectLst/>
                <a:uLnTx/>
                <a:uFillTx/>
                <a:latin typeface="Segoe UI"/>
                <a:ea typeface="+mn-ea"/>
                <a:cs typeface="+mn-cs"/>
              </a:rPr>
            </a:br>
            <a:r>
              <a:rPr kumimoji="0" lang="en-US" sz="700" b="1" i="0" u="none" strike="noStrike" kern="0" cap="none" spc="0" normalizeH="0" baseline="0" noProof="0">
                <a:ln>
                  <a:noFill/>
                </a:ln>
                <a:solidFill>
                  <a:srgbClr val="1A1A1A"/>
                </a:solidFill>
                <a:effectLst/>
                <a:uLnTx/>
                <a:uFillTx/>
                <a:latin typeface="Segoe UI"/>
                <a:ea typeface="+mn-ea"/>
                <a:cs typeface="+mn-cs"/>
              </a:rPr>
              <a:t>ECIF</a:t>
            </a:r>
            <a:br>
              <a:rPr kumimoji="0" lang="en-US" sz="700" b="1" i="0" u="none" strike="noStrike" kern="0" cap="none" spc="0" normalizeH="0" baseline="0" noProof="0">
                <a:ln>
                  <a:noFill/>
                </a:ln>
                <a:solidFill>
                  <a:srgbClr val="1A1A1A"/>
                </a:solidFill>
                <a:effectLst/>
                <a:uLnTx/>
                <a:uFillTx/>
                <a:latin typeface="Segoe UI"/>
                <a:ea typeface="+mn-ea"/>
                <a:cs typeface="+mn-cs"/>
              </a:rPr>
            </a:br>
            <a:r>
              <a:rPr kumimoji="0" lang="en-US" sz="700" b="1" i="0" u="none" strike="noStrike" kern="0" cap="none" spc="0" normalizeH="0" baseline="0" noProof="0">
                <a:ln>
                  <a:noFill/>
                </a:ln>
                <a:solidFill>
                  <a:srgbClr val="1A1A1A"/>
                </a:solidFill>
                <a:effectLst/>
                <a:uLnTx/>
                <a:uFillTx/>
                <a:latin typeface="Segoe UI"/>
                <a:ea typeface="+mn-ea"/>
                <a:cs typeface="+mn-cs"/>
              </a:rPr>
              <a:t>Funds</a:t>
            </a:r>
          </a:p>
        </p:txBody>
      </p:sp>
      <p:sp>
        <p:nvSpPr>
          <p:cNvPr id="118" name="TextBox 117">
            <a:extLst>
              <a:ext uri="{FF2B5EF4-FFF2-40B4-BE49-F238E27FC236}">
                <a16:creationId xmlns:a16="http://schemas.microsoft.com/office/drawing/2014/main" id="{3D3BAE8D-637F-4BE9-ACC0-F484A1915EC5}"/>
              </a:ext>
            </a:extLst>
          </p:cNvPr>
          <p:cNvSpPr txBox="1"/>
          <p:nvPr/>
        </p:nvSpPr>
        <p:spPr>
          <a:xfrm>
            <a:off x="3511181" y="5265352"/>
            <a:ext cx="1134101" cy="194669"/>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cs-CZ" sz="700" b="1" i="0" u="none" strike="noStrike" kern="0" cap="none" spc="0" normalizeH="0" baseline="0" noProof="0">
                <a:ln>
                  <a:noFill/>
                </a:ln>
                <a:solidFill>
                  <a:srgbClr val="FF0000"/>
                </a:solidFill>
                <a:effectLst/>
                <a:uLnTx/>
                <a:uFillTx/>
                <a:latin typeface="Segoe UI"/>
                <a:ea typeface="+mn-ea"/>
                <a:cs typeface="+mn-cs"/>
              </a:rPr>
              <a:t>Webinar Serries</a:t>
            </a:r>
            <a:endParaRPr kumimoji="0" lang="en-US" sz="700" b="0" i="0" u="none" strike="noStrike" kern="0" cap="none" spc="0" normalizeH="0" baseline="0" noProof="0">
              <a:ln>
                <a:noFill/>
              </a:ln>
              <a:solidFill>
                <a:srgbClr val="FF0000"/>
              </a:solidFill>
              <a:effectLst/>
              <a:uLnTx/>
              <a:uFillTx/>
              <a:latin typeface="Segoe UI"/>
              <a:ea typeface="+mn-ea"/>
              <a:cs typeface="+mn-cs"/>
            </a:endParaRPr>
          </a:p>
        </p:txBody>
      </p:sp>
      <p:pic>
        <p:nvPicPr>
          <p:cNvPr id="119" name="Graphic 118" descr="Internet">
            <a:extLst>
              <a:ext uri="{FF2B5EF4-FFF2-40B4-BE49-F238E27FC236}">
                <a16:creationId xmlns:a16="http://schemas.microsoft.com/office/drawing/2014/main" id="{EC5634FA-F969-4325-B64E-1D8F1BC333B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68884" y="4212374"/>
            <a:ext cx="319907" cy="319907"/>
          </a:xfrm>
          <a:prstGeom prst="rect">
            <a:avLst/>
          </a:prstGeom>
        </p:spPr>
      </p:pic>
      <p:sp>
        <p:nvSpPr>
          <p:cNvPr id="120" name="TextBox 119">
            <a:extLst>
              <a:ext uri="{FF2B5EF4-FFF2-40B4-BE49-F238E27FC236}">
                <a16:creationId xmlns:a16="http://schemas.microsoft.com/office/drawing/2014/main" id="{1F84C8D5-3E62-49FA-9E6A-DDA005BF9A9B}"/>
              </a:ext>
            </a:extLst>
          </p:cNvPr>
          <p:cNvSpPr txBox="1"/>
          <p:nvPr/>
        </p:nvSpPr>
        <p:spPr>
          <a:xfrm>
            <a:off x="3548419" y="4796772"/>
            <a:ext cx="1134101"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cs-CZ" sz="700" b="1" i="0" u="none" strike="noStrike" kern="0" cap="none" spc="0" normalizeH="0" baseline="0" noProof="0">
                <a:ln>
                  <a:noFill/>
                </a:ln>
                <a:solidFill>
                  <a:srgbClr val="FF0000"/>
                </a:solidFill>
                <a:effectLst/>
                <a:uLnTx/>
                <a:uFillTx/>
                <a:latin typeface="Segoe UI"/>
                <a:ea typeface="+mn-ea"/>
                <a:cs typeface="+mn-cs"/>
              </a:rPr>
              <a:t>V</a:t>
            </a:r>
            <a:r>
              <a:rPr kumimoji="0" lang="en-US" sz="700" b="1" i="0" u="none" strike="noStrike" kern="0" cap="none" spc="0" normalizeH="0" baseline="0" noProof="0" err="1">
                <a:ln>
                  <a:noFill/>
                </a:ln>
                <a:solidFill>
                  <a:srgbClr val="FF0000"/>
                </a:solidFill>
                <a:effectLst/>
                <a:uLnTx/>
                <a:uFillTx/>
                <a:latin typeface="Segoe UI"/>
                <a:ea typeface="+mn-ea"/>
                <a:cs typeface="+mn-cs"/>
              </a:rPr>
              <a:t>irtual</a:t>
            </a:r>
            <a:r>
              <a:rPr kumimoji="0" lang="en-US" sz="700" b="1" i="0" u="none" strike="noStrike" kern="0" cap="none" spc="0" normalizeH="0" baseline="0" noProof="0">
                <a:ln>
                  <a:noFill/>
                </a:ln>
                <a:solidFill>
                  <a:srgbClr val="FF0000"/>
                </a:solidFill>
                <a:effectLst/>
                <a:uLnTx/>
                <a:uFillTx/>
                <a:latin typeface="Segoe UI"/>
                <a:ea typeface="+mn-ea"/>
                <a:cs typeface="+mn-cs"/>
              </a:rPr>
              <a:t> SAP tours, digital promo</a:t>
            </a:r>
            <a:endParaRPr kumimoji="0" lang="en-US" sz="700" b="0" i="0" u="none" strike="noStrike" kern="0" cap="none" spc="0" normalizeH="0" baseline="0" noProof="0">
              <a:ln>
                <a:noFill/>
              </a:ln>
              <a:solidFill>
                <a:srgbClr val="FF0000"/>
              </a:solidFill>
              <a:effectLst/>
              <a:uLnTx/>
              <a:uFillTx/>
              <a:latin typeface="Segoe UI"/>
              <a:ea typeface="+mn-ea"/>
              <a:cs typeface="+mn-cs"/>
            </a:endParaRPr>
          </a:p>
        </p:txBody>
      </p:sp>
      <p:pic>
        <p:nvPicPr>
          <p:cNvPr id="121" name="Graphic 120" descr="Internet">
            <a:extLst>
              <a:ext uri="{FF2B5EF4-FFF2-40B4-BE49-F238E27FC236}">
                <a16:creationId xmlns:a16="http://schemas.microsoft.com/office/drawing/2014/main" id="{DEA0EF9E-3566-4E9E-90B4-BD5C1C9039AB}"/>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85660" y="5040136"/>
            <a:ext cx="319907" cy="319907"/>
          </a:xfrm>
          <a:prstGeom prst="rect">
            <a:avLst/>
          </a:prstGeom>
        </p:spPr>
      </p:pic>
      <p:sp>
        <p:nvSpPr>
          <p:cNvPr id="122" name="TextBox 1">
            <a:extLst>
              <a:ext uri="{FF2B5EF4-FFF2-40B4-BE49-F238E27FC236}">
                <a16:creationId xmlns:a16="http://schemas.microsoft.com/office/drawing/2014/main" id="{69378AB9-F37C-4991-9A86-6391D7D0F61E}"/>
              </a:ext>
            </a:extLst>
          </p:cNvPr>
          <p:cNvSpPr txBox="1"/>
          <p:nvPr/>
        </p:nvSpPr>
        <p:spPr>
          <a:xfrm>
            <a:off x="4994644" y="4279187"/>
            <a:ext cx="664117"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cs-CZ" sz="700" b="1" i="0" u="none" strike="noStrike" kern="0" cap="none" spc="0" normalizeH="0" baseline="0" noProof="0">
                <a:ln>
                  <a:noFill/>
                </a:ln>
                <a:solidFill>
                  <a:srgbClr val="243A5E"/>
                </a:solidFill>
                <a:effectLst/>
                <a:uLnTx/>
                <a:uFillTx/>
                <a:latin typeface="Segoe UI"/>
                <a:ea typeface="+mn-ea"/>
                <a:cs typeface="+mn-cs"/>
              </a:rPr>
              <a:t>WVD In A Day</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sp>
        <p:nvSpPr>
          <p:cNvPr id="123" name="TextBox 122">
            <a:extLst>
              <a:ext uri="{FF2B5EF4-FFF2-40B4-BE49-F238E27FC236}">
                <a16:creationId xmlns:a16="http://schemas.microsoft.com/office/drawing/2014/main" id="{40718914-169F-40BC-91DC-2F091A340E92}"/>
              </a:ext>
            </a:extLst>
          </p:cNvPr>
          <p:cNvSpPr txBox="1"/>
          <p:nvPr/>
        </p:nvSpPr>
        <p:spPr>
          <a:xfrm>
            <a:off x="3530415" y="4312826"/>
            <a:ext cx="1134101" cy="194669"/>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cs-CZ" sz="700" b="1" i="0" u="none" strike="noStrike" kern="0" cap="none" spc="0" normalizeH="0" baseline="0" noProof="0">
                <a:ln>
                  <a:noFill/>
                </a:ln>
                <a:solidFill>
                  <a:srgbClr val="FF0000"/>
                </a:solidFill>
                <a:effectLst/>
                <a:uLnTx/>
                <a:uFillTx/>
                <a:latin typeface="Segoe UI"/>
                <a:ea typeface="+mn-ea"/>
                <a:cs typeface="+mn-cs"/>
              </a:rPr>
              <a:t>Enable Remote Work </a:t>
            </a:r>
            <a:endParaRPr kumimoji="0" lang="en-US" sz="700" b="0" i="0" u="none" strike="noStrike" kern="0" cap="none" spc="0" normalizeH="0" baseline="0" noProof="0">
              <a:ln>
                <a:noFill/>
              </a:ln>
              <a:solidFill>
                <a:srgbClr val="FF0000"/>
              </a:solidFill>
              <a:effectLst/>
              <a:uLnTx/>
              <a:uFillTx/>
              <a:latin typeface="Segoe UI"/>
              <a:ea typeface="+mn-ea"/>
              <a:cs typeface="+mn-cs"/>
            </a:endParaRPr>
          </a:p>
        </p:txBody>
      </p:sp>
      <p:pic>
        <p:nvPicPr>
          <p:cNvPr id="124" name="Graphic 123" descr="Meeting">
            <a:extLst>
              <a:ext uri="{FF2B5EF4-FFF2-40B4-BE49-F238E27FC236}">
                <a16:creationId xmlns:a16="http://schemas.microsoft.com/office/drawing/2014/main" id="{0FC093CC-665D-4418-A8CD-91F60DBD0620}"/>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159620" y="4679998"/>
            <a:ext cx="371987" cy="371987"/>
          </a:xfrm>
          <a:prstGeom prst="rect">
            <a:avLst/>
          </a:prstGeom>
        </p:spPr>
      </p:pic>
      <p:sp>
        <p:nvSpPr>
          <p:cNvPr id="125" name="TextBox 124">
            <a:extLst>
              <a:ext uri="{FF2B5EF4-FFF2-40B4-BE49-F238E27FC236}">
                <a16:creationId xmlns:a16="http://schemas.microsoft.com/office/drawing/2014/main" id="{22D01DBE-E24C-4E11-93F9-4BFBD84C4B77}"/>
              </a:ext>
            </a:extLst>
          </p:cNvPr>
          <p:cNvSpPr txBox="1"/>
          <p:nvPr/>
        </p:nvSpPr>
        <p:spPr>
          <a:xfrm>
            <a:off x="3511181" y="3756109"/>
            <a:ext cx="1134101"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FF0000"/>
                </a:solidFill>
                <a:effectLst/>
                <a:uLnTx/>
                <a:uFillTx/>
                <a:latin typeface="Segoe UI"/>
                <a:ea typeface="+mn-ea"/>
                <a:cs typeface="+mn-cs"/>
              </a:rPr>
              <a:t>Digital Marketing (GEP), </a:t>
            </a:r>
            <a:endParaRPr kumimoji="0" lang="en-US" sz="700" b="0" i="0" u="none" strike="noStrike" kern="0" cap="none" spc="0" normalizeH="0" baseline="0" noProof="0">
              <a:ln>
                <a:noFill/>
              </a:ln>
              <a:solidFill>
                <a:srgbClr val="FF0000"/>
              </a:solidFill>
              <a:effectLst/>
              <a:uLnTx/>
              <a:uFillTx/>
              <a:latin typeface="Segoe UI"/>
              <a:ea typeface="+mn-ea"/>
              <a:cs typeface="+mn-cs"/>
            </a:endParaRPr>
          </a:p>
        </p:txBody>
      </p:sp>
      <p:pic>
        <p:nvPicPr>
          <p:cNvPr id="126" name="Graphic 125" descr="Meeting">
            <a:extLst>
              <a:ext uri="{FF2B5EF4-FFF2-40B4-BE49-F238E27FC236}">
                <a16:creationId xmlns:a16="http://schemas.microsoft.com/office/drawing/2014/main" id="{7971655D-3210-4283-A800-12C70287B7AD}"/>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169281" y="3622450"/>
            <a:ext cx="371987" cy="371987"/>
          </a:xfrm>
          <a:prstGeom prst="rect">
            <a:avLst/>
          </a:prstGeom>
        </p:spPr>
      </p:pic>
      <p:sp>
        <p:nvSpPr>
          <p:cNvPr id="127" name="TextBox 126">
            <a:extLst>
              <a:ext uri="{FF2B5EF4-FFF2-40B4-BE49-F238E27FC236}">
                <a16:creationId xmlns:a16="http://schemas.microsoft.com/office/drawing/2014/main" id="{C4606D42-46F0-46D3-8AEC-E7DF63FBE60E}"/>
              </a:ext>
            </a:extLst>
          </p:cNvPr>
          <p:cNvSpPr txBox="1"/>
          <p:nvPr/>
        </p:nvSpPr>
        <p:spPr>
          <a:xfrm>
            <a:off x="3485731" y="5282725"/>
            <a:ext cx="1134101" cy="194669"/>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cs-CZ" sz="700" b="1" i="0" u="none" strike="noStrike" kern="0" cap="none" spc="0" normalizeH="0" baseline="0" noProof="0">
                <a:ln>
                  <a:noFill/>
                </a:ln>
                <a:solidFill>
                  <a:srgbClr val="FF0000"/>
                </a:solidFill>
                <a:effectLst/>
                <a:uLnTx/>
                <a:uFillTx/>
                <a:latin typeface="Segoe UI"/>
                <a:ea typeface="+mn-ea"/>
                <a:cs typeface="+mn-cs"/>
              </a:rPr>
              <a:t> </a:t>
            </a:r>
            <a:endParaRPr kumimoji="0" lang="en-US" sz="700" b="0" i="0" u="none" strike="noStrike" kern="0" cap="none" spc="0" normalizeH="0" baseline="0" noProof="0">
              <a:ln>
                <a:noFill/>
              </a:ln>
              <a:solidFill>
                <a:srgbClr val="FF0000"/>
              </a:solidFill>
              <a:effectLst/>
              <a:uLnTx/>
              <a:uFillTx/>
              <a:latin typeface="Segoe UI"/>
              <a:ea typeface="+mn-ea"/>
              <a:cs typeface="+mn-cs"/>
            </a:endParaRPr>
          </a:p>
        </p:txBody>
      </p:sp>
      <p:pic>
        <p:nvPicPr>
          <p:cNvPr id="128" name="Graphic 127" descr="Meeting">
            <a:extLst>
              <a:ext uri="{FF2B5EF4-FFF2-40B4-BE49-F238E27FC236}">
                <a16:creationId xmlns:a16="http://schemas.microsoft.com/office/drawing/2014/main" id="{46A70E7C-C4FB-4030-BE4C-9925E72D6956}"/>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159620" y="5291772"/>
            <a:ext cx="371987" cy="371987"/>
          </a:xfrm>
          <a:prstGeom prst="rect">
            <a:avLst/>
          </a:prstGeom>
        </p:spPr>
      </p:pic>
      <p:sp>
        <p:nvSpPr>
          <p:cNvPr id="130" name="speech_5" title="Icon of two overlapping chat bubbles">
            <a:extLst>
              <a:ext uri="{FF2B5EF4-FFF2-40B4-BE49-F238E27FC236}">
                <a16:creationId xmlns:a16="http://schemas.microsoft.com/office/drawing/2014/main" id="{4C311789-21E4-4B7D-91D9-5A2792AACB3E}"/>
              </a:ext>
            </a:extLst>
          </p:cNvPr>
          <p:cNvSpPr>
            <a:spLocks noChangeAspect="1" noEditPoints="1"/>
          </p:cNvSpPr>
          <p:nvPr/>
        </p:nvSpPr>
        <p:spPr bwMode="auto">
          <a:xfrm>
            <a:off x="4667714" y="4861702"/>
            <a:ext cx="248972" cy="194669"/>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 name="Rectangle 130">
            <a:extLst>
              <a:ext uri="{FF2B5EF4-FFF2-40B4-BE49-F238E27FC236}">
                <a16:creationId xmlns:a16="http://schemas.microsoft.com/office/drawing/2014/main" id="{9DB0FA01-6AC6-4001-AE5D-863CC9C2E88E}"/>
              </a:ext>
            </a:extLst>
          </p:cNvPr>
          <p:cNvSpPr/>
          <p:nvPr/>
        </p:nvSpPr>
        <p:spPr>
          <a:xfrm>
            <a:off x="1751832" y="4957223"/>
            <a:ext cx="1200203" cy="12311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cs-CZ" sz="800" b="1" i="0" u="none" strike="noStrike" kern="0" cap="none" spc="0" normalizeH="0" baseline="0" noProof="0">
                <a:ln>
                  <a:noFill/>
                </a:ln>
                <a:solidFill>
                  <a:srgbClr val="1A1A1A"/>
                </a:solidFill>
                <a:effectLst/>
                <a:uLnTx/>
                <a:uFillTx/>
                <a:latin typeface="Segoe UI"/>
                <a:ea typeface="+mn-ea"/>
                <a:cs typeface="+mn-cs"/>
              </a:rPr>
              <a:t>SAP on Azure</a:t>
            </a:r>
            <a:endParaRPr kumimoji="0" lang="en-US" sz="800" b="1" i="0" u="none" strike="noStrike" kern="0" cap="none" spc="0" normalizeH="0" baseline="0" noProof="0">
              <a:ln>
                <a:noFill/>
              </a:ln>
              <a:solidFill>
                <a:srgbClr val="1A1A1A"/>
              </a:solidFill>
              <a:effectLst/>
              <a:uLnTx/>
              <a:uFillTx/>
              <a:latin typeface="Segoe UI"/>
              <a:ea typeface="+mn-ea"/>
              <a:cs typeface="+mn-cs"/>
            </a:endParaRPr>
          </a:p>
        </p:txBody>
      </p:sp>
      <p:sp>
        <p:nvSpPr>
          <p:cNvPr id="132" name="speech_5" title="Icon of two overlapping chat bubbles">
            <a:extLst>
              <a:ext uri="{FF2B5EF4-FFF2-40B4-BE49-F238E27FC236}">
                <a16:creationId xmlns:a16="http://schemas.microsoft.com/office/drawing/2014/main" id="{34F7EEBF-DF09-4F3D-83E8-2F9FC5BC4D0B}"/>
              </a:ext>
            </a:extLst>
          </p:cNvPr>
          <p:cNvSpPr>
            <a:spLocks noChangeAspect="1" noEditPoints="1"/>
          </p:cNvSpPr>
          <p:nvPr/>
        </p:nvSpPr>
        <p:spPr bwMode="auto">
          <a:xfrm>
            <a:off x="4654453" y="4260547"/>
            <a:ext cx="248972" cy="194669"/>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 name="TextBox 42">
            <a:extLst>
              <a:ext uri="{FF2B5EF4-FFF2-40B4-BE49-F238E27FC236}">
                <a16:creationId xmlns:a16="http://schemas.microsoft.com/office/drawing/2014/main" id="{6D4D07E9-8A42-4B91-8FC9-324645487FBD}"/>
              </a:ext>
            </a:extLst>
          </p:cNvPr>
          <p:cNvSpPr txBox="1"/>
          <p:nvPr/>
        </p:nvSpPr>
        <p:spPr>
          <a:xfrm>
            <a:off x="7838846" y="3501734"/>
            <a:ext cx="992979"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pl-PL" sz="700" b="1" i="0" u="none" strike="noStrike" kern="0" cap="none" spc="0" normalizeH="0" baseline="0" noProof="0">
                <a:ln>
                  <a:noFill/>
                </a:ln>
                <a:solidFill>
                  <a:srgbClr val="243A5E"/>
                </a:solidFill>
                <a:effectLst/>
                <a:uLnTx/>
                <a:uFillTx/>
                <a:latin typeface="Segoe UI"/>
                <a:ea typeface="+mn-ea"/>
                <a:cs typeface="+mn-cs"/>
              </a:rPr>
              <a:t>AMP for Linux migration </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pic>
        <p:nvPicPr>
          <p:cNvPr id="134" name="Grafika 32" descr="Koła zębate">
            <a:extLst>
              <a:ext uri="{FF2B5EF4-FFF2-40B4-BE49-F238E27FC236}">
                <a16:creationId xmlns:a16="http://schemas.microsoft.com/office/drawing/2014/main" id="{7221DBAD-FE42-4F62-A403-DA279503910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30304" y="3475815"/>
            <a:ext cx="317266" cy="317266"/>
          </a:xfrm>
          <a:prstGeom prst="rect">
            <a:avLst/>
          </a:prstGeom>
        </p:spPr>
      </p:pic>
      <p:sp>
        <p:nvSpPr>
          <p:cNvPr id="135" name="TextBox 42">
            <a:extLst>
              <a:ext uri="{FF2B5EF4-FFF2-40B4-BE49-F238E27FC236}">
                <a16:creationId xmlns:a16="http://schemas.microsoft.com/office/drawing/2014/main" id="{2290ECEA-DDE1-485A-9F0D-BFA74B759F78}"/>
              </a:ext>
            </a:extLst>
          </p:cNvPr>
          <p:cNvSpPr txBox="1"/>
          <p:nvPr/>
        </p:nvSpPr>
        <p:spPr>
          <a:xfrm>
            <a:off x="7876122" y="3903355"/>
            <a:ext cx="992979" cy="399340"/>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pl-PL" sz="700" b="1" i="0" u="none" strike="noStrike" kern="0" cap="none" spc="0" normalizeH="0" baseline="0" noProof="0">
                <a:ln>
                  <a:noFill/>
                </a:ln>
                <a:solidFill>
                  <a:srgbClr val="243A5E"/>
                </a:solidFill>
                <a:effectLst/>
                <a:uLnTx/>
                <a:uFillTx/>
                <a:latin typeface="Segoe UI"/>
                <a:ea typeface="+mn-ea"/>
                <a:cs typeface="+mn-cs"/>
              </a:rPr>
              <a:t>AMP for MySQL Database migration </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pic>
        <p:nvPicPr>
          <p:cNvPr id="136" name="Picture 135">
            <a:extLst>
              <a:ext uri="{FF2B5EF4-FFF2-40B4-BE49-F238E27FC236}">
                <a16:creationId xmlns:a16="http://schemas.microsoft.com/office/drawing/2014/main" id="{C5550181-EF41-4570-90EB-57CDEFA9AA64}"/>
              </a:ext>
            </a:extLst>
          </p:cNvPr>
          <p:cNvPicPr>
            <a:picLocks noChangeAspect="1"/>
          </p:cNvPicPr>
          <p:nvPr/>
        </p:nvPicPr>
        <p:blipFill>
          <a:blip r:embed="rId16"/>
          <a:stretch>
            <a:fillRect/>
          </a:stretch>
        </p:blipFill>
        <p:spPr>
          <a:xfrm>
            <a:off x="7634971" y="3953345"/>
            <a:ext cx="317019" cy="317019"/>
          </a:xfrm>
          <a:prstGeom prst="rect">
            <a:avLst/>
          </a:prstGeom>
        </p:spPr>
      </p:pic>
      <p:sp>
        <p:nvSpPr>
          <p:cNvPr id="137" name="TextBox 136">
            <a:extLst>
              <a:ext uri="{FF2B5EF4-FFF2-40B4-BE49-F238E27FC236}">
                <a16:creationId xmlns:a16="http://schemas.microsoft.com/office/drawing/2014/main" id="{C6EEAE6D-330A-44BB-AEAB-6813C87C4B2E}"/>
              </a:ext>
            </a:extLst>
          </p:cNvPr>
          <p:cNvSpPr txBox="1"/>
          <p:nvPr/>
        </p:nvSpPr>
        <p:spPr>
          <a:xfrm>
            <a:off x="6402735" y="3359366"/>
            <a:ext cx="826319"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cs-CZ" sz="700" b="1" i="0" u="none" strike="noStrike" kern="0" cap="none" spc="0" normalizeH="0" baseline="0" noProof="0">
                <a:ln>
                  <a:noFill/>
                </a:ln>
                <a:solidFill>
                  <a:srgbClr val="243A5E"/>
                </a:solidFill>
                <a:effectLst/>
                <a:uLnTx/>
                <a:uFillTx/>
                <a:latin typeface="Segoe UI"/>
                <a:ea typeface="+mn-ea"/>
                <a:cs typeface="+mn-cs"/>
              </a:rPr>
              <a:t>Assessment Roundtables </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sp>
        <p:nvSpPr>
          <p:cNvPr id="138" name="TextBox 137">
            <a:extLst>
              <a:ext uri="{FF2B5EF4-FFF2-40B4-BE49-F238E27FC236}">
                <a16:creationId xmlns:a16="http://schemas.microsoft.com/office/drawing/2014/main" id="{4CCA0494-48B8-477A-81A1-AEB69E8EF24B}"/>
              </a:ext>
            </a:extLst>
          </p:cNvPr>
          <p:cNvSpPr txBox="1"/>
          <p:nvPr/>
        </p:nvSpPr>
        <p:spPr>
          <a:xfrm>
            <a:off x="6415577" y="3896624"/>
            <a:ext cx="826319" cy="399340"/>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cs-CZ" sz="700" b="1" i="0" u="none" strike="noStrike" kern="0" cap="none" spc="0" normalizeH="0" baseline="0" noProof="0">
                <a:ln>
                  <a:noFill/>
                </a:ln>
                <a:solidFill>
                  <a:srgbClr val="243A5E"/>
                </a:solidFill>
                <a:effectLst/>
                <a:uLnTx/>
                <a:uFillTx/>
                <a:latin typeface="Segoe UI"/>
                <a:ea typeface="+mn-ea"/>
                <a:cs typeface="+mn-cs"/>
              </a:rPr>
              <a:t>Cloud Economic assessment </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spTree>
    <p:extLst>
      <p:ext uri="{BB962C8B-B14F-4D97-AF65-F5344CB8AC3E}">
        <p14:creationId xmlns:p14="http://schemas.microsoft.com/office/powerpoint/2010/main" val="361047124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8B676000-A100-4CDB-B964-AF17121DD1BB}"/>
              </a:ext>
            </a:extLst>
          </p:cNvPr>
          <p:cNvSpPr txBox="1">
            <a:spLocks/>
          </p:cNvSpPr>
          <p:nvPr/>
        </p:nvSpPr>
        <p:spPr>
          <a:xfrm>
            <a:off x="188838" y="91440"/>
            <a:ext cx="11756571" cy="484094"/>
          </a:xfrm>
          <a:prstGeom prst="rect">
            <a:avLst/>
          </a:prstGeom>
        </p:spPr>
        <p:txBody>
          <a:bodyPr/>
          <a:lst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cs-CZ" sz="2400" b="1"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rPr>
              <a:t>Innovate</a:t>
            </a:r>
            <a:endParaRPr kumimoji="0" lang="en-US" sz="2400" b="0"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endParaRPr>
          </a:p>
        </p:txBody>
      </p:sp>
      <p:pic>
        <p:nvPicPr>
          <p:cNvPr id="2" name="Picture 1" descr="A picture containing game, drawing&#10;&#10;Description automatically generated">
            <a:extLst>
              <a:ext uri="{FF2B5EF4-FFF2-40B4-BE49-F238E27FC236}">
                <a16:creationId xmlns:a16="http://schemas.microsoft.com/office/drawing/2014/main" id="{EB1A1C1B-07CD-493D-BC64-A5F23803A9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83710" y="31421"/>
            <a:ext cx="1209040" cy="643563"/>
          </a:xfrm>
          <a:prstGeom prst="rect">
            <a:avLst/>
          </a:prstGeom>
        </p:spPr>
      </p:pic>
      <p:cxnSp>
        <p:nvCxnSpPr>
          <p:cNvPr id="80" name="Straight Connector 79">
            <a:extLst>
              <a:ext uri="{FF2B5EF4-FFF2-40B4-BE49-F238E27FC236}">
                <a16:creationId xmlns:a16="http://schemas.microsoft.com/office/drawing/2014/main" id="{7C11471C-E395-4BD4-8802-7B56AD557214}"/>
              </a:ext>
            </a:extLst>
          </p:cNvPr>
          <p:cNvCxnSpPr>
            <a:cxnSpLocks/>
          </p:cNvCxnSpPr>
          <p:nvPr/>
        </p:nvCxnSpPr>
        <p:spPr>
          <a:xfrm flipV="1">
            <a:off x="67735" y="5618819"/>
            <a:ext cx="12193168" cy="16921"/>
          </a:xfrm>
          <a:prstGeom prst="line">
            <a:avLst/>
          </a:prstGeom>
          <a:noFill/>
          <a:ln w="12700" cap="flat" cmpd="sng" algn="ctr">
            <a:solidFill>
              <a:srgbClr val="FFFFFF"/>
            </a:solidFill>
            <a:prstDash val="solid"/>
          </a:ln>
          <a:effectLst/>
        </p:spPr>
      </p:cxnSp>
      <p:sp>
        <p:nvSpPr>
          <p:cNvPr id="139" name="Rectangle 138">
            <a:extLst>
              <a:ext uri="{FF2B5EF4-FFF2-40B4-BE49-F238E27FC236}">
                <a16:creationId xmlns:a16="http://schemas.microsoft.com/office/drawing/2014/main" id="{0DE7B8A6-640E-4125-8922-0AEF9F93FD27}"/>
              </a:ext>
            </a:extLst>
          </p:cNvPr>
          <p:cNvSpPr/>
          <p:nvPr/>
        </p:nvSpPr>
        <p:spPr bwMode="auto">
          <a:xfrm>
            <a:off x="68903" y="558727"/>
            <a:ext cx="11956863" cy="1390379"/>
          </a:xfrm>
          <a:prstGeom prst="rect">
            <a:avLst/>
          </a:prstGeom>
          <a:solidFill>
            <a:srgbClr val="FFFFFF">
              <a:lumMod val="95000"/>
              <a:alpha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72E7B421-36B5-4129-9533-59B3D74591C5}"/>
              </a:ext>
            </a:extLst>
          </p:cNvPr>
          <p:cNvSpPr/>
          <p:nvPr/>
        </p:nvSpPr>
        <p:spPr>
          <a:xfrm>
            <a:off x="0" y="5621463"/>
            <a:ext cx="12033149" cy="960491"/>
          </a:xfrm>
          <a:prstGeom prst="rect">
            <a:avLst/>
          </a:prstGeom>
          <a:solidFill>
            <a:srgbClr val="FFFFFF">
              <a:lumMod val="95000"/>
            </a:srgbClr>
          </a:solidFill>
          <a:ln w="10795" cap="flat" cmpd="sng" algn="ctr">
            <a:noFill/>
            <a:prstDash val="solid"/>
          </a:ln>
          <a:effectLst/>
        </p:spPr>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Roboto Light"/>
              <a:ea typeface="+mn-ea"/>
              <a:cs typeface="+mn-cs"/>
            </a:endParaRPr>
          </a:p>
        </p:txBody>
      </p:sp>
      <p:sp>
        <p:nvSpPr>
          <p:cNvPr id="141" name="Rectangle 140">
            <a:extLst>
              <a:ext uri="{FF2B5EF4-FFF2-40B4-BE49-F238E27FC236}">
                <a16:creationId xmlns:a16="http://schemas.microsoft.com/office/drawing/2014/main" id="{2AF0E2E6-CDED-4723-9599-085B0832D491}"/>
              </a:ext>
            </a:extLst>
          </p:cNvPr>
          <p:cNvSpPr/>
          <p:nvPr/>
        </p:nvSpPr>
        <p:spPr>
          <a:xfrm>
            <a:off x="68903" y="1916761"/>
            <a:ext cx="11956863" cy="3736334"/>
          </a:xfrm>
          <a:prstGeom prst="rect">
            <a:avLst/>
          </a:prstGeom>
          <a:solidFill>
            <a:srgbClr val="1A1A1A">
              <a:lumMod val="10000"/>
              <a:lumOff val="90000"/>
              <a:alpha val="67000"/>
            </a:srgbClr>
          </a:solidFill>
          <a:ln w="10795" cap="flat" cmpd="sng" algn="ctr">
            <a:noFill/>
            <a:prstDash val="solid"/>
          </a:ln>
          <a:effectLst/>
        </p:spPr>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Roboto Light"/>
              <a:ea typeface="+mn-ea"/>
              <a:cs typeface="+mn-cs"/>
            </a:endParaRPr>
          </a:p>
        </p:txBody>
      </p:sp>
      <p:sp>
        <p:nvSpPr>
          <p:cNvPr id="142" name="Rectangle 141">
            <a:extLst>
              <a:ext uri="{FF2B5EF4-FFF2-40B4-BE49-F238E27FC236}">
                <a16:creationId xmlns:a16="http://schemas.microsoft.com/office/drawing/2014/main" id="{1E23DDC0-11E3-459D-A7E7-D1B528A8524B}"/>
              </a:ext>
            </a:extLst>
          </p:cNvPr>
          <p:cNvSpPr/>
          <p:nvPr/>
        </p:nvSpPr>
        <p:spPr>
          <a:xfrm>
            <a:off x="67735" y="5643693"/>
            <a:ext cx="1466826" cy="951432"/>
          </a:xfrm>
          <a:prstGeom prst="rect">
            <a:avLst/>
          </a:prstGeom>
          <a:solidFill>
            <a:srgbClr val="0D0D0D"/>
          </a:solidFill>
          <a:ln w="10795" cap="flat" cmpd="sng" algn="ctr">
            <a:noFill/>
            <a:prstDash val="solid"/>
          </a:ln>
          <a:effectLst/>
        </p:spPr>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Roboto Light"/>
              <a:ea typeface="+mn-ea"/>
              <a:cs typeface="+mn-cs"/>
            </a:endParaRPr>
          </a:p>
        </p:txBody>
      </p:sp>
      <p:sp>
        <p:nvSpPr>
          <p:cNvPr id="143" name="Rectangle 142">
            <a:extLst>
              <a:ext uri="{FF2B5EF4-FFF2-40B4-BE49-F238E27FC236}">
                <a16:creationId xmlns:a16="http://schemas.microsoft.com/office/drawing/2014/main" id="{6443D9FE-2A57-48CE-9194-340AF5A58C22}"/>
              </a:ext>
            </a:extLst>
          </p:cNvPr>
          <p:cNvSpPr/>
          <p:nvPr/>
        </p:nvSpPr>
        <p:spPr>
          <a:xfrm>
            <a:off x="67735" y="1920080"/>
            <a:ext cx="1466826" cy="3756647"/>
          </a:xfrm>
          <a:prstGeom prst="rect">
            <a:avLst/>
          </a:prstGeom>
          <a:solidFill>
            <a:srgbClr val="243A5E"/>
          </a:solidFill>
          <a:ln>
            <a:noFill/>
          </a:ln>
          <a:effectLst/>
        </p:spPr>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Roboto Light"/>
              <a:ea typeface="+mn-ea"/>
              <a:cs typeface="+mn-cs"/>
            </a:endParaRPr>
          </a:p>
        </p:txBody>
      </p:sp>
      <p:sp>
        <p:nvSpPr>
          <p:cNvPr id="144" name="Rectangle 143">
            <a:extLst>
              <a:ext uri="{FF2B5EF4-FFF2-40B4-BE49-F238E27FC236}">
                <a16:creationId xmlns:a16="http://schemas.microsoft.com/office/drawing/2014/main" id="{462F669D-BE0C-4D84-B597-63930F6B997F}"/>
              </a:ext>
            </a:extLst>
          </p:cNvPr>
          <p:cNvSpPr/>
          <p:nvPr/>
        </p:nvSpPr>
        <p:spPr>
          <a:xfrm>
            <a:off x="68903" y="558726"/>
            <a:ext cx="1465823" cy="1371229"/>
          </a:xfrm>
          <a:prstGeom prst="rect">
            <a:avLst/>
          </a:prstGeom>
          <a:solidFill>
            <a:srgbClr val="0078D4"/>
          </a:solidFill>
          <a:ln w="10795" cap="flat" cmpd="sng" algn="ctr">
            <a:noFill/>
            <a:prstDash val="solid"/>
          </a:ln>
          <a:effectLst/>
        </p:spPr>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Roboto Light"/>
              <a:ea typeface="+mn-ea"/>
              <a:cs typeface="+mn-cs"/>
            </a:endParaRPr>
          </a:p>
        </p:txBody>
      </p:sp>
      <p:sp>
        <p:nvSpPr>
          <p:cNvPr id="145" name="Text Placeholder 6">
            <a:extLst>
              <a:ext uri="{FF2B5EF4-FFF2-40B4-BE49-F238E27FC236}">
                <a16:creationId xmlns:a16="http://schemas.microsoft.com/office/drawing/2014/main" id="{20F93505-7C10-46B3-A577-62DAA7AD4928}"/>
              </a:ext>
            </a:extLst>
          </p:cNvPr>
          <p:cNvSpPr txBox="1">
            <a:spLocks/>
          </p:cNvSpPr>
          <p:nvPr/>
        </p:nvSpPr>
        <p:spPr>
          <a:xfrm>
            <a:off x="347419" y="1150555"/>
            <a:ext cx="904030" cy="553998"/>
          </a:xfrm>
          <a:prstGeom prst="rect">
            <a:avLst/>
          </a:prstGeom>
        </p:spPr>
        <p:txBody>
          <a:bodyPr vert="horz" wrap="none" lIns="0" tIns="0" rIns="0" bIns="0" rtlCol="0">
            <a:spAutoFit/>
          </a:bodyPr>
          <a:lstStyle>
            <a:lvl1pPr marL="0" indent="0" algn="l" defTabSz="1036290" rtl="0" eaLnBrk="1" latinLnBrk="0" hangingPunct="1">
              <a:lnSpc>
                <a:spcPct val="90000"/>
              </a:lnSpc>
              <a:spcBef>
                <a:spcPts val="1133"/>
              </a:spcBef>
              <a:buFont typeface="Arial" panose="020B0604020202020204" pitchFamily="34" charset="0"/>
              <a:buNone/>
              <a:defRPr sz="2493" kern="1200">
                <a:solidFill>
                  <a:schemeClr val="bg2"/>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marL="0" marR="0" lvl="0" indent="0" algn="ctr" defTabSz="863505" rtl="0" eaLnBrk="1" fontAlgn="auto" latinLnBrk="0" hangingPunct="1">
              <a:lnSpc>
                <a:spcPct val="100000"/>
              </a:lnSpc>
              <a:spcBef>
                <a:spcPts val="500"/>
              </a:spcBef>
              <a:spcAft>
                <a:spcPts val="0"/>
              </a:spcAft>
              <a:buClrTx/>
              <a:buSzTx/>
              <a:buFont typeface="Arial" panose="020B0604020202020204" pitchFamily="34" charset="0"/>
              <a:buNone/>
              <a:tabLst/>
              <a:defRPr/>
            </a:pP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INNOVATE </a:t>
            </a:r>
            <a:b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b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Priority</a:t>
            </a:r>
            <a:b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b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OVERVIEW</a:t>
            </a:r>
          </a:p>
        </p:txBody>
      </p:sp>
      <p:sp>
        <p:nvSpPr>
          <p:cNvPr id="146" name="Text Placeholder 6">
            <a:extLst>
              <a:ext uri="{FF2B5EF4-FFF2-40B4-BE49-F238E27FC236}">
                <a16:creationId xmlns:a16="http://schemas.microsoft.com/office/drawing/2014/main" id="{BAD0B5FD-1FC3-4B77-8435-C437D41E2013}"/>
              </a:ext>
            </a:extLst>
          </p:cNvPr>
          <p:cNvSpPr txBox="1">
            <a:spLocks/>
          </p:cNvSpPr>
          <p:nvPr/>
        </p:nvSpPr>
        <p:spPr>
          <a:xfrm>
            <a:off x="321864" y="6118067"/>
            <a:ext cx="955133" cy="369332"/>
          </a:xfrm>
          <a:prstGeom prst="rect">
            <a:avLst/>
          </a:prstGeom>
        </p:spPr>
        <p:txBody>
          <a:bodyPr vert="horz" wrap="none" lIns="0" tIns="0" rIns="0" bIns="0" rtlCol="0">
            <a:spAutoFit/>
          </a:bodyPr>
          <a:lstStyle>
            <a:lvl1pPr marL="0" indent="0" algn="l" defTabSz="1036290" rtl="0" eaLnBrk="1" latinLnBrk="0" hangingPunct="1">
              <a:lnSpc>
                <a:spcPct val="90000"/>
              </a:lnSpc>
              <a:spcBef>
                <a:spcPts val="1133"/>
              </a:spcBef>
              <a:buFont typeface="Arial" panose="020B0604020202020204" pitchFamily="34" charset="0"/>
              <a:buNone/>
              <a:defRPr sz="2493" kern="1200">
                <a:solidFill>
                  <a:schemeClr val="bg2"/>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marL="0" marR="0" lvl="0" indent="0" algn="ctr" defTabSz="863505" rtl="0" eaLnBrk="1" fontAlgn="auto" latinLnBrk="0" hangingPunct="1">
              <a:lnSpc>
                <a:spcPct val="100000"/>
              </a:lnSpc>
              <a:spcBef>
                <a:spcPts val="500"/>
              </a:spcBef>
              <a:spcAft>
                <a:spcPts val="0"/>
              </a:spcAft>
              <a:buClrTx/>
              <a:buSzTx/>
              <a:buFont typeface="Arial" panose="020B0604020202020204" pitchFamily="34" charset="0"/>
              <a:buNone/>
              <a:tabLst/>
              <a:defRPr/>
            </a:pP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RELEVANT</a:t>
            </a:r>
            <a:b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b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RESOURCES</a:t>
            </a:r>
          </a:p>
        </p:txBody>
      </p:sp>
      <p:sp>
        <p:nvSpPr>
          <p:cNvPr id="147" name="Text Placeholder 6">
            <a:extLst>
              <a:ext uri="{FF2B5EF4-FFF2-40B4-BE49-F238E27FC236}">
                <a16:creationId xmlns:a16="http://schemas.microsoft.com/office/drawing/2014/main" id="{E6D477D8-26DD-40C2-97E0-D35ED47E9AE0}"/>
              </a:ext>
            </a:extLst>
          </p:cNvPr>
          <p:cNvSpPr txBox="1">
            <a:spLocks/>
          </p:cNvSpPr>
          <p:nvPr/>
        </p:nvSpPr>
        <p:spPr>
          <a:xfrm>
            <a:off x="194302" y="3408078"/>
            <a:ext cx="1210267" cy="553998"/>
          </a:xfrm>
          <a:prstGeom prst="rect">
            <a:avLst/>
          </a:prstGeom>
        </p:spPr>
        <p:txBody>
          <a:bodyPr vert="horz" wrap="none" lIns="0" tIns="0" rIns="0" bIns="0" rtlCol="0">
            <a:spAutoFit/>
          </a:bodyPr>
          <a:lstStyle>
            <a:lvl1pPr marL="0" indent="0" algn="l" defTabSz="1036290" rtl="0" eaLnBrk="1" latinLnBrk="0" hangingPunct="1">
              <a:lnSpc>
                <a:spcPct val="90000"/>
              </a:lnSpc>
              <a:spcBef>
                <a:spcPts val="1133"/>
              </a:spcBef>
              <a:buFont typeface="Arial" panose="020B0604020202020204" pitchFamily="34" charset="0"/>
              <a:buNone/>
              <a:defRPr sz="2493" kern="1200">
                <a:solidFill>
                  <a:schemeClr val="bg2"/>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marL="0" marR="0" lvl="0" indent="0" algn="ctr" defTabSz="863505" rtl="0" eaLnBrk="1" fontAlgn="auto" latinLnBrk="0" hangingPunct="1">
              <a:lnSpc>
                <a:spcPct val="100000"/>
              </a:lnSpc>
              <a:spcBef>
                <a:spcPts val="500"/>
              </a:spcBef>
              <a:spcAft>
                <a:spcPts val="0"/>
              </a:spcAft>
              <a:buClrTx/>
              <a:buSzTx/>
              <a:buFont typeface="Arial" panose="020B0604020202020204" pitchFamily="34" charset="0"/>
              <a:buNone/>
              <a:tabLst/>
              <a:defRPr/>
            </a:pP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Play Activities </a:t>
            </a:r>
            <a:b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b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by </a:t>
            </a:r>
            <a:b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br>
            <a:r>
              <a:rPr kumimoji="0" lang="en-US" sz="12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Sales Stage</a:t>
            </a:r>
          </a:p>
        </p:txBody>
      </p:sp>
      <p:graphicFrame>
        <p:nvGraphicFramePr>
          <p:cNvPr id="148" name="Table 147">
            <a:extLst>
              <a:ext uri="{FF2B5EF4-FFF2-40B4-BE49-F238E27FC236}">
                <a16:creationId xmlns:a16="http://schemas.microsoft.com/office/drawing/2014/main" id="{4B5F07B2-FC19-4D90-B251-C7E564A6F42D}"/>
              </a:ext>
            </a:extLst>
          </p:cNvPr>
          <p:cNvGraphicFramePr>
            <a:graphicFrameLocks noGrp="1"/>
          </p:cNvGraphicFramePr>
          <p:nvPr/>
        </p:nvGraphicFramePr>
        <p:xfrm>
          <a:off x="3098798" y="2857148"/>
          <a:ext cx="8780586" cy="2899262"/>
        </p:xfrm>
        <a:graphic>
          <a:graphicData uri="http://schemas.openxmlformats.org/drawingml/2006/table">
            <a:tbl>
              <a:tblPr firstRow="1" bandRow="1"/>
              <a:tblGrid>
                <a:gridCol w="1470695">
                  <a:extLst>
                    <a:ext uri="{9D8B030D-6E8A-4147-A177-3AD203B41FA5}">
                      <a16:colId xmlns:a16="http://schemas.microsoft.com/office/drawing/2014/main" val="20000"/>
                    </a:ext>
                  </a:extLst>
                </a:gridCol>
                <a:gridCol w="1430867">
                  <a:extLst>
                    <a:ext uri="{9D8B030D-6E8A-4147-A177-3AD203B41FA5}">
                      <a16:colId xmlns:a16="http://schemas.microsoft.com/office/drawing/2014/main" val="3749879296"/>
                    </a:ext>
                  </a:extLst>
                </a:gridCol>
                <a:gridCol w="1422400">
                  <a:extLst>
                    <a:ext uri="{9D8B030D-6E8A-4147-A177-3AD203B41FA5}">
                      <a16:colId xmlns:a16="http://schemas.microsoft.com/office/drawing/2014/main" val="20001"/>
                    </a:ext>
                  </a:extLst>
                </a:gridCol>
                <a:gridCol w="1473200">
                  <a:extLst>
                    <a:ext uri="{9D8B030D-6E8A-4147-A177-3AD203B41FA5}">
                      <a16:colId xmlns:a16="http://schemas.microsoft.com/office/drawing/2014/main" val="20002"/>
                    </a:ext>
                  </a:extLst>
                </a:gridCol>
                <a:gridCol w="1439333">
                  <a:extLst>
                    <a:ext uri="{9D8B030D-6E8A-4147-A177-3AD203B41FA5}">
                      <a16:colId xmlns:a16="http://schemas.microsoft.com/office/drawing/2014/main" val="20003"/>
                    </a:ext>
                  </a:extLst>
                </a:gridCol>
                <a:gridCol w="1544091">
                  <a:extLst>
                    <a:ext uri="{9D8B030D-6E8A-4147-A177-3AD203B41FA5}">
                      <a16:colId xmlns:a16="http://schemas.microsoft.com/office/drawing/2014/main" val="20004"/>
                    </a:ext>
                  </a:extLst>
                </a:gridCol>
              </a:tblGrid>
              <a:tr h="636102">
                <a:tc>
                  <a:txBody>
                    <a:bodyPr/>
                    <a:lstStyle>
                      <a:lvl1pPr marL="0" algn="l" defTabSz="1229087" rtl="0" eaLnBrk="1" latinLnBrk="0" hangingPunct="1">
                        <a:defRPr sz="2400" b="1" kern="1200">
                          <a:solidFill>
                            <a:schemeClr val="lt1"/>
                          </a:solidFill>
                          <a:latin typeface="Swis721 Cn BT"/>
                        </a:defRPr>
                      </a:lvl1pPr>
                      <a:lvl2pPr marL="614544" algn="l" defTabSz="1229087" rtl="0" eaLnBrk="1" latinLnBrk="0" hangingPunct="1">
                        <a:defRPr sz="2400" b="1" kern="1200">
                          <a:solidFill>
                            <a:schemeClr val="lt1"/>
                          </a:solidFill>
                          <a:latin typeface="Swis721 Cn BT"/>
                        </a:defRPr>
                      </a:lvl2pPr>
                      <a:lvl3pPr marL="1229087" algn="l" defTabSz="1229087" rtl="0" eaLnBrk="1" latinLnBrk="0" hangingPunct="1">
                        <a:defRPr sz="2400" b="1" kern="1200">
                          <a:solidFill>
                            <a:schemeClr val="lt1"/>
                          </a:solidFill>
                          <a:latin typeface="Swis721 Cn BT"/>
                        </a:defRPr>
                      </a:lvl3pPr>
                      <a:lvl4pPr marL="1843631" algn="l" defTabSz="1229087" rtl="0" eaLnBrk="1" latinLnBrk="0" hangingPunct="1">
                        <a:defRPr sz="2400" b="1" kern="1200">
                          <a:solidFill>
                            <a:schemeClr val="lt1"/>
                          </a:solidFill>
                          <a:latin typeface="Swis721 Cn BT"/>
                        </a:defRPr>
                      </a:lvl4pPr>
                      <a:lvl5pPr marL="2458175" algn="l" defTabSz="1229087" rtl="0" eaLnBrk="1" latinLnBrk="0" hangingPunct="1">
                        <a:defRPr sz="2400" b="1" kern="1200">
                          <a:solidFill>
                            <a:schemeClr val="lt1"/>
                          </a:solidFill>
                          <a:latin typeface="Swis721 Cn BT"/>
                        </a:defRPr>
                      </a:lvl5pPr>
                      <a:lvl6pPr marL="3072719" algn="l" defTabSz="1229087" rtl="0" eaLnBrk="1" latinLnBrk="0" hangingPunct="1">
                        <a:defRPr sz="2400" b="1" kern="1200">
                          <a:solidFill>
                            <a:schemeClr val="lt1"/>
                          </a:solidFill>
                          <a:latin typeface="Swis721 Cn BT"/>
                        </a:defRPr>
                      </a:lvl6pPr>
                      <a:lvl7pPr marL="3687262" algn="l" defTabSz="1229087" rtl="0" eaLnBrk="1" latinLnBrk="0" hangingPunct="1">
                        <a:defRPr sz="2400" b="1" kern="1200">
                          <a:solidFill>
                            <a:schemeClr val="lt1"/>
                          </a:solidFill>
                          <a:latin typeface="Swis721 Cn BT"/>
                        </a:defRPr>
                      </a:lvl7pPr>
                      <a:lvl8pPr marL="4301806" algn="l" defTabSz="1229087" rtl="0" eaLnBrk="1" latinLnBrk="0" hangingPunct="1">
                        <a:defRPr sz="2400" b="1" kern="1200">
                          <a:solidFill>
                            <a:schemeClr val="lt1"/>
                          </a:solidFill>
                          <a:latin typeface="Swis721 Cn BT"/>
                        </a:defRPr>
                      </a:lvl8pPr>
                      <a:lvl9pPr marL="4916350" algn="l" defTabSz="1229087" rtl="0" eaLnBrk="1" latinLnBrk="0" hangingPunct="1">
                        <a:defRPr sz="2400" b="1" kern="1200">
                          <a:solidFill>
                            <a:schemeClr val="lt1"/>
                          </a:solidFill>
                          <a:latin typeface="Swis721 Cn BT"/>
                        </a:defRPr>
                      </a:lvl9pPr>
                    </a:lstStyle>
                    <a:p>
                      <a:pPr marL="0" marR="0" lvl="0" indent="0" algn="l" defTabSz="122908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tx1"/>
                        </a:solidFill>
                        <a:effectLst/>
                        <a:uLnTx/>
                        <a:uFillTx/>
                        <a:latin typeface="Roboto" panose="02000000000000000000" pitchFamily="2" charset="0"/>
                        <a:ea typeface="Roboto" panose="02000000000000000000" pitchFamily="2" charset="0"/>
                        <a:cs typeface="+mn-cs"/>
                      </a:endParaRPr>
                    </a:p>
                  </a:txBody>
                  <a:tcPr marL="76200" marR="76200" marT="76200" marB="76200" anchor="ctr">
                    <a:lnL w="6350" cap="flat" cmpd="sng" algn="ctr">
                      <a:noFill/>
                      <a:prstDash val="sysDot"/>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716351" rtl="0" eaLnBrk="1" latinLnBrk="0" hangingPunct="1">
                        <a:defRPr sz="1324" kern="1200">
                          <a:solidFill>
                            <a:schemeClr val="tx1"/>
                          </a:solidFill>
                          <a:latin typeface="Segoe UI"/>
                        </a:defRPr>
                      </a:lvl1pPr>
                      <a:lvl2pPr marL="358176" algn="l" defTabSz="716351" rtl="0" eaLnBrk="1" latinLnBrk="0" hangingPunct="1">
                        <a:defRPr sz="1324" kern="1200">
                          <a:solidFill>
                            <a:schemeClr val="tx1"/>
                          </a:solidFill>
                          <a:latin typeface="Segoe UI"/>
                        </a:defRPr>
                      </a:lvl2pPr>
                      <a:lvl3pPr marL="716351" algn="l" defTabSz="716351" rtl="0" eaLnBrk="1" latinLnBrk="0" hangingPunct="1">
                        <a:defRPr sz="1324" kern="1200">
                          <a:solidFill>
                            <a:schemeClr val="tx1"/>
                          </a:solidFill>
                          <a:latin typeface="Segoe UI"/>
                        </a:defRPr>
                      </a:lvl3pPr>
                      <a:lvl4pPr marL="1074528" algn="l" defTabSz="716351" rtl="0" eaLnBrk="1" latinLnBrk="0" hangingPunct="1">
                        <a:defRPr sz="1324" kern="1200">
                          <a:solidFill>
                            <a:schemeClr val="tx1"/>
                          </a:solidFill>
                          <a:latin typeface="Segoe UI"/>
                        </a:defRPr>
                      </a:lvl4pPr>
                      <a:lvl5pPr marL="1432703" algn="l" defTabSz="716351" rtl="0" eaLnBrk="1" latinLnBrk="0" hangingPunct="1">
                        <a:defRPr sz="1324" kern="1200">
                          <a:solidFill>
                            <a:schemeClr val="tx1"/>
                          </a:solidFill>
                          <a:latin typeface="Segoe UI"/>
                        </a:defRPr>
                      </a:lvl5pPr>
                      <a:lvl6pPr marL="1790880" algn="l" defTabSz="716351" rtl="0" eaLnBrk="1" latinLnBrk="0" hangingPunct="1">
                        <a:defRPr sz="1324" kern="1200">
                          <a:solidFill>
                            <a:schemeClr val="tx1"/>
                          </a:solidFill>
                          <a:latin typeface="Segoe UI"/>
                        </a:defRPr>
                      </a:lvl6pPr>
                      <a:lvl7pPr marL="2149055" algn="l" defTabSz="716351" rtl="0" eaLnBrk="1" latinLnBrk="0" hangingPunct="1">
                        <a:defRPr sz="1324" kern="1200">
                          <a:solidFill>
                            <a:schemeClr val="tx1"/>
                          </a:solidFill>
                          <a:latin typeface="Segoe UI"/>
                        </a:defRPr>
                      </a:lvl7pPr>
                      <a:lvl8pPr marL="2507231" algn="l" defTabSz="716351" rtl="0" eaLnBrk="1" latinLnBrk="0" hangingPunct="1">
                        <a:defRPr sz="1324" kern="1200">
                          <a:solidFill>
                            <a:schemeClr val="tx1"/>
                          </a:solidFill>
                          <a:latin typeface="Segoe UI"/>
                        </a:defRPr>
                      </a:lvl8pPr>
                      <a:lvl9pPr marL="2865407" algn="l" defTabSz="716351" rtl="0" eaLnBrk="1" latinLnBrk="0" hangingPunct="1">
                        <a:defRPr sz="1324" kern="1200">
                          <a:solidFill>
                            <a:schemeClr val="tx1"/>
                          </a:solidFill>
                          <a:latin typeface="Segoe UI"/>
                        </a:defRPr>
                      </a:lvl9pPr>
                    </a:lstStyle>
                    <a:p>
                      <a:pPr marL="0" marR="0" lvl="0" indent="0" algn="l" defTabSz="122908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tx1"/>
                        </a:solidFill>
                        <a:effectLst/>
                        <a:uLnTx/>
                        <a:uFillTx/>
                        <a:latin typeface="Roboto" panose="02000000000000000000" pitchFamily="2" charset="0"/>
                        <a:ea typeface="Roboto" panose="02000000000000000000" pitchFamily="2" charset="0"/>
                        <a:cs typeface="+mn-cs"/>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1097280" rtl="0" eaLnBrk="1" latinLnBrk="0" hangingPunct="1">
                        <a:defRPr sz="2160" kern="1200">
                          <a:solidFill>
                            <a:schemeClr val="tx1"/>
                          </a:solidFill>
                          <a:latin typeface="Calibri" panose="020F0502020204030204"/>
                        </a:defRPr>
                      </a:lvl1pPr>
                      <a:lvl2pPr marL="548640" algn="l" defTabSz="1097280" rtl="0" eaLnBrk="1" latinLnBrk="0" hangingPunct="1">
                        <a:defRPr sz="2160" kern="1200">
                          <a:solidFill>
                            <a:schemeClr val="tx1"/>
                          </a:solidFill>
                          <a:latin typeface="Calibri" panose="020F0502020204030204"/>
                        </a:defRPr>
                      </a:lvl2pPr>
                      <a:lvl3pPr marL="1097280" algn="l" defTabSz="1097280" rtl="0" eaLnBrk="1" latinLnBrk="0" hangingPunct="1">
                        <a:defRPr sz="2160" kern="1200">
                          <a:solidFill>
                            <a:schemeClr val="tx1"/>
                          </a:solidFill>
                          <a:latin typeface="Calibri" panose="020F0502020204030204"/>
                        </a:defRPr>
                      </a:lvl3pPr>
                      <a:lvl4pPr marL="1645920" algn="l" defTabSz="1097280" rtl="0" eaLnBrk="1" latinLnBrk="0" hangingPunct="1">
                        <a:defRPr sz="2160" kern="1200">
                          <a:solidFill>
                            <a:schemeClr val="tx1"/>
                          </a:solidFill>
                          <a:latin typeface="Calibri" panose="020F0502020204030204"/>
                        </a:defRPr>
                      </a:lvl4pPr>
                      <a:lvl5pPr marL="2194560" algn="l" defTabSz="1097280" rtl="0" eaLnBrk="1" latinLnBrk="0" hangingPunct="1">
                        <a:defRPr sz="2160" kern="1200">
                          <a:solidFill>
                            <a:schemeClr val="tx1"/>
                          </a:solidFill>
                          <a:latin typeface="Calibri" panose="020F0502020204030204"/>
                        </a:defRPr>
                      </a:lvl5pPr>
                      <a:lvl6pPr marL="2743200" algn="l" defTabSz="1097280" rtl="0" eaLnBrk="1" latinLnBrk="0" hangingPunct="1">
                        <a:defRPr sz="2160" kern="1200">
                          <a:solidFill>
                            <a:schemeClr val="tx1"/>
                          </a:solidFill>
                          <a:latin typeface="Calibri" panose="020F0502020204030204"/>
                        </a:defRPr>
                      </a:lvl6pPr>
                      <a:lvl7pPr marL="3291840" algn="l" defTabSz="1097280" rtl="0" eaLnBrk="1" latinLnBrk="0" hangingPunct="1">
                        <a:defRPr sz="2160" kern="1200">
                          <a:solidFill>
                            <a:schemeClr val="tx1"/>
                          </a:solidFill>
                          <a:latin typeface="Calibri" panose="020F0502020204030204"/>
                        </a:defRPr>
                      </a:lvl7pPr>
                      <a:lvl8pPr marL="3840480" algn="l" defTabSz="1097280" rtl="0" eaLnBrk="1" latinLnBrk="0" hangingPunct="1">
                        <a:defRPr sz="2160" kern="1200">
                          <a:solidFill>
                            <a:schemeClr val="tx1"/>
                          </a:solidFill>
                          <a:latin typeface="Calibri" panose="020F0502020204030204"/>
                        </a:defRPr>
                      </a:lvl8pPr>
                      <a:lvl9pPr marL="4389120" algn="l" defTabSz="1097280" rtl="0" eaLnBrk="1" latinLnBrk="0" hangingPunct="1">
                        <a:defRPr sz="2160" kern="1200">
                          <a:solidFill>
                            <a:schemeClr val="tx1"/>
                          </a:solidFill>
                          <a:latin typeface="Calibri" panose="020F0502020204030204"/>
                        </a:defRPr>
                      </a:lvl9pPr>
                    </a:lstStyle>
                    <a:p>
                      <a:pPr marL="282575" marR="0" lvl="0" indent="0" algn="l" defTabSz="1305194"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tx1"/>
                        </a:solidFill>
                        <a:effectLst/>
                        <a:uLnTx/>
                        <a:uFillTx/>
                        <a:latin typeface="Roboto" panose="02000000000000000000" pitchFamily="2" charset="0"/>
                        <a:ea typeface="Roboto" panose="02000000000000000000" pitchFamily="2" charset="0"/>
                        <a:cs typeface="+mn-cs"/>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b="1" kern="1200">
                          <a:solidFill>
                            <a:schemeClr val="lt1"/>
                          </a:solidFill>
                          <a:latin typeface="Swis721 Cn BT"/>
                        </a:defRPr>
                      </a:lvl1pPr>
                      <a:lvl2pPr marL="614544" algn="l" defTabSz="1229087" rtl="0" eaLnBrk="1" latinLnBrk="0" hangingPunct="1">
                        <a:defRPr sz="2400" b="1" kern="1200">
                          <a:solidFill>
                            <a:schemeClr val="lt1"/>
                          </a:solidFill>
                          <a:latin typeface="Swis721 Cn BT"/>
                        </a:defRPr>
                      </a:lvl2pPr>
                      <a:lvl3pPr marL="1229087" algn="l" defTabSz="1229087" rtl="0" eaLnBrk="1" latinLnBrk="0" hangingPunct="1">
                        <a:defRPr sz="2400" b="1" kern="1200">
                          <a:solidFill>
                            <a:schemeClr val="lt1"/>
                          </a:solidFill>
                          <a:latin typeface="Swis721 Cn BT"/>
                        </a:defRPr>
                      </a:lvl3pPr>
                      <a:lvl4pPr marL="1843631" algn="l" defTabSz="1229087" rtl="0" eaLnBrk="1" latinLnBrk="0" hangingPunct="1">
                        <a:defRPr sz="2400" b="1" kern="1200">
                          <a:solidFill>
                            <a:schemeClr val="lt1"/>
                          </a:solidFill>
                          <a:latin typeface="Swis721 Cn BT"/>
                        </a:defRPr>
                      </a:lvl4pPr>
                      <a:lvl5pPr marL="2458175" algn="l" defTabSz="1229087" rtl="0" eaLnBrk="1" latinLnBrk="0" hangingPunct="1">
                        <a:defRPr sz="2400" b="1" kern="1200">
                          <a:solidFill>
                            <a:schemeClr val="lt1"/>
                          </a:solidFill>
                          <a:latin typeface="Swis721 Cn BT"/>
                        </a:defRPr>
                      </a:lvl5pPr>
                      <a:lvl6pPr marL="3072719" algn="l" defTabSz="1229087" rtl="0" eaLnBrk="1" latinLnBrk="0" hangingPunct="1">
                        <a:defRPr sz="2400" b="1" kern="1200">
                          <a:solidFill>
                            <a:schemeClr val="lt1"/>
                          </a:solidFill>
                          <a:latin typeface="Swis721 Cn BT"/>
                        </a:defRPr>
                      </a:lvl6pPr>
                      <a:lvl7pPr marL="3687262" algn="l" defTabSz="1229087" rtl="0" eaLnBrk="1" latinLnBrk="0" hangingPunct="1">
                        <a:defRPr sz="2400" b="1" kern="1200">
                          <a:solidFill>
                            <a:schemeClr val="lt1"/>
                          </a:solidFill>
                          <a:latin typeface="Swis721 Cn BT"/>
                        </a:defRPr>
                      </a:lvl7pPr>
                      <a:lvl8pPr marL="4301806" algn="l" defTabSz="1229087" rtl="0" eaLnBrk="1" latinLnBrk="0" hangingPunct="1">
                        <a:defRPr sz="2400" b="1" kern="1200">
                          <a:solidFill>
                            <a:schemeClr val="lt1"/>
                          </a:solidFill>
                          <a:latin typeface="Swis721 Cn BT"/>
                        </a:defRPr>
                      </a:lvl8pPr>
                      <a:lvl9pPr marL="4916350" algn="l" defTabSz="1229087" rtl="0" eaLnBrk="1" latinLnBrk="0" hangingPunct="1">
                        <a:defRPr sz="2400" b="1" kern="1200">
                          <a:solidFill>
                            <a:schemeClr val="lt1"/>
                          </a:solidFill>
                          <a:latin typeface="Swis721 Cn BT"/>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1097280" rtl="0" eaLnBrk="1" latinLnBrk="0" hangingPunct="1">
                        <a:defRPr sz="2160" kern="1200">
                          <a:solidFill>
                            <a:schemeClr val="tx1"/>
                          </a:solidFill>
                          <a:latin typeface="Calibri" panose="020F0502020204030204"/>
                        </a:defRPr>
                      </a:lvl1pPr>
                      <a:lvl2pPr marL="548640" algn="l" defTabSz="1097280" rtl="0" eaLnBrk="1" latinLnBrk="0" hangingPunct="1">
                        <a:defRPr sz="2160" kern="1200">
                          <a:solidFill>
                            <a:schemeClr val="tx1"/>
                          </a:solidFill>
                          <a:latin typeface="Calibri" panose="020F0502020204030204"/>
                        </a:defRPr>
                      </a:lvl2pPr>
                      <a:lvl3pPr marL="1097280" algn="l" defTabSz="1097280" rtl="0" eaLnBrk="1" latinLnBrk="0" hangingPunct="1">
                        <a:defRPr sz="2160" kern="1200">
                          <a:solidFill>
                            <a:schemeClr val="tx1"/>
                          </a:solidFill>
                          <a:latin typeface="Calibri" panose="020F0502020204030204"/>
                        </a:defRPr>
                      </a:lvl3pPr>
                      <a:lvl4pPr marL="1645920" algn="l" defTabSz="1097280" rtl="0" eaLnBrk="1" latinLnBrk="0" hangingPunct="1">
                        <a:defRPr sz="2160" kern="1200">
                          <a:solidFill>
                            <a:schemeClr val="tx1"/>
                          </a:solidFill>
                          <a:latin typeface="Calibri" panose="020F0502020204030204"/>
                        </a:defRPr>
                      </a:lvl4pPr>
                      <a:lvl5pPr marL="2194560" algn="l" defTabSz="1097280" rtl="0" eaLnBrk="1" latinLnBrk="0" hangingPunct="1">
                        <a:defRPr sz="2160" kern="1200">
                          <a:solidFill>
                            <a:schemeClr val="tx1"/>
                          </a:solidFill>
                          <a:latin typeface="Calibri" panose="020F0502020204030204"/>
                        </a:defRPr>
                      </a:lvl5pPr>
                      <a:lvl6pPr marL="2743200" algn="l" defTabSz="1097280" rtl="0" eaLnBrk="1" latinLnBrk="0" hangingPunct="1">
                        <a:defRPr sz="2160" kern="1200">
                          <a:solidFill>
                            <a:schemeClr val="tx1"/>
                          </a:solidFill>
                          <a:latin typeface="Calibri" panose="020F0502020204030204"/>
                        </a:defRPr>
                      </a:lvl6pPr>
                      <a:lvl7pPr marL="3291840" algn="l" defTabSz="1097280" rtl="0" eaLnBrk="1" latinLnBrk="0" hangingPunct="1">
                        <a:defRPr sz="2160" kern="1200">
                          <a:solidFill>
                            <a:schemeClr val="tx1"/>
                          </a:solidFill>
                          <a:latin typeface="Calibri" panose="020F0502020204030204"/>
                        </a:defRPr>
                      </a:lvl7pPr>
                      <a:lvl8pPr marL="3840480" algn="l" defTabSz="1097280" rtl="0" eaLnBrk="1" latinLnBrk="0" hangingPunct="1">
                        <a:defRPr sz="2160" kern="1200">
                          <a:solidFill>
                            <a:schemeClr val="tx1"/>
                          </a:solidFill>
                          <a:latin typeface="Calibri" panose="020F0502020204030204"/>
                        </a:defRPr>
                      </a:lvl8pPr>
                      <a:lvl9pPr marL="4389120" algn="l" defTabSz="1097280" rtl="0" eaLnBrk="1" latinLnBrk="0" hangingPunct="1">
                        <a:defRPr sz="2160" kern="1200">
                          <a:solidFill>
                            <a:schemeClr val="tx1"/>
                          </a:solidFill>
                          <a:latin typeface="Calibri" panose="020F0502020204030204"/>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b="1" kern="1200">
                          <a:solidFill>
                            <a:schemeClr val="lt1"/>
                          </a:solidFill>
                          <a:latin typeface="Swis721 Cn BT"/>
                        </a:defRPr>
                      </a:lvl1pPr>
                      <a:lvl2pPr marL="614544" algn="l" defTabSz="1229087" rtl="0" eaLnBrk="1" latinLnBrk="0" hangingPunct="1">
                        <a:defRPr sz="2400" b="1" kern="1200">
                          <a:solidFill>
                            <a:schemeClr val="lt1"/>
                          </a:solidFill>
                          <a:latin typeface="Swis721 Cn BT"/>
                        </a:defRPr>
                      </a:lvl2pPr>
                      <a:lvl3pPr marL="1229087" algn="l" defTabSz="1229087" rtl="0" eaLnBrk="1" latinLnBrk="0" hangingPunct="1">
                        <a:defRPr sz="2400" b="1" kern="1200">
                          <a:solidFill>
                            <a:schemeClr val="lt1"/>
                          </a:solidFill>
                          <a:latin typeface="Swis721 Cn BT"/>
                        </a:defRPr>
                      </a:lvl3pPr>
                      <a:lvl4pPr marL="1843631" algn="l" defTabSz="1229087" rtl="0" eaLnBrk="1" latinLnBrk="0" hangingPunct="1">
                        <a:defRPr sz="2400" b="1" kern="1200">
                          <a:solidFill>
                            <a:schemeClr val="lt1"/>
                          </a:solidFill>
                          <a:latin typeface="Swis721 Cn BT"/>
                        </a:defRPr>
                      </a:lvl4pPr>
                      <a:lvl5pPr marL="2458175" algn="l" defTabSz="1229087" rtl="0" eaLnBrk="1" latinLnBrk="0" hangingPunct="1">
                        <a:defRPr sz="2400" b="1" kern="1200">
                          <a:solidFill>
                            <a:schemeClr val="lt1"/>
                          </a:solidFill>
                          <a:latin typeface="Swis721 Cn BT"/>
                        </a:defRPr>
                      </a:lvl5pPr>
                      <a:lvl6pPr marL="3072719" algn="l" defTabSz="1229087" rtl="0" eaLnBrk="1" latinLnBrk="0" hangingPunct="1">
                        <a:defRPr sz="2400" b="1" kern="1200">
                          <a:solidFill>
                            <a:schemeClr val="lt1"/>
                          </a:solidFill>
                          <a:latin typeface="Swis721 Cn BT"/>
                        </a:defRPr>
                      </a:lvl6pPr>
                      <a:lvl7pPr marL="3687262" algn="l" defTabSz="1229087" rtl="0" eaLnBrk="1" latinLnBrk="0" hangingPunct="1">
                        <a:defRPr sz="2400" b="1" kern="1200">
                          <a:solidFill>
                            <a:schemeClr val="lt1"/>
                          </a:solidFill>
                          <a:latin typeface="Swis721 Cn BT"/>
                        </a:defRPr>
                      </a:lvl7pPr>
                      <a:lvl8pPr marL="4301806" algn="l" defTabSz="1229087" rtl="0" eaLnBrk="1" latinLnBrk="0" hangingPunct="1">
                        <a:defRPr sz="2400" b="1" kern="1200">
                          <a:solidFill>
                            <a:schemeClr val="lt1"/>
                          </a:solidFill>
                          <a:latin typeface="Swis721 Cn BT"/>
                        </a:defRPr>
                      </a:lvl8pPr>
                      <a:lvl9pPr marL="4916350" algn="l" defTabSz="1229087" rtl="0" eaLnBrk="1" latinLnBrk="0" hangingPunct="1">
                        <a:defRPr sz="2400" b="1" kern="1200">
                          <a:solidFill>
                            <a:schemeClr val="lt1"/>
                          </a:solidFill>
                          <a:latin typeface="Swis721 Cn BT"/>
                        </a:defRPr>
                      </a:lvl9pPr>
                    </a:lstStyle>
                    <a:p>
                      <a:pPr marL="182880"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40568">
                <a:tc>
                  <a:txBody>
                    <a:bodyPr/>
                    <a:lstStyle>
                      <a:lvl1pPr marL="0" algn="l" defTabSz="1229087" rtl="0" eaLnBrk="1" latinLnBrk="0" hangingPunct="1">
                        <a:defRPr sz="2400" kern="1200">
                          <a:solidFill>
                            <a:schemeClr val="dk1"/>
                          </a:solidFill>
                          <a:latin typeface="Swis721 Cn BT"/>
                        </a:defRPr>
                      </a:lvl1pPr>
                      <a:lvl2pPr marL="614544" algn="l" defTabSz="1229087" rtl="0" eaLnBrk="1" latinLnBrk="0" hangingPunct="1">
                        <a:defRPr sz="2400" kern="1200">
                          <a:solidFill>
                            <a:schemeClr val="dk1"/>
                          </a:solidFill>
                          <a:latin typeface="Swis721 Cn BT"/>
                        </a:defRPr>
                      </a:lvl2pPr>
                      <a:lvl3pPr marL="1229087" algn="l" defTabSz="1229087" rtl="0" eaLnBrk="1" latinLnBrk="0" hangingPunct="1">
                        <a:defRPr sz="2400" kern="1200">
                          <a:solidFill>
                            <a:schemeClr val="dk1"/>
                          </a:solidFill>
                          <a:latin typeface="Swis721 Cn BT"/>
                        </a:defRPr>
                      </a:lvl3pPr>
                      <a:lvl4pPr marL="1843631" algn="l" defTabSz="1229087" rtl="0" eaLnBrk="1" latinLnBrk="0" hangingPunct="1">
                        <a:defRPr sz="2400" kern="1200">
                          <a:solidFill>
                            <a:schemeClr val="dk1"/>
                          </a:solidFill>
                          <a:latin typeface="Swis721 Cn BT"/>
                        </a:defRPr>
                      </a:lvl4pPr>
                      <a:lvl5pPr marL="2458175" algn="l" defTabSz="1229087" rtl="0" eaLnBrk="1" latinLnBrk="0" hangingPunct="1">
                        <a:defRPr sz="2400" kern="1200">
                          <a:solidFill>
                            <a:schemeClr val="dk1"/>
                          </a:solidFill>
                          <a:latin typeface="Swis721 Cn BT"/>
                        </a:defRPr>
                      </a:lvl5pPr>
                      <a:lvl6pPr marL="3072719" algn="l" defTabSz="1229087" rtl="0" eaLnBrk="1" latinLnBrk="0" hangingPunct="1">
                        <a:defRPr sz="2400" kern="1200">
                          <a:solidFill>
                            <a:schemeClr val="dk1"/>
                          </a:solidFill>
                          <a:latin typeface="Swis721 Cn BT"/>
                        </a:defRPr>
                      </a:lvl6pPr>
                      <a:lvl7pPr marL="3687262" algn="l" defTabSz="1229087" rtl="0" eaLnBrk="1" latinLnBrk="0" hangingPunct="1">
                        <a:defRPr sz="2400" kern="1200">
                          <a:solidFill>
                            <a:schemeClr val="dk1"/>
                          </a:solidFill>
                          <a:latin typeface="Swis721 Cn BT"/>
                        </a:defRPr>
                      </a:lvl7pPr>
                      <a:lvl8pPr marL="4301806" algn="l" defTabSz="1229087" rtl="0" eaLnBrk="1" latinLnBrk="0" hangingPunct="1">
                        <a:defRPr sz="2400" kern="1200">
                          <a:solidFill>
                            <a:schemeClr val="dk1"/>
                          </a:solidFill>
                          <a:latin typeface="Swis721 Cn BT"/>
                        </a:defRPr>
                      </a:lvl8pPr>
                      <a:lvl9pPr marL="4916350" algn="l" defTabSz="1229087" rtl="0" eaLnBrk="1" latinLnBrk="0" hangingPunct="1">
                        <a:defRPr sz="2400" kern="1200">
                          <a:solidFill>
                            <a:schemeClr val="dk1"/>
                          </a:solidFill>
                          <a:latin typeface="Swis721 Cn BT"/>
                        </a:defRPr>
                      </a:lvl9pPr>
                    </a:lstStyle>
                    <a:p>
                      <a:pPr marL="0" marR="0" lvl="0" indent="0" algn="l" defTabSz="122908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tx1"/>
                        </a:solidFill>
                        <a:effectLst/>
                        <a:uLnTx/>
                        <a:uFillTx/>
                        <a:latin typeface="Roboto" panose="02000000000000000000" pitchFamily="2" charset="0"/>
                        <a:ea typeface="Roboto" panose="02000000000000000000" pitchFamily="2" charset="0"/>
                        <a:cs typeface="+mn-cs"/>
                      </a:endParaRPr>
                    </a:p>
                  </a:txBody>
                  <a:tcPr marL="76200" marR="76200" marT="76200" marB="76200" anchor="ctr">
                    <a:lnL w="6350" cap="flat" cmpd="sng" algn="ctr">
                      <a:noFill/>
                      <a:prstDash val="sysDot"/>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716351" rtl="0" eaLnBrk="1" latinLnBrk="0" hangingPunct="1">
                        <a:defRPr sz="1324" kern="1200">
                          <a:solidFill>
                            <a:schemeClr val="tx1"/>
                          </a:solidFill>
                          <a:latin typeface="Segoe UI"/>
                        </a:defRPr>
                      </a:lvl1pPr>
                      <a:lvl2pPr marL="358176" algn="l" defTabSz="716351" rtl="0" eaLnBrk="1" latinLnBrk="0" hangingPunct="1">
                        <a:defRPr sz="1324" kern="1200">
                          <a:solidFill>
                            <a:schemeClr val="tx1"/>
                          </a:solidFill>
                          <a:latin typeface="Segoe UI"/>
                        </a:defRPr>
                      </a:lvl2pPr>
                      <a:lvl3pPr marL="716351" algn="l" defTabSz="716351" rtl="0" eaLnBrk="1" latinLnBrk="0" hangingPunct="1">
                        <a:defRPr sz="1324" kern="1200">
                          <a:solidFill>
                            <a:schemeClr val="tx1"/>
                          </a:solidFill>
                          <a:latin typeface="Segoe UI"/>
                        </a:defRPr>
                      </a:lvl3pPr>
                      <a:lvl4pPr marL="1074528" algn="l" defTabSz="716351" rtl="0" eaLnBrk="1" latinLnBrk="0" hangingPunct="1">
                        <a:defRPr sz="1324" kern="1200">
                          <a:solidFill>
                            <a:schemeClr val="tx1"/>
                          </a:solidFill>
                          <a:latin typeface="Segoe UI"/>
                        </a:defRPr>
                      </a:lvl4pPr>
                      <a:lvl5pPr marL="1432703" algn="l" defTabSz="716351" rtl="0" eaLnBrk="1" latinLnBrk="0" hangingPunct="1">
                        <a:defRPr sz="1324" kern="1200">
                          <a:solidFill>
                            <a:schemeClr val="tx1"/>
                          </a:solidFill>
                          <a:latin typeface="Segoe UI"/>
                        </a:defRPr>
                      </a:lvl5pPr>
                      <a:lvl6pPr marL="1790880" algn="l" defTabSz="716351" rtl="0" eaLnBrk="1" latinLnBrk="0" hangingPunct="1">
                        <a:defRPr sz="1324" kern="1200">
                          <a:solidFill>
                            <a:schemeClr val="tx1"/>
                          </a:solidFill>
                          <a:latin typeface="Segoe UI"/>
                        </a:defRPr>
                      </a:lvl6pPr>
                      <a:lvl7pPr marL="2149055" algn="l" defTabSz="716351" rtl="0" eaLnBrk="1" latinLnBrk="0" hangingPunct="1">
                        <a:defRPr sz="1324" kern="1200">
                          <a:solidFill>
                            <a:schemeClr val="tx1"/>
                          </a:solidFill>
                          <a:latin typeface="Segoe UI"/>
                        </a:defRPr>
                      </a:lvl7pPr>
                      <a:lvl8pPr marL="2507231" algn="l" defTabSz="716351" rtl="0" eaLnBrk="1" latinLnBrk="0" hangingPunct="1">
                        <a:defRPr sz="1324" kern="1200">
                          <a:solidFill>
                            <a:schemeClr val="tx1"/>
                          </a:solidFill>
                          <a:latin typeface="Segoe UI"/>
                        </a:defRPr>
                      </a:lvl8pPr>
                      <a:lvl9pPr marL="2865407" algn="l" defTabSz="716351" rtl="0" eaLnBrk="1" latinLnBrk="0" hangingPunct="1">
                        <a:defRPr sz="1324" kern="1200">
                          <a:solidFill>
                            <a:schemeClr val="tx1"/>
                          </a:solidFill>
                          <a:latin typeface="Segoe UI"/>
                        </a:defRPr>
                      </a:lvl9pPr>
                    </a:lstStyle>
                    <a:p>
                      <a:pPr marL="0" marR="0" lvl="0" indent="0" algn="l" defTabSz="122908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tx1"/>
                        </a:solidFill>
                        <a:effectLst/>
                        <a:uLnTx/>
                        <a:uFillTx/>
                        <a:latin typeface="Roboto" panose="02000000000000000000" pitchFamily="2" charset="0"/>
                        <a:ea typeface="Roboto" panose="02000000000000000000" pitchFamily="2" charset="0"/>
                        <a:cs typeface="+mn-cs"/>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1097280" rtl="0" eaLnBrk="1" latinLnBrk="0" hangingPunct="1">
                        <a:defRPr sz="2160" kern="1200">
                          <a:solidFill>
                            <a:schemeClr val="tx1"/>
                          </a:solidFill>
                          <a:latin typeface="Calibri" panose="020F0502020204030204"/>
                        </a:defRPr>
                      </a:lvl1pPr>
                      <a:lvl2pPr marL="548640" algn="l" defTabSz="1097280" rtl="0" eaLnBrk="1" latinLnBrk="0" hangingPunct="1">
                        <a:defRPr sz="2160" kern="1200">
                          <a:solidFill>
                            <a:schemeClr val="tx1"/>
                          </a:solidFill>
                          <a:latin typeface="Calibri" panose="020F0502020204030204"/>
                        </a:defRPr>
                      </a:lvl2pPr>
                      <a:lvl3pPr marL="1097280" algn="l" defTabSz="1097280" rtl="0" eaLnBrk="1" latinLnBrk="0" hangingPunct="1">
                        <a:defRPr sz="2160" kern="1200">
                          <a:solidFill>
                            <a:schemeClr val="tx1"/>
                          </a:solidFill>
                          <a:latin typeface="Calibri" panose="020F0502020204030204"/>
                        </a:defRPr>
                      </a:lvl3pPr>
                      <a:lvl4pPr marL="1645920" algn="l" defTabSz="1097280" rtl="0" eaLnBrk="1" latinLnBrk="0" hangingPunct="1">
                        <a:defRPr sz="2160" kern="1200">
                          <a:solidFill>
                            <a:schemeClr val="tx1"/>
                          </a:solidFill>
                          <a:latin typeface="Calibri" panose="020F0502020204030204"/>
                        </a:defRPr>
                      </a:lvl4pPr>
                      <a:lvl5pPr marL="2194560" algn="l" defTabSz="1097280" rtl="0" eaLnBrk="1" latinLnBrk="0" hangingPunct="1">
                        <a:defRPr sz="2160" kern="1200">
                          <a:solidFill>
                            <a:schemeClr val="tx1"/>
                          </a:solidFill>
                          <a:latin typeface="Calibri" panose="020F0502020204030204"/>
                        </a:defRPr>
                      </a:lvl5pPr>
                      <a:lvl6pPr marL="2743200" algn="l" defTabSz="1097280" rtl="0" eaLnBrk="1" latinLnBrk="0" hangingPunct="1">
                        <a:defRPr sz="2160" kern="1200">
                          <a:solidFill>
                            <a:schemeClr val="tx1"/>
                          </a:solidFill>
                          <a:latin typeface="Calibri" panose="020F0502020204030204"/>
                        </a:defRPr>
                      </a:lvl6pPr>
                      <a:lvl7pPr marL="3291840" algn="l" defTabSz="1097280" rtl="0" eaLnBrk="1" latinLnBrk="0" hangingPunct="1">
                        <a:defRPr sz="2160" kern="1200">
                          <a:solidFill>
                            <a:schemeClr val="tx1"/>
                          </a:solidFill>
                          <a:latin typeface="Calibri" panose="020F0502020204030204"/>
                        </a:defRPr>
                      </a:lvl7pPr>
                      <a:lvl8pPr marL="3840480" algn="l" defTabSz="1097280" rtl="0" eaLnBrk="1" latinLnBrk="0" hangingPunct="1">
                        <a:defRPr sz="2160" kern="1200">
                          <a:solidFill>
                            <a:schemeClr val="tx1"/>
                          </a:solidFill>
                          <a:latin typeface="Calibri" panose="020F0502020204030204"/>
                        </a:defRPr>
                      </a:lvl8pPr>
                      <a:lvl9pPr marL="4389120" algn="l" defTabSz="1097280" rtl="0" eaLnBrk="1" latinLnBrk="0" hangingPunct="1">
                        <a:defRPr sz="2160" kern="1200">
                          <a:solidFill>
                            <a:schemeClr val="tx1"/>
                          </a:solidFill>
                          <a:latin typeface="Calibri" panose="020F0502020204030204"/>
                        </a:defRPr>
                      </a:lvl9pPr>
                    </a:lstStyle>
                    <a:p>
                      <a:pPr marL="182880"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1524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kern="1200">
                          <a:solidFill>
                            <a:schemeClr val="dk1"/>
                          </a:solidFill>
                          <a:latin typeface="Swis721 Cn BT"/>
                        </a:defRPr>
                      </a:lvl1pPr>
                      <a:lvl2pPr marL="614544" algn="l" defTabSz="1229087" rtl="0" eaLnBrk="1" latinLnBrk="0" hangingPunct="1">
                        <a:defRPr sz="2400" kern="1200">
                          <a:solidFill>
                            <a:schemeClr val="dk1"/>
                          </a:solidFill>
                          <a:latin typeface="Swis721 Cn BT"/>
                        </a:defRPr>
                      </a:lvl2pPr>
                      <a:lvl3pPr marL="1229087" algn="l" defTabSz="1229087" rtl="0" eaLnBrk="1" latinLnBrk="0" hangingPunct="1">
                        <a:defRPr sz="2400" kern="1200">
                          <a:solidFill>
                            <a:schemeClr val="dk1"/>
                          </a:solidFill>
                          <a:latin typeface="Swis721 Cn BT"/>
                        </a:defRPr>
                      </a:lvl3pPr>
                      <a:lvl4pPr marL="1843631" algn="l" defTabSz="1229087" rtl="0" eaLnBrk="1" latinLnBrk="0" hangingPunct="1">
                        <a:defRPr sz="2400" kern="1200">
                          <a:solidFill>
                            <a:schemeClr val="dk1"/>
                          </a:solidFill>
                          <a:latin typeface="Swis721 Cn BT"/>
                        </a:defRPr>
                      </a:lvl4pPr>
                      <a:lvl5pPr marL="2458175" algn="l" defTabSz="1229087" rtl="0" eaLnBrk="1" latinLnBrk="0" hangingPunct="1">
                        <a:defRPr sz="2400" kern="1200">
                          <a:solidFill>
                            <a:schemeClr val="dk1"/>
                          </a:solidFill>
                          <a:latin typeface="Swis721 Cn BT"/>
                        </a:defRPr>
                      </a:lvl5pPr>
                      <a:lvl6pPr marL="3072719" algn="l" defTabSz="1229087" rtl="0" eaLnBrk="1" latinLnBrk="0" hangingPunct="1">
                        <a:defRPr sz="2400" kern="1200">
                          <a:solidFill>
                            <a:schemeClr val="dk1"/>
                          </a:solidFill>
                          <a:latin typeface="Swis721 Cn BT"/>
                        </a:defRPr>
                      </a:lvl6pPr>
                      <a:lvl7pPr marL="3687262" algn="l" defTabSz="1229087" rtl="0" eaLnBrk="1" latinLnBrk="0" hangingPunct="1">
                        <a:defRPr sz="2400" kern="1200">
                          <a:solidFill>
                            <a:schemeClr val="dk1"/>
                          </a:solidFill>
                          <a:latin typeface="Swis721 Cn BT"/>
                        </a:defRPr>
                      </a:lvl7pPr>
                      <a:lvl8pPr marL="4301806" algn="l" defTabSz="1229087" rtl="0" eaLnBrk="1" latinLnBrk="0" hangingPunct="1">
                        <a:defRPr sz="2400" kern="1200">
                          <a:solidFill>
                            <a:schemeClr val="dk1"/>
                          </a:solidFill>
                          <a:latin typeface="Swis721 Cn BT"/>
                        </a:defRPr>
                      </a:lvl8pPr>
                      <a:lvl9pPr marL="4916350" algn="l" defTabSz="1229087" rtl="0" eaLnBrk="1" latinLnBrk="0" hangingPunct="1">
                        <a:defRPr sz="2400" kern="1200">
                          <a:solidFill>
                            <a:schemeClr val="dk1"/>
                          </a:solidFill>
                          <a:latin typeface="Swis721 Cn BT"/>
                        </a:defRPr>
                      </a:lvl9pPr>
                    </a:lstStyle>
                    <a:p>
                      <a:pPr marL="191135" marR="0" lvl="0" indent="0" algn="l" defTabSz="1305194"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tx1"/>
                        </a:solidFill>
                        <a:effectLst/>
                        <a:uLnTx/>
                        <a:uFillTx/>
                        <a:latin typeface="Roboto" panose="02000000000000000000" pitchFamily="2" charset="0"/>
                        <a:ea typeface="Roboto" panose="02000000000000000000" pitchFamily="2" charset="0"/>
                        <a:cs typeface="Segoe UI" pitchFamily="34" charset="0"/>
                      </a:endParaRPr>
                    </a:p>
                  </a:txBody>
                  <a:tcPr marL="7620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1097280" rtl="0" eaLnBrk="1" latinLnBrk="0" hangingPunct="1">
                        <a:defRPr sz="2160" kern="1200">
                          <a:solidFill>
                            <a:schemeClr val="tx1"/>
                          </a:solidFill>
                          <a:latin typeface="Calibri" panose="020F0502020204030204"/>
                        </a:defRPr>
                      </a:lvl1pPr>
                      <a:lvl2pPr marL="548640" algn="l" defTabSz="1097280" rtl="0" eaLnBrk="1" latinLnBrk="0" hangingPunct="1">
                        <a:defRPr sz="2160" kern="1200">
                          <a:solidFill>
                            <a:schemeClr val="tx1"/>
                          </a:solidFill>
                          <a:latin typeface="Calibri" panose="020F0502020204030204"/>
                        </a:defRPr>
                      </a:lvl2pPr>
                      <a:lvl3pPr marL="1097280" algn="l" defTabSz="1097280" rtl="0" eaLnBrk="1" latinLnBrk="0" hangingPunct="1">
                        <a:defRPr sz="2160" kern="1200">
                          <a:solidFill>
                            <a:schemeClr val="tx1"/>
                          </a:solidFill>
                          <a:latin typeface="Calibri" panose="020F0502020204030204"/>
                        </a:defRPr>
                      </a:lvl3pPr>
                      <a:lvl4pPr marL="1645920" algn="l" defTabSz="1097280" rtl="0" eaLnBrk="1" latinLnBrk="0" hangingPunct="1">
                        <a:defRPr sz="2160" kern="1200">
                          <a:solidFill>
                            <a:schemeClr val="tx1"/>
                          </a:solidFill>
                          <a:latin typeface="Calibri" panose="020F0502020204030204"/>
                        </a:defRPr>
                      </a:lvl4pPr>
                      <a:lvl5pPr marL="2194560" algn="l" defTabSz="1097280" rtl="0" eaLnBrk="1" latinLnBrk="0" hangingPunct="1">
                        <a:defRPr sz="2160" kern="1200">
                          <a:solidFill>
                            <a:schemeClr val="tx1"/>
                          </a:solidFill>
                          <a:latin typeface="Calibri" panose="020F0502020204030204"/>
                        </a:defRPr>
                      </a:lvl5pPr>
                      <a:lvl6pPr marL="2743200" algn="l" defTabSz="1097280" rtl="0" eaLnBrk="1" latinLnBrk="0" hangingPunct="1">
                        <a:defRPr sz="2160" kern="1200">
                          <a:solidFill>
                            <a:schemeClr val="tx1"/>
                          </a:solidFill>
                          <a:latin typeface="Calibri" panose="020F0502020204030204"/>
                        </a:defRPr>
                      </a:lvl6pPr>
                      <a:lvl7pPr marL="3291840" algn="l" defTabSz="1097280" rtl="0" eaLnBrk="1" latinLnBrk="0" hangingPunct="1">
                        <a:defRPr sz="2160" kern="1200">
                          <a:solidFill>
                            <a:schemeClr val="tx1"/>
                          </a:solidFill>
                          <a:latin typeface="Calibri" panose="020F0502020204030204"/>
                        </a:defRPr>
                      </a:lvl7pPr>
                      <a:lvl8pPr marL="3840480" algn="l" defTabSz="1097280" rtl="0" eaLnBrk="1" latinLnBrk="0" hangingPunct="1">
                        <a:defRPr sz="2160" kern="1200">
                          <a:solidFill>
                            <a:schemeClr val="tx1"/>
                          </a:solidFill>
                          <a:latin typeface="Calibri" panose="020F0502020204030204"/>
                        </a:defRPr>
                      </a:lvl8pPr>
                      <a:lvl9pPr marL="4389120" algn="l" defTabSz="1097280" rtl="0" eaLnBrk="1" latinLnBrk="0" hangingPunct="1">
                        <a:defRPr sz="2160" kern="1200">
                          <a:solidFill>
                            <a:schemeClr val="tx1"/>
                          </a:solidFill>
                          <a:latin typeface="Calibri" panose="020F0502020204030204"/>
                        </a:defRPr>
                      </a:lvl9pPr>
                    </a:lstStyle>
                    <a:p>
                      <a:pPr marL="191135" marR="0" lvl="0" indent="0" algn="l" defTabSz="1305194"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tx1"/>
                        </a:solidFill>
                        <a:effectLst/>
                        <a:uLnTx/>
                        <a:uFillTx/>
                        <a:latin typeface="Roboto" panose="02000000000000000000" pitchFamily="2" charset="0"/>
                        <a:ea typeface="Roboto" panose="02000000000000000000" pitchFamily="2" charset="0"/>
                        <a:cs typeface="Segoe UI" pitchFamily="34"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kern="1200">
                          <a:solidFill>
                            <a:schemeClr val="dk1"/>
                          </a:solidFill>
                          <a:latin typeface="Swis721 Cn BT"/>
                        </a:defRPr>
                      </a:lvl1pPr>
                      <a:lvl2pPr marL="614544" algn="l" defTabSz="1229087" rtl="0" eaLnBrk="1" latinLnBrk="0" hangingPunct="1">
                        <a:defRPr sz="2400" kern="1200">
                          <a:solidFill>
                            <a:schemeClr val="dk1"/>
                          </a:solidFill>
                          <a:latin typeface="Swis721 Cn BT"/>
                        </a:defRPr>
                      </a:lvl2pPr>
                      <a:lvl3pPr marL="1229087" algn="l" defTabSz="1229087" rtl="0" eaLnBrk="1" latinLnBrk="0" hangingPunct="1">
                        <a:defRPr sz="2400" kern="1200">
                          <a:solidFill>
                            <a:schemeClr val="dk1"/>
                          </a:solidFill>
                          <a:latin typeface="Swis721 Cn BT"/>
                        </a:defRPr>
                      </a:lvl3pPr>
                      <a:lvl4pPr marL="1843631" algn="l" defTabSz="1229087" rtl="0" eaLnBrk="1" latinLnBrk="0" hangingPunct="1">
                        <a:defRPr sz="2400" kern="1200">
                          <a:solidFill>
                            <a:schemeClr val="dk1"/>
                          </a:solidFill>
                          <a:latin typeface="Swis721 Cn BT"/>
                        </a:defRPr>
                      </a:lvl4pPr>
                      <a:lvl5pPr marL="2458175" algn="l" defTabSz="1229087" rtl="0" eaLnBrk="1" latinLnBrk="0" hangingPunct="1">
                        <a:defRPr sz="2400" kern="1200">
                          <a:solidFill>
                            <a:schemeClr val="dk1"/>
                          </a:solidFill>
                          <a:latin typeface="Swis721 Cn BT"/>
                        </a:defRPr>
                      </a:lvl5pPr>
                      <a:lvl6pPr marL="3072719" algn="l" defTabSz="1229087" rtl="0" eaLnBrk="1" latinLnBrk="0" hangingPunct="1">
                        <a:defRPr sz="2400" kern="1200">
                          <a:solidFill>
                            <a:schemeClr val="dk1"/>
                          </a:solidFill>
                          <a:latin typeface="Swis721 Cn BT"/>
                        </a:defRPr>
                      </a:lvl6pPr>
                      <a:lvl7pPr marL="3687262" algn="l" defTabSz="1229087" rtl="0" eaLnBrk="1" latinLnBrk="0" hangingPunct="1">
                        <a:defRPr sz="2400" kern="1200">
                          <a:solidFill>
                            <a:schemeClr val="dk1"/>
                          </a:solidFill>
                          <a:latin typeface="Swis721 Cn BT"/>
                        </a:defRPr>
                      </a:lvl7pPr>
                      <a:lvl8pPr marL="4301806" algn="l" defTabSz="1229087" rtl="0" eaLnBrk="1" latinLnBrk="0" hangingPunct="1">
                        <a:defRPr sz="2400" kern="1200">
                          <a:solidFill>
                            <a:schemeClr val="dk1"/>
                          </a:solidFill>
                          <a:latin typeface="Swis721 Cn BT"/>
                        </a:defRPr>
                      </a:lvl8pPr>
                      <a:lvl9pPr marL="4916350" algn="l" defTabSz="1229087" rtl="0" eaLnBrk="1" latinLnBrk="0" hangingPunct="1">
                        <a:defRPr sz="2400" kern="1200">
                          <a:solidFill>
                            <a:schemeClr val="dk1"/>
                          </a:solidFill>
                          <a:latin typeface="Swis721 Cn BT"/>
                        </a:defRPr>
                      </a:lvl9pPr>
                    </a:lstStyle>
                    <a:p>
                      <a:pPr marL="282575" marR="0" lvl="0" indent="0" algn="l" defTabSz="1305194" rtl="0" eaLnBrk="1" fontAlgn="auto" latinLnBrk="0" hangingPunct="1">
                        <a:lnSpc>
                          <a:spcPct val="100000"/>
                        </a:lnSpc>
                        <a:spcBef>
                          <a:spcPts val="0"/>
                        </a:spcBef>
                        <a:spcAft>
                          <a:spcPts val="0"/>
                        </a:spcAft>
                        <a:buClrTx/>
                        <a:buSzTx/>
                        <a:buFontTx/>
                        <a:buNone/>
                        <a:tabLst/>
                        <a:defRPr/>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39294">
                <a:tc>
                  <a:txBody>
                    <a:bodyPr/>
                    <a:lstStyle>
                      <a:lvl1pPr marL="0" algn="l" defTabSz="1229087" rtl="0" eaLnBrk="1" latinLnBrk="0" hangingPunct="1">
                        <a:defRPr sz="2400" kern="1200">
                          <a:solidFill>
                            <a:schemeClr val="dk1"/>
                          </a:solidFill>
                          <a:latin typeface="Swis721 Cn BT"/>
                        </a:defRPr>
                      </a:lvl1pPr>
                      <a:lvl2pPr marL="614544" algn="l" defTabSz="1229087" rtl="0" eaLnBrk="1" latinLnBrk="0" hangingPunct="1">
                        <a:defRPr sz="2400" kern="1200">
                          <a:solidFill>
                            <a:schemeClr val="dk1"/>
                          </a:solidFill>
                          <a:latin typeface="Swis721 Cn BT"/>
                        </a:defRPr>
                      </a:lvl2pPr>
                      <a:lvl3pPr marL="1229087" algn="l" defTabSz="1229087" rtl="0" eaLnBrk="1" latinLnBrk="0" hangingPunct="1">
                        <a:defRPr sz="2400" kern="1200">
                          <a:solidFill>
                            <a:schemeClr val="dk1"/>
                          </a:solidFill>
                          <a:latin typeface="Swis721 Cn BT"/>
                        </a:defRPr>
                      </a:lvl3pPr>
                      <a:lvl4pPr marL="1843631" algn="l" defTabSz="1229087" rtl="0" eaLnBrk="1" latinLnBrk="0" hangingPunct="1">
                        <a:defRPr sz="2400" kern="1200">
                          <a:solidFill>
                            <a:schemeClr val="dk1"/>
                          </a:solidFill>
                          <a:latin typeface="Swis721 Cn BT"/>
                        </a:defRPr>
                      </a:lvl4pPr>
                      <a:lvl5pPr marL="2458175" algn="l" defTabSz="1229087" rtl="0" eaLnBrk="1" latinLnBrk="0" hangingPunct="1">
                        <a:defRPr sz="2400" kern="1200">
                          <a:solidFill>
                            <a:schemeClr val="dk1"/>
                          </a:solidFill>
                          <a:latin typeface="Swis721 Cn BT"/>
                        </a:defRPr>
                      </a:lvl5pPr>
                      <a:lvl6pPr marL="3072719" algn="l" defTabSz="1229087" rtl="0" eaLnBrk="1" latinLnBrk="0" hangingPunct="1">
                        <a:defRPr sz="2400" kern="1200">
                          <a:solidFill>
                            <a:schemeClr val="dk1"/>
                          </a:solidFill>
                          <a:latin typeface="Swis721 Cn BT"/>
                        </a:defRPr>
                      </a:lvl6pPr>
                      <a:lvl7pPr marL="3687262" algn="l" defTabSz="1229087" rtl="0" eaLnBrk="1" latinLnBrk="0" hangingPunct="1">
                        <a:defRPr sz="2400" kern="1200">
                          <a:solidFill>
                            <a:schemeClr val="dk1"/>
                          </a:solidFill>
                          <a:latin typeface="Swis721 Cn BT"/>
                        </a:defRPr>
                      </a:lvl7pPr>
                      <a:lvl8pPr marL="4301806" algn="l" defTabSz="1229087" rtl="0" eaLnBrk="1" latinLnBrk="0" hangingPunct="1">
                        <a:defRPr sz="2400" kern="1200">
                          <a:solidFill>
                            <a:schemeClr val="dk1"/>
                          </a:solidFill>
                          <a:latin typeface="Swis721 Cn BT"/>
                        </a:defRPr>
                      </a:lvl8pPr>
                      <a:lvl9pPr marL="4916350" algn="l" defTabSz="1229087" rtl="0" eaLnBrk="1" latinLnBrk="0" hangingPunct="1">
                        <a:defRPr sz="2400" kern="1200">
                          <a:solidFill>
                            <a:schemeClr val="dk1"/>
                          </a:solidFill>
                          <a:latin typeface="Swis721 Cn BT"/>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6350" cap="flat" cmpd="sng" algn="ctr">
                      <a:noFill/>
                      <a:prstDash val="sysDot"/>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716351" rtl="0" eaLnBrk="1" latinLnBrk="0" hangingPunct="1">
                        <a:defRPr sz="1324" kern="1200">
                          <a:solidFill>
                            <a:schemeClr val="tx1"/>
                          </a:solidFill>
                          <a:latin typeface="Segoe UI"/>
                        </a:defRPr>
                      </a:lvl1pPr>
                      <a:lvl2pPr marL="358176" algn="l" defTabSz="716351" rtl="0" eaLnBrk="1" latinLnBrk="0" hangingPunct="1">
                        <a:defRPr sz="1324" kern="1200">
                          <a:solidFill>
                            <a:schemeClr val="tx1"/>
                          </a:solidFill>
                          <a:latin typeface="Segoe UI"/>
                        </a:defRPr>
                      </a:lvl2pPr>
                      <a:lvl3pPr marL="716351" algn="l" defTabSz="716351" rtl="0" eaLnBrk="1" latinLnBrk="0" hangingPunct="1">
                        <a:defRPr sz="1324" kern="1200">
                          <a:solidFill>
                            <a:schemeClr val="tx1"/>
                          </a:solidFill>
                          <a:latin typeface="Segoe UI"/>
                        </a:defRPr>
                      </a:lvl3pPr>
                      <a:lvl4pPr marL="1074528" algn="l" defTabSz="716351" rtl="0" eaLnBrk="1" latinLnBrk="0" hangingPunct="1">
                        <a:defRPr sz="1324" kern="1200">
                          <a:solidFill>
                            <a:schemeClr val="tx1"/>
                          </a:solidFill>
                          <a:latin typeface="Segoe UI"/>
                        </a:defRPr>
                      </a:lvl4pPr>
                      <a:lvl5pPr marL="1432703" algn="l" defTabSz="716351" rtl="0" eaLnBrk="1" latinLnBrk="0" hangingPunct="1">
                        <a:defRPr sz="1324" kern="1200">
                          <a:solidFill>
                            <a:schemeClr val="tx1"/>
                          </a:solidFill>
                          <a:latin typeface="Segoe UI"/>
                        </a:defRPr>
                      </a:lvl5pPr>
                      <a:lvl6pPr marL="1790880" algn="l" defTabSz="716351" rtl="0" eaLnBrk="1" latinLnBrk="0" hangingPunct="1">
                        <a:defRPr sz="1324" kern="1200">
                          <a:solidFill>
                            <a:schemeClr val="tx1"/>
                          </a:solidFill>
                          <a:latin typeface="Segoe UI"/>
                        </a:defRPr>
                      </a:lvl6pPr>
                      <a:lvl7pPr marL="2149055" algn="l" defTabSz="716351" rtl="0" eaLnBrk="1" latinLnBrk="0" hangingPunct="1">
                        <a:defRPr sz="1324" kern="1200">
                          <a:solidFill>
                            <a:schemeClr val="tx1"/>
                          </a:solidFill>
                          <a:latin typeface="Segoe UI"/>
                        </a:defRPr>
                      </a:lvl7pPr>
                      <a:lvl8pPr marL="2507231" algn="l" defTabSz="716351" rtl="0" eaLnBrk="1" latinLnBrk="0" hangingPunct="1">
                        <a:defRPr sz="1324" kern="1200">
                          <a:solidFill>
                            <a:schemeClr val="tx1"/>
                          </a:solidFill>
                          <a:latin typeface="Segoe UI"/>
                        </a:defRPr>
                      </a:lvl8pPr>
                      <a:lvl9pPr marL="2865407" algn="l" defTabSz="716351" rtl="0" eaLnBrk="1" latinLnBrk="0" hangingPunct="1">
                        <a:defRPr sz="1324" kern="1200">
                          <a:solidFill>
                            <a:schemeClr val="tx1"/>
                          </a:solidFill>
                          <a:latin typeface="Segoe UI"/>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1097280" rtl="0" eaLnBrk="1" latinLnBrk="0" hangingPunct="1">
                        <a:defRPr sz="2160" kern="1200">
                          <a:solidFill>
                            <a:schemeClr val="tx1"/>
                          </a:solidFill>
                          <a:latin typeface="Calibri" panose="020F0502020204030204"/>
                        </a:defRPr>
                      </a:lvl1pPr>
                      <a:lvl2pPr marL="548640" algn="l" defTabSz="1097280" rtl="0" eaLnBrk="1" latinLnBrk="0" hangingPunct="1">
                        <a:defRPr sz="2160" kern="1200">
                          <a:solidFill>
                            <a:schemeClr val="tx1"/>
                          </a:solidFill>
                          <a:latin typeface="Calibri" panose="020F0502020204030204"/>
                        </a:defRPr>
                      </a:lvl2pPr>
                      <a:lvl3pPr marL="1097280" algn="l" defTabSz="1097280" rtl="0" eaLnBrk="1" latinLnBrk="0" hangingPunct="1">
                        <a:defRPr sz="2160" kern="1200">
                          <a:solidFill>
                            <a:schemeClr val="tx1"/>
                          </a:solidFill>
                          <a:latin typeface="Calibri" panose="020F0502020204030204"/>
                        </a:defRPr>
                      </a:lvl3pPr>
                      <a:lvl4pPr marL="1645920" algn="l" defTabSz="1097280" rtl="0" eaLnBrk="1" latinLnBrk="0" hangingPunct="1">
                        <a:defRPr sz="2160" kern="1200">
                          <a:solidFill>
                            <a:schemeClr val="tx1"/>
                          </a:solidFill>
                          <a:latin typeface="Calibri" panose="020F0502020204030204"/>
                        </a:defRPr>
                      </a:lvl4pPr>
                      <a:lvl5pPr marL="2194560" algn="l" defTabSz="1097280" rtl="0" eaLnBrk="1" latinLnBrk="0" hangingPunct="1">
                        <a:defRPr sz="2160" kern="1200">
                          <a:solidFill>
                            <a:schemeClr val="tx1"/>
                          </a:solidFill>
                          <a:latin typeface="Calibri" panose="020F0502020204030204"/>
                        </a:defRPr>
                      </a:lvl5pPr>
                      <a:lvl6pPr marL="2743200" algn="l" defTabSz="1097280" rtl="0" eaLnBrk="1" latinLnBrk="0" hangingPunct="1">
                        <a:defRPr sz="2160" kern="1200">
                          <a:solidFill>
                            <a:schemeClr val="tx1"/>
                          </a:solidFill>
                          <a:latin typeface="Calibri" panose="020F0502020204030204"/>
                        </a:defRPr>
                      </a:lvl6pPr>
                      <a:lvl7pPr marL="3291840" algn="l" defTabSz="1097280" rtl="0" eaLnBrk="1" latinLnBrk="0" hangingPunct="1">
                        <a:defRPr sz="2160" kern="1200">
                          <a:solidFill>
                            <a:schemeClr val="tx1"/>
                          </a:solidFill>
                          <a:latin typeface="Calibri" panose="020F0502020204030204"/>
                        </a:defRPr>
                      </a:lvl7pPr>
                      <a:lvl8pPr marL="3840480" algn="l" defTabSz="1097280" rtl="0" eaLnBrk="1" latinLnBrk="0" hangingPunct="1">
                        <a:defRPr sz="2160" kern="1200">
                          <a:solidFill>
                            <a:schemeClr val="tx1"/>
                          </a:solidFill>
                          <a:latin typeface="Calibri" panose="020F0502020204030204"/>
                        </a:defRPr>
                      </a:lvl8pPr>
                      <a:lvl9pPr marL="4389120" algn="l" defTabSz="1097280" rtl="0" eaLnBrk="1" latinLnBrk="0" hangingPunct="1">
                        <a:defRPr sz="2160" kern="1200">
                          <a:solidFill>
                            <a:schemeClr val="tx1"/>
                          </a:solidFill>
                          <a:latin typeface="Calibri" panose="020F0502020204030204"/>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kern="1200">
                          <a:solidFill>
                            <a:schemeClr val="dk1"/>
                          </a:solidFill>
                          <a:latin typeface="Swis721 Cn BT"/>
                        </a:defRPr>
                      </a:lvl1pPr>
                      <a:lvl2pPr marL="614544" algn="l" defTabSz="1229087" rtl="0" eaLnBrk="1" latinLnBrk="0" hangingPunct="1">
                        <a:defRPr sz="2400" kern="1200">
                          <a:solidFill>
                            <a:schemeClr val="dk1"/>
                          </a:solidFill>
                          <a:latin typeface="Swis721 Cn BT"/>
                        </a:defRPr>
                      </a:lvl2pPr>
                      <a:lvl3pPr marL="1229087" algn="l" defTabSz="1229087" rtl="0" eaLnBrk="1" latinLnBrk="0" hangingPunct="1">
                        <a:defRPr sz="2400" kern="1200">
                          <a:solidFill>
                            <a:schemeClr val="dk1"/>
                          </a:solidFill>
                          <a:latin typeface="Swis721 Cn BT"/>
                        </a:defRPr>
                      </a:lvl3pPr>
                      <a:lvl4pPr marL="1843631" algn="l" defTabSz="1229087" rtl="0" eaLnBrk="1" latinLnBrk="0" hangingPunct="1">
                        <a:defRPr sz="2400" kern="1200">
                          <a:solidFill>
                            <a:schemeClr val="dk1"/>
                          </a:solidFill>
                          <a:latin typeface="Swis721 Cn BT"/>
                        </a:defRPr>
                      </a:lvl4pPr>
                      <a:lvl5pPr marL="2458175" algn="l" defTabSz="1229087" rtl="0" eaLnBrk="1" latinLnBrk="0" hangingPunct="1">
                        <a:defRPr sz="2400" kern="1200">
                          <a:solidFill>
                            <a:schemeClr val="dk1"/>
                          </a:solidFill>
                          <a:latin typeface="Swis721 Cn BT"/>
                        </a:defRPr>
                      </a:lvl5pPr>
                      <a:lvl6pPr marL="3072719" algn="l" defTabSz="1229087" rtl="0" eaLnBrk="1" latinLnBrk="0" hangingPunct="1">
                        <a:defRPr sz="2400" kern="1200">
                          <a:solidFill>
                            <a:schemeClr val="dk1"/>
                          </a:solidFill>
                          <a:latin typeface="Swis721 Cn BT"/>
                        </a:defRPr>
                      </a:lvl6pPr>
                      <a:lvl7pPr marL="3687262" algn="l" defTabSz="1229087" rtl="0" eaLnBrk="1" latinLnBrk="0" hangingPunct="1">
                        <a:defRPr sz="2400" kern="1200">
                          <a:solidFill>
                            <a:schemeClr val="dk1"/>
                          </a:solidFill>
                          <a:latin typeface="Swis721 Cn BT"/>
                        </a:defRPr>
                      </a:lvl7pPr>
                      <a:lvl8pPr marL="4301806" algn="l" defTabSz="1229087" rtl="0" eaLnBrk="1" latinLnBrk="0" hangingPunct="1">
                        <a:defRPr sz="2400" kern="1200">
                          <a:solidFill>
                            <a:schemeClr val="dk1"/>
                          </a:solidFill>
                          <a:latin typeface="Swis721 Cn BT"/>
                        </a:defRPr>
                      </a:lvl8pPr>
                      <a:lvl9pPr marL="4916350" algn="l" defTabSz="1229087" rtl="0" eaLnBrk="1" latinLnBrk="0" hangingPunct="1">
                        <a:defRPr sz="2400" kern="1200">
                          <a:solidFill>
                            <a:schemeClr val="dk1"/>
                          </a:solidFill>
                          <a:latin typeface="Swis721 Cn BT"/>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1097280" rtl="0" eaLnBrk="1" latinLnBrk="0" hangingPunct="1">
                        <a:defRPr sz="2160" kern="1200">
                          <a:solidFill>
                            <a:schemeClr val="tx1"/>
                          </a:solidFill>
                          <a:latin typeface="Calibri" panose="020F0502020204030204"/>
                        </a:defRPr>
                      </a:lvl1pPr>
                      <a:lvl2pPr marL="548640" algn="l" defTabSz="1097280" rtl="0" eaLnBrk="1" latinLnBrk="0" hangingPunct="1">
                        <a:defRPr sz="2160" kern="1200">
                          <a:solidFill>
                            <a:schemeClr val="tx1"/>
                          </a:solidFill>
                          <a:latin typeface="Calibri" panose="020F0502020204030204"/>
                        </a:defRPr>
                      </a:lvl2pPr>
                      <a:lvl3pPr marL="1097280" algn="l" defTabSz="1097280" rtl="0" eaLnBrk="1" latinLnBrk="0" hangingPunct="1">
                        <a:defRPr sz="2160" kern="1200">
                          <a:solidFill>
                            <a:schemeClr val="tx1"/>
                          </a:solidFill>
                          <a:latin typeface="Calibri" panose="020F0502020204030204"/>
                        </a:defRPr>
                      </a:lvl3pPr>
                      <a:lvl4pPr marL="1645920" algn="l" defTabSz="1097280" rtl="0" eaLnBrk="1" latinLnBrk="0" hangingPunct="1">
                        <a:defRPr sz="2160" kern="1200">
                          <a:solidFill>
                            <a:schemeClr val="tx1"/>
                          </a:solidFill>
                          <a:latin typeface="Calibri" panose="020F0502020204030204"/>
                        </a:defRPr>
                      </a:lvl4pPr>
                      <a:lvl5pPr marL="2194560" algn="l" defTabSz="1097280" rtl="0" eaLnBrk="1" latinLnBrk="0" hangingPunct="1">
                        <a:defRPr sz="2160" kern="1200">
                          <a:solidFill>
                            <a:schemeClr val="tx1"/>
                          </a:solidFill>
                          <a:latin typeface="Calibri" panose="020F0502020204030204"/>
                        </a:defRPr>
                      </a:lvl5pPr>
                      <a:lvl6pPr marL="2743200" algn="l" defTabSz="1097280" rtl="0" eaLnBrk="1" latinLnBrk="0" hangingPunct="1">
                        <a:defRPr sz="2160" kern="1200">
                          <a:solidFill>
                            <a:schemeClr val="tx1"/>
                          </a:solidFill>
                          <a:latin typeface="Calibri" panose="020F0502020204030204"/>
                        </a:defRPr>
                      </a:lvl6pPr>
                      <a:lvl7pPr marL="3291840" algn="l" defTabSz="1097280" rtl="0" eaLnBrk="1" latinLnBrk="0" hangingPunct="1">
                        <a:defRPr sz="2160" kern="1200">
                          <a:solidFill>
                            <a:schemeClr val="tx1"/>
                          </a:solidFill>
                          <a:latin typeface="Calibri" panose="020F0502020204030204"/>
                        </a:defRPr>
                      </a:lvl7pPr>
                      <a:lvl8pPr marL="3840480" algn="l" defTabSz="1097280" rtl="0" eaLnBrk="1" latinLnBrk="0" hangingPunct="1">
                        <a:defRPr sz="2160" kern="1200">
                          <a:solidFill>
                            <a:schemeClr val="tx1"/>
                          </a:solidFill>
                          <a:latin typeface="Calibri" panose="020F0502020204030204"/>
                        </a:defRPr>
                      </a:lvl8pPr>
                      <a:lvl9pPr marL="4389120" algn="l" defTabSz="1097280" rtl="0" eaLnBrk="1" latinLnBrk="0" hangingPunct="1">
                        <a:defRPr sz="2160" kern="1200">
                          <a:solidFill>
                            <a:schemeClr val="tx1"/>
                          </a:solidFill>
                          <a:latin typeface="Calibri" panose="020F0502020204030204"/>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kern="1200">
                          <a:solidFill>
                            <a:schemeClr val="dk1"/>
                          </a:solidFill>
                          <a:latin typeface="Swis721 Cn BT"/>
                        </a:defRPr>
                      </a:lvl1pPr>
                      <a:lvl2pPr marL="614544" algn="l" defTabSz="1229087" rtl="0" eaLnBrk="1" latinLnBrk="0" hangingPunct="1">
                        <a:defRPr sz="2400" kern="1200">
                          <a:solidFill>
                            <a:schemeClr val="dk1"/>
                          </a:solidFill>
                          <a:latin typeface="Swis721 Cn BT"/>
                        </a:defRPr>
                      </a:lvl2pPr>
                      <a:lvl3pPr marL="1229087" algn="l" defTabSz="1229087" rtl="0" eaLnBrk="1" latinLnBrk="0" hangingPunct="1">
                        <a:defRPr sz="2400" kern="1200">
                          <a:solidFill>
                            <a:schemeClr val="dk1"/>
                          </a:solidFill>
                          <a:latin typeface="Swis721 Cn BT"/>
                        </a:defRPr>
                      </a:lvl3pPr>
                      <a:lvl4pPr marL="1843631" algn="l" defTabSz="1229087" rtl="0" eaLnBrk="1" latinLnBrk="0" hangingPunct="1">
                        <a:defRPr sz="2400" kern="1200">
                          <a:solidFill>
                            <a:schemeClr val="dk1"/>
                          </a:solidFill>
                          <a:latin typeface="Swis721 Cn BT"/>
                        </a:defRPr>
                      </a:lvl4pPr>
                      <a:lvl5pPr marL="2458175" algn="l" defTabSz="1229087" rtl="0" eaLnBrk="1" latinLnBrk="0" hangingPunct="1">
                        <a:defRPr sz="2400" kern="1200">
                          <a:solidFill>
                            <a:schemeClr val="dk1"/>
                          </a:solidFill>
                          <a:latin typeface="Swis721 Cn BT"/>
                        </a:defRPr>
                      </a:lvl5pPr>
                      <a:lvl6pPr marL="3072719" algn="l" defTabSz="1229087" rtl="0" eaLnBrk="1" latinLnBrk="0" hangingPunct="1">
                        <a:defRPr sz="2400" kern="1200">
                          <a:solidFill>
                            <a:schemeClr val="dk1"/>
                          </a:solidFill>
                          <a:latin typeface="Swis721 Cn BT"/>
                        </a:defRPr>
                      </a:lvl6pPr>
                      <a:lvl7pPr marL="3687262" algn="l" defTabSz="1229087" rtl="0" eaLnBrk="1" latinLnBrk="0" hangingPunct="1">
                        <a:defRPr sz="2400" kern="1200">
                          <a:solidFill>
                            <a:schemeClr val="dk1"/>
                          </a:solidFill>
                          <a:latin typeface="Swis721 Cn BT"/>
                        </a:defRPr>
                      </a:lvl7pPr>
                      <a:lvl8pPr marL="4301806" algn="l" defTabSz="1229087" rtl="0" eaLnBrk="1" latinLnBrk="0" hangingPunct="1">
                        <a:defRPr sz="2400" kern="1200">
                          <a:solidFill>
                            <a:schemeClr val="dk1"/>
                          </a:solidFill>
                          <a:latin typeface="Swis721 Cn BT"/>
                        </a:defRPr>
                      </a:lvl8pPr>
                      <a:lvl9pPr marL="4916350" algn="l" defTabSz="1229087" rtl="0" eaLnBrk="1" latinLnBrk="0" hangingPunct="1">
                        <a:defRPr sz="2400" kern="1200">
                          <a:solidFill>
                            <a:schemeClr val="dk1"/>
                          </a:solidFill>
                          <a:latin typeface="Swis721 Cn BT"/>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solidFill>
                        <a:srgbClr val="1A1A1A">
                          <a:lumMod val="25000"/>
                          <a:lumOff val="75000"/>
                        </a:srgb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83298">
                <a:tc>
                  <a:txBody>
                    <a:bodyPr/>
                    <a:lstStyle>
                      <a:lvl1pPr marL="0" algn="l" defTabSz="716351" rtl="0" eaLnBrk="1" latinLnBrk="0" hangingPunct="1">
                        <a:defRPr sz="1324" kern="1200">
                          <a:solidFill>
                            <a:schemeClr val="tx1"/>
                          </a:solidFill>
                          <a:latin typeface="Segoe UI"/>
                        </a:defRPr>
                      </a:lvl1pPr>
                      <a:lvl2pPr marL="358176" algn="l" defTabSz="716351" rtl="0" eaLnBrk="1" latinLnBrk="0" hangingPunct="1">
                        <a:defRPr sz="1324" kern="1200">
                          <a:solidFill>
                            <a:schemeClr val="tx1"/>
                          </a:solidFill>
                          <a:latin typeface="Segoe UI"/>
                        </a:defRPr>
                      </a:lvl2pPr>
                      <a:lvl3pPr marL="716351" algn="l" defTabSz="716351" rtl="0" eaLnBrk="1" latinLnBrk="0" hangingPunct="1">
                        <a:defRPr sz="1324" kern="1200">
                          <a:solidFill>
                            <a:schemeClr val="tx1"/>
                          </a:solidFill>
                          <a:latin typeface="Segoe UI"/>
                        </a:defRPr>
                      </a:lvl3pPr>
                      <a:lvl4pPr marL="1074528" algn="l" defTabSz="716351" rtl="0" eaLnBrk="1" latinLnBrk="0" hangingPunct="1">
                        <a:defRPr sz="1324" kern="1200">
                          <a:solidFill>
                            <a:schemeClr val="tx1"/>
                          </a:solidFill>
                          <a:latin typeface="Segoe UI"/>
                        </a:defRPr>
                      </a:lvl4pPr>
                      <a:lvl5pPr marL="1432703" algn="l" defTabSz="716351" rtl="0" eaLnBrk="1" latinLnBrk="0" hangingPunct="1">
                        <a:defRPr sz="1324" kern="1200">
                          <a:solidFill>
                            <a:schemeClr val="tx1"/>
                          </a:solidFill>
                          <a:latin typeface="Segoe UI"/>
                        </a:defRPr>
                      </a:lvl5pPr>
                      <a:lvl6pPr marL="1790880" algn="l" defTabSz="716351" rtl="0" eaLnBrk="1" latinLnBrk="0" hangingPunct="1">
                        <a:defRPr sz="1324" kern="1200">
                          <a:solidFill>
                            <a:schemeClr val="tx1"/>
                          </a:solidFill>
                          <a:latin typeface="Segoe UI"/>
                        </a:defRPr>
                      </a:lvl6pPr>
                      <a:lvl7pPr marL="2149055" algn="l" defTabSz="716351" rtl="0" eaLnBrk="1" latinLnBrk="0" hangingPunct="1">
                        <a:defRPr sz="1324" kern="1200">
                          <a:solidFill>
                            <a:schemeClr val="tx1"/>
                          </a:solidFill>
                          <a:latin typeface="Segoe UI"/>
                        </a:defRPr>
                      </a:lvl7pPr>
                      <a:lvl8pPr marL="2507231" algn="l" defTabSz="716351" rtl="0" eaLnBrk="1" latinLnBrk="0" hangingPunct="1">
                        <a:defRPr sz="1324" kern="1200">
                          <a:solidFill>
                            <a:schemeClr val="tx1"/>
                          </a:solidFill>
                          <a:latin typeface="Segoe UI"/>
                        </a:defRPr>
                      </a:lvl8pPr>
                      <a:lvl9pPr marL="2865407" algn="l" defTabSz="716351" rtl="0" eaLnBrk="1" latinLnBrk="0" hangingPunct="1">
                        <a:defRPr sz="1324" kern="1200">
                          <a:solidFill>
                            <a:schemeClr val="tx1"/>
                          </a:solidFill>
                          <a:latin typeface="Segoe UI"/>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6350" cap="flat" cmpd="sng" algn="ctr">
                      <a:noFill/>
                      <a:prstDash val="sysDot"/>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16351" rtl="0" eaLnBrk="1" latinLnBrk="0" hangingPunct="1">
                        <a:defRPr sz="1324" kern="1200">
                          <a:solidFill>
                            <a:schemeClr val="tx1"/>
                          </a:solidFill>
                          <a:latin typeface="Segoe UI"/>
                        </a:defRPr>
                      </a:lvl1pPr>
                      <a:lvl2pPr marL="358176" algn="l" defTabSz="716351" rtl="0" eaLnBrk="1" latinLnBrk="0" hangingPunct="1">
                        <a:defRPr sz="1324" kern="1200">
                          <a:solidFill>
                            <a:schemeClr val="tx1"/>
                          </a:solidFill>
                          <a:latin typeface="Segoe UI"/>
                        </a:defRPr>
                      </a:lvl2pPr>
                      <a:lvl3pPr marL="716351" algn="l" defTabSz="716351" rtl="0" eaLnBrk="1" latinLnBrk="0" hangingPunct="1">
                        <a:defRPr sz="1324" kern="1200">
                          <a:solidFill>
                            <a:schemeClr val="tx1"/>
                          </a:solidFill>
                          <a:latin typeface="Segoe UI"/>
                        </a:defRPr>
                      </a:lvl3pPr>
                      <a:lvl4pPr marL="1074528" algn="l" defTabSz="716351" rtl="0" eaLnBrk="1" latinLnBrk="0" hangingPunct="1">
                        <a:defRPr sz="1324" kern="1200">
                          <a:solidFill>
                            <a:schemeClr val="tx1"/>
                          </a:solidFill>
                          <a:latin typeface="Segoe UI"/>
                        </a:defRPr>
                      </a:lvl4pPr>
                      <a:lvl5pPr marL="1432703" algn="l" defTabSz="716351" rtl="0" eaLnBrk="1" latinLnBrk="0" hangingPunct="1">
                        <a:defRPr sz="1324" kern="1200">
                          <a:solidFill>
                            <a:schemeClr val="tx1"/>
                          </a:solidFill>
                          <a:latin typeface="Segoe UI"/>
                        </a:defRPr>
                      </a:lvl5pPr>
                      <a:lvl6pPr marL="1790880" algn="l" defTabSz="716351" rtl="0" eaLnBrk="1" latinLnBrk="0" hangingPunct="1">
                        <a:defRPr sz="1324" kern="1200">
                          <a:solidFill>
                            <a:schemeClr val="tx1"/>
                          </a:solidFill>
                          <a:latin typeface="Segoe UI"/>
                        </a:defRPr>
                      </a:lvl6pPr>
                      <a:lvl7pPr marL="2149055" algn="l" defTabSz="716351" rtl="0" eaLnBrk="1" latinLnBrk="0" hangingPunct="1">
                        <a:defRPr sz="1324" kern="1200">
                          <a:solidFill>
                            <a:schemeClr val="tx1"/>
                          </a:solidFill>
                          <a:latin typeface="Segoe UI"/>
                        </a:defRPr>
                      </a:lvl7pPr>
                      <a:lvl8pPr marL="2507231" algn="l" defTabSz="716351" rtl="0" eaLnBrk="1" latinLnBrk="0" hangingPunct="1">
                        <a:defRPr sz="1324" kern="1200">
                          <a:solidFill>
                            <a:schemeClr val="tx1"/>
                          </a:solidFill>
                          <a:latin typeface="Segoe UI"/>
                        </a:defRPr>
                      </a:lvl8pPr>
                      <a:lvl9pPr marL="2865407" algn="l" defTabSz="716351" rtl="0" eaLnBrk="1" latinLnBrk="0" hangingPunct="1">
                        <a:defRPr sz="1324" kern="1200">
                          <a:solidFill>
                            <a:schemeClr val="tx1"/>
                          </a:solidFill>
                          <a:latin typeface="Segoe UI"/>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16351" rtl="0" eaLnBrk="1" latinLnBrk="0" hangingPunct="1">
                        <a:defRPr sz="1324" kern="1200">
                          <a:solidFill>
                            <a:schemeClr val="tx1"/>
                          </a:solidFill>
                          <a:latin typeface="Segoe UI"/>
                        </a:defRPr>
                      </a:lvl1pPr>
                      <a:lvl2pPr marL="358176" algn="l" defTabSz="716351" rtl="0" eaLnBrk="1" latinLnBrk="0" hangingPunct="1">
                        <a:defRPr sz="1324" kern="1200">
                          <a:solidFill>
                            <a:schemeClr val="tx1"/>
                          </a:solidFill>
                          <a:latin typeface="Segoe UI"/>
                        </a:defRPr>
                      </a:lvl2pPr>
                      <a:lvl3pPr marL="716351" algn="l" defTabSz="716351" rtl="0" eaLnBrk="1" latinLnBrk="0" hangingPunct="1">
                        <a:defRPr sz="1324" kern="1200">
                          <a:solidFill>
                            <a:schemeClr val="tx1"/>
                          </a:solidFill>
                          <a:latin typeface="Segoe UI"/>
                        </a:defRPr>
                      </a:lvl3pPr>
                      <a:lvl4pPr marL="1074528" algn="l" defTabSz="716351" rtl="0" eaLnBrk="1" latinLnBrk="0" hangingPunct="1">
                        <a:defRPr sz="1324" kern="1200">
                          <a:solidFill>
                            <a:schemeClr val="tx1"/>
                          </a:solidFill>
                          <a:latin typeface="Segoe UI"/>
                        </a:defRPr>
                      </a:lvl4pPr>
                      <a:lvl5pPr marL="1432703" algn="l" defTabSz="716351" rtl="0" eaLnBrk="1" latinLnBrk="0" hangingPunct="1">
                        <a:defRPr sz="1324" kern="1200">
                          <a:solidFill>
                            <a:schemeClr val="tx1"/>
                          </a:solidFill>
                          <a:latin typeface="Segoe UI"/>
                        </a:defRPr>
                      </a:lvl5pPr>
                      <a:lvl6pPr marL="1790880" algn="l" defTabSz="716351" rtl="0" eaLnBrk="1" latinLnBrk="0" hangingPunct="1">
                        <a:defRPr sz="1324" kern="1200">
                          <a:solidFill>
                            <a:schemeClr val="tx1"/>
                          </a:solidFill>
                          <a:latin typeface="Segoe UI"/>
                        </a:defRPr>
                      </a:lvl6pPr>
                      <a:lvl7pPr marL="2149055" algn="l" defTabSz="716351" rtl="0" eaLnBrk="1" latinLnBrk="0" hangingPunct="1">
                        <a:defRPr sz="1324" kern="1200">
                          <a:solidFill>
                            <a:schemeClr val="tx1"/>
                          </a:solidFill>
                          <a:latin typeface="Segoe UI"/>
                        </a:defRPr>
                      </a:lvl7pPr>
                      <a:lvl8pPr marL="2507231" algn="l" defTabSz="716351" rtl="0" eaLnBrk="1" latinLnBrk="0" hangingPunct="1">
                        <a:defRPr sz="1324" kern="1200">
                          <a:solidFill>
                            <a:schemeClr val="tx1"/>
                          </a:solidFill>
                          <a:latin typeface="Segoe UI"/>
                        </a:defRPr>
                      </a:lvl8pPr>
                      <a:lvl9pPr marL="2865407" algn="l" defTabSz="716351" rtl="0" eaLnBrk="1" latinLnBrk="0" hangingPunct="1">
                        <a:defRPr sz="1324" kern="1200">
                          <a:solidFill>
                            <a:schemeClr val="tx1"/>
                          </a:solidFill>
                          <a:latin typeface="Segoe UI"/>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16351" rtl="0" eaLnBrk="1" latinLnBrk="0" hangingPunct="1">
                        <a:defRPr sz="1324" kern="1200">
                          <a:solidFill>
                            <a:schemeClr val="tx1"/>
                          </a:solidFill>
                          <a:latin typeface="Segoe UI"/>
                        </a:defRPr>
                      </a:lvl1pPr>
                      <a:lvl2pPr marL="358176" algn="l" defTabSz="716351" rtl="0" eaLnBrk="1" latinLnBrk="0" hangingPunct="1">
                        <a:defRPr sz="1324" kern="1200">
                          <a:solidFill>
                            <a:schemeClr val="tx1"/>
                          </a:solidFill>
                          <a:latin typeface="Segoe UI"/>
                        </a:defRPr>
                      </a:lvl2pPr>
                      <a:lvl3pPr marL="716351" algn="l" defTabSz="716351" rtl="0" eaLnBrk="1" latinLnBrk="0" hangingPunct="1">
                        <a:defRPr sz="1324" kern="1200">
                          <a:solidFill>
                            <a:schemeClr val="tx1"/>
                          </a:solidFill>
                          <a:latin typeface="Segoe UI"/>
                        </a:defRPr>
                      </a:lvl3pPr>
                      <a:lvl4pPr marL="1074528" algn="l" defTabSz="716351" rtl="0" eaLnBrk="1" latinLnBrk="0" hangingPunct="1">
                        <a:defRPr sz="1324" kern="1200">
                          <a:solidFill>
                            <a:schemeClr val="tx1"/>
                          </a:solidFill>
                          <a:latin typeface="Segoe UI"/>
                        </a:defRPr>
                      </a:lvl4pPr>
                      <a:lvl5pPr marL="1432703" algn="l" defTabSz="716351" rtl="0" eaLnBrk="1" latinLnBrk="0" hangingPunct="1">
                        <a:defRPr sz="1324" kern="1200">
                          <a:solidFill>
                            <a:schemeClr val="tx1"/>
                          </a:solidFill>
                          <a:latin typeface="Segoe UI"/>
                        </a:defRPr>
                      </a:lvl5pPr>
                      <a:lvl6pPr marL="1790880" algn="l" defTabSz="716351" rtl="0" eaLnBrk="1" latinLnBrk="0" hangingPunct="1">
                        <a:defRPr sz="1324" kern="1200">
                          <a:solidFill>
                            <a:schemeClr val="tx1"/>
                          </a:solidFill>
                          <a:latin typeface="Segoe UI"/>
                        </a:defRPr>
                      </a:lvl6pPr>
                      <a:lvl7pPr marL="2149055" algn="l" defTabSz="716351" rtl="0" eaLnBrk="1" latinLnBrk="0" hangingPunct="1">
                        <a:defRPr sz="1324" kern="1200">
                          <a:solidFill>
                            <a:schemeClr val="tx1"/>
                          </a:solidFill>
                          <a:latin typeface="Segoe UI"/>
                        </a:defRPr>
                      </a:lvl7pPr>
                      <a:lvl8pPr marL="2507231" algn="l" defTabSz="716351" rtl="0" eaLnBrk="1" latinLnBrk="0" hangingPunct="1">
                        <a:defRPr sz="1324" kern="1200">
                          <a:solidFill>
                            <a:schemeClr val="tx1"/>
                          </a:solidFill>
                          <a:latin typeface="Segoe UI"/>
                        </a:defRPr>
                      </a:lvl8pPr>
                      <a:lvl9pPr marL="2865407" algn="l" defTabSz="716351" rtl="0" eaLnBrk="1" latinLnBrk="0" hangingPunct="1">
                        <a:defRPr sz="1324" kern="1200">
                          <a:solidFill>
                            <a:schemeClr val="tx1"/>
                          </a:solidFill>
                          <a:latin typeface="Segoe UI"/>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716351" rtl="0" eaLnBrk="1" latinLnBrk="0" hangingPunct="1">
                        <a:defRPr sz="1324" kern="1200">
                          <a:solidFill>
                            <a:schemeClr val="tx1"/>
                          </a:solidFill>
                          <a:latin typeface="Segoe UI"/>
                        </a:defRPr>
                      </a:lvl1pPr>
                      <a:lvl2pPr marL="358176" algn="l" defTabSz="716351" rtl="0" eaLnBrk="1" latinLnBrk="0" hangingPunct="1">
                        <a:defRPr sz="1324" kern="1200">
                          <a:solidFill>
                            <a:schemeClr val="tx1"/>
                          </a:solidFill>
                          <a:latin typeface="Segoe UI"/>
                        </a:defRPr>
                      </a:lvl2pPr>
                      <a:lvl3pPr marL="716351" algn="l" defTabSz="716351" rtl="0" eaLnBrk="1" latinLnBrk="0" hangingPunct="1">
                        <a:defRPr sz="1324" kern="1200">
                          <a:solidFill>
                            <a:schemeClr val="tx1"/>
                          </a:solidFill>
                          <a:latin typeface="Segoe UI"/>
                        </a:defRPr>
                      </a:lvl3pPr>
                      <a:lvl4pPr marL="1074528" algn="l" defTabSz="716351" rtl="0" eaLnBrk="1" latinLnBrk="0" hangingPunct="1">
                        <a:defRPr sz="1324" kern="1200">
                          <a:solidFill>
                            <a:schemeClr val="tx1"/>
                          </a:solidFill>
                          <a:latin typeface="Segoe UI"/>
                        </a:defRPr>
                      </a:lvl4pPr>
                      <a:lvl5pPr marL="1432703" algn="l" defTabSz="716351" rtl="0" eaLnBrk="1" latinLnBrk="0" hangingPunct="1">
                        <a:defRPr sz="1324" kern="1200">
                          <a:solidFill>
                            <a:schemeClr val="tx1"/>
                          </a:solidFill>
                          <a:latin typeface="Segoe UI"/>
                        </a:defRPr>
                      </a:lvl5pPr>
                      <a:lvl6pPr marL="1790880" algn="l" defTabSz="716351" rtl="0" eaLnBrk="1" latinLnBrk="0" hangingPunct="1">
                        <a:defRPr sz="1324" kern="1200">
                          <a:solidFill>
                            <a:schemeClr val="tx1"/>
                          </a:solidFill>
                          <a:latin typeface="Segoe UI"/>
                        </a:defRPr>
                      </a:lvl6pPr>
                      <a:lvl7pPr marL="2149055" algn="l" defTabSz="716351" rtl="0" eaLnBrk="1" latinLnBrk="0" hangingPunct="1">
                        <a:defRPr sz="1324" kern="1200">
                          <a:solidFill>
                            <a:schemeClr val="tx1"/>
                          </a:solidFill>
                          <a:latin typeface="Segoe UI"/>
                        </a:defRPr>
                      </a:lvl7pPr>
                      <a:lvl8pPr marL="2507231" algn="l" defTabSz="716351" rtl="0" eaLnBrk="1" latinLnBrk="0" hangingPunct="1">
                        <a:defRPr sz="1324" kern="1200">
                          <a:solidFill>
                            <a:schemeClr val="tx1"/>
                          </a:solidFill>
                          <a:latin typeface="Segoe UI"/>
                        </a:defRPr>
                      </a:lvl8pPr>
                      <a:lvl9pPr marL="2865407" algn="l" defTabSz="716351" rtl="0" eaLnBrk="1" latinLnBrk="0" hangingPunct="1">
                        <a:defRPr sz="1324" kern="1200">
                          <a:solidFill>
                            <a:schemeClr val="tx1"/>
                          </a:solidFill>
                          <a:latin typeface="Segoe UI"/>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716351" rtl="0" eaLnBrk="1" latinLnBrk="0" hangingPunct="1">
                        <a:defRPr sz="1324" kern="1200">
                          <a:solidFill>
                            <a:schemeClr val="tx1"/>
                          </a:solidFill>
                          <a:latin typeface="Segoe UI"/>
                        </a:defRPr>
                      </a:lvl1pPr>
                      <a:lvl2pPr marL="358176" algn="l" defTabSz="716351" rtl="0" eaLnBrk="1" latinLnBrk="0" hangingPunct="1">
                        <a:defRPr sz="1324" kern="1200">
                          <a:solidFill>
                            <a:schemeClr val="tx1"/>
                          </a:solidFill>
                          <a:latin typeface="Segoe UI"/>
                        </a:defRPr>
                      </a:lvl2pPr>
                      <a:lvl3pPr marL="716351" algn="l" defTabSz="716351" rtl="0" eaLnBrk="1" latinLnBrk="0" hangingPunct="1">
                        <a:defRPr sz="1324" kern="1200">
                          <a:solidFill>
                            <a:schemeClr val="tx1"/>
                          </a:solidFill>
                          <a:latin typeface="Segoe UI"/>
                        </a:defRPr>
                      </a:lvl3pPr>
                      <a:lvl4pPr marL="1074528" algn="l" defTabSz="716351" rtl="0" eaLnBrk="1" latinLnBrk="0" hangingPunct="1">
                        <a:defRPr sz="1324" kern="1200">
                          <a:solidFill>
                            <a:schemeClr val="tx1"/>
                          </a:solidFill>
                          <a:latin typeface="Segoe UI"/>
                        </a:defRPr>
                      </a:lvl4pPr>
                      <a:lvl5pPr marL="1432703" algn="l" defTabSz="716351" rtl="0" eaLnBrk="1" latinLnBrk="0" hangingPunct="1">
                        <a:defRPr sz="1324" kern="1200">
                          <a:solidFill>
                            <a:schemeClr val="tx1"/>
                          </a:solidFill>
                          <a:latin typeface="Segoe UI"/>
                        </a:defRPr>
                      </a:lvl5pPr>
                      <a:lvl6pPr marL="1790880" algn="l" defTabSz="716351" rtl="0" eaLnBrk="1" latinLnBrk="0" hangingPunct="1">
                        <a:defRPr sz="1324" kern="1200">
                          <a:solidFill>
                            <a:schemeClr val="tx1"/>
                          </a:solidFill>
                          <a:latin typeface="Segoe UI"/>
                        </a:defRPr>
                      </a:lvl6pPr>
                      <a:lvl7pPr marL="2149055" algn="l" defTabSz="716351" rtl="0" eaLnBrk="1" latinLnBrk="0" hangingPunct="1">
                        <a:defRPr sz="1324" kern="1200">
                          <a:solidFill>
                            <a:schemeClr val="tx1"/>
                          </a:solidFill>
                          <a:latin typeface="Segoe UI"/>
                        </a:defRPr>
                      </a:lvl7pPr>
                      <a:lvl8pPr marL="2507231" algn="l" defTabSz="716351" rtl="0" eaLnBrk="1" latinLnBrk="0" hangingPunct="1">
                        <a:defRPr sz="1324" kern="1200">
                          <a:solidFill>
                            <a:schemeClr val="tx1"/>
                          </a:solidFill>
                          <a:latin typeface="Segoe UI"/>
                        </a:defRPr>
                      </a:lvl8pPr>
                      <a:lvl9pPr marL="2865407" algn="l" defTabSz="716351" rtl="0" eaLnBrk="1" latinLnBrk="0" hangingPunct="1">
                        <a:defRPr sz="1324" kern="1200">
                          <a:solidFill>
                            <a:schemeClr val="tx1"/>
                          </a:solidFill>
                          <a:latin typeface="Segoe UI"/>
                        </a:defRPr>
                      </a:lvl9pPr>
                    </a:lstStyle>
                    <a:p>
                      <a:pPr algn="l">
                        <a:lnSpc>
                          <a:spcPct val="100000"/>
                        </a:lnSpc>
                      </a:pPr>
                      <a:endParaRPr lang="en-US" sz="700" b="0" i="0" spc="0">
                        <a:solidFill>
                          <a:schemeClr val="tx1"/>
                        </a:solidFill>
                        <a:latin typeface="Roboto" panose="02000000000000000000" pitchFamily="2" charset="0"/>
                        <a:ea typeface="Roboto" panose="02000000000000000000" pitchFamily="2" charset="0"/>
                      </a:endParaRPr>
                    </a:p>
                  </a:txBody>
                  <a:tcPr marL="76200" marR="76200" marT="76200" marB="7620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A1A1A">
                          <a:lumMod val="25000"/>
                          <a:lumOff val="75000"/>
                        </a:srgbClr>
                      </a:solidFill>
                      <a:prstDash val="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1173358"/>
                  </a:ext>
                </a:extLst>
              </a:tr>
            </a:tbl>
          </a:graphicData>
        </a:graphic>
      </p:graphicFrame>
      <p:grpSp>
        <p:nvGrpSpPr>
          <p:cNvPr id="149" name="Group 148">
            <a:extLst>
              <a:ext uri="{FF2B5EF4-FFF2-40B4-BE49-F238E27FC236}">
                <a16:creationId xmlns:a16="http://schemas.microsoft.com/office/drawing/2014/main" id="{E63627F5-03C6-47D2-A45B-70388A92C8BC}"/>
              </a:ext>
            </a:extLst>
          </p:cNvPr>
          <p:cNvGrpSpPr/>
          <p:nvPr/>
        </p:nvGrpSpPr>
        <p:grpSpPr>
          <a:xfrm>
            <a:off x="1703714" y="641659"/>
            <a:ext cx="9997208" cy="503200"/>
            <a:chOff x="1634811" y="203365"/>
            <a:chExt cx="9997208" cy="503200"/>
          </a:xfrm>
        </p:grpSpPr>
        <p:sp>
          <p:nvSpPr>
            <p:cNvPr id="150" name="Rectangle 149">
              <a:extLst>
                <a:ext uri="{FF2B5EF4-FFF2-40B4-BE49-F238E27FC236}">
                  <a16:creationId xmlns:a16="http://schemas.microsoft.com/office/drawing/2014/main" id="{0F4BA55C-46F9-458E-8A3D-BD80281B19A7}"/>
                </a:ext>
              </a:extLst>
            </p:cNvPr>
            <p:cNvSpPr/>
            <p:nvPr/>
          </p:nvSpPr>
          <p:spPr>
            <a:xfrm>
              <a:off x="1704966" y="203365"/>
              <a:ext cx="673261" cy="138499"/>
            </a:xfrm>
            <a:prstGeom prst="rect">
              <a:avLst/>
            </a:prstGeom>
          </p:spPr>
          <p:txBody>
            <a:bodyPr wrap="non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en-US" sz="900" b="1" i="0" u="none" strike="noStrike" kern="0" cap="none" spc="0" normalizeH="0" baseline="0" noProof="0">
                  <a:ln>
                    <a:noFill/>
                  </a:ln>
                  <a:solidFill>
                    <a:srgbClr val="1A1A1A"/>
                  </a:solidFill>
                  <a:effectLst/>
                  <a:uLnTx/>
                  <a:uFillTx/>
                  <a:latin typeface="Segoe UI"/>
                  <a:ea typeface="+mn-ea"/>
                  <a:cs typeface="+mn-cs"/>
                </a:rPr>
                <a:t>WHAT IS IT?</a:t>
              </a:r>
            </a:p>
          </p:txBody>
        </p:sp>
        <p:sp>
          <p:nvSpPr>
            <p:cNvPr id="151" name="Rectangle 150">
              <a:extLst>
                <a:ext uri="{FF2B5EF4-FFF2-40B4-BE49-F238E27FC236}">
                  <a16:creationId xmlns:a16="http://schemas.microsoft.com/office/drawing/2014/main" id="{75A5515D-3981-481E-AA64-6A62FC9D07C8}"/>
                </a:ext>
              </a:extLst>
            </p:cNvPr>
            <p:cNvSpPr/>
            <p:nvPr/>
          </p:nvSpPr>
          <p:spPr bwMode="auto">
            <a:xfrm>
              <a:off x="1634811" y="322381"/>
              <a:ext cx="9997208" cy="38418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76200" tIns="0" rIns="0" bIns="0" numCol="1" spcCol="0" rtlCol="0" fromWordArt="0" anchor="ctr" anchorCtr="0" forceAA="0" compatLnSpc="1">
              <a:prstTxWarp prst="textNoShape">
                <a:avLst/>
              </a:prstTxWarp>
              <a:noAutofit/>
            </a:bodyPr>
            <a:lstStyle/>
            <a:p>
              <a:pPr marL="0" marR="0" lvl="0" indent="0" algn="l" defTabSz="761719" rtl="0" eaLnBrk="1" fontAlgn="base" latinLnBrk="0" hangingPunct="1">
                <a:lnSpc>
                  <a:spcPct val="100000"/>
                </a:lnSpc>
                <a:spcBef>
                  <a:spcPct val="0"/>
                </a:spcBef>
                <a:spcAft>
                  <a:spcPct val="0"/>
                </a:spcAft>
                <a:buClrTx/>
                <a:buSzTx/>
                <a:buFontTx/>
                <a:buNone/>
                <a:tabLst/>
                <a:defRPr/>
              </a:pPr>
              <a:r>
                <a:rPr kumimoji="0" lang="en-US" sz="9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The </a:t>
              </a:r>
              <a:r>
                <a:rPr kumimoji="0" lang="en-US" sz="900" b="1" i="0" u="none" strike="noStrike" kern="0" cap="none" spc="42" normalizeH="0" baseline="0" noProof="0">
                  <a:ln>
                    <a:noFill/>
                  </a:ln>
                  <a:solidFill>
                    <a:srgbClr val="0078D4"/>
                  </a:solidFill>
                  <a:effectLst/>
                  <a:uLnTx/>
                  <a:uFillTx/>
                  <a:latin typeface="Segoe UI"/>
                  <a:ea typeface="Roboto" panose="02000000000000000000" pitchFamily="2" charset="0"/>
                  <a:cs typeface="+mn-cs"/>
                </a:rPr>
                <a:t>INNOVATE </a:t>
              </a:r>
              <a:r>
                <a:rPr kumimoji="0" lang="en-GB" sz="900" b="1" i="0" u="none" strike="noStrike" kern="0" cap="none" spc="42" normalizeH="0" baseline="0" noProof="0">
                  <a:ln>
                    <a:noFill/>
                  </a:ln>
                  <a:solidFill>
                    <a:srgbClr val="0078D4"/>
                  </a:solidFill>
                  <a:effectLst/>
                  <a:uLnTx/>
                  <a:uFillTx/>
                  <a:latin typeface="Segoe UI"/>
                  <a:ea typeface="+mn-ea"/>
                  <a:cs typeface="+mn-cs"/>
                </a:rPr>
                <a:t>priority </a:t>
              </a:r>
              <a:r>
                <a:rPr kumimoji="0" lang="en-GB" sz="900" b="0" i="0" u="none" strike="noStrike" kern="0" cap="none" spc="42" normalizeH="0" baseline="0" noProof="0">
                  <a:ln>
                    <a:noFill/>
                  </a:ln>
                  <a:solidFill>
                    <a:srgbClr val="282828"/>
                  </a:solidFill>
                  <a:effectLst/>
                  <a:uLnTx/>
                  <a:uFillTx/>
                  <a:latin typeface="Segoe UI"/>
                  <a:ea typeface="+mn-ea"/>
                  <a:cs typeface="+mn-cs"/>
                </a:rPr>
                <a:t>is focused on helping customers as the build new apps or modernize existing apps as well as for customers looking for a net-new modern cloud Data Warehouse or AI solutions.</a:t>
              </a:r>
              <a:endParaRPr kumimoji="0" lang="en-US" sz="900" b="0" i="0" u="none" strike="noStrike" kern="0" cap="none" spc="42" normalizeH="0" baseline="0" noProof="0">
                <a:ln>
                  <a:noFill/>
                </a:ln>
                <a:solidFill>
                  <a:srgbClr val="282828"/>
                </a:solidFill>
                <a:effectLst/>
                <a:uLnTx/>
                <a:uFillTx/>
                <a:latin typeface="Segoe UI"/>
                <a:ea typeface="+mn-ea"/>
                <a:cs typeface="+mn-cs"/>
              </a:endParaRPr>
            </a:p>
          </p:txBody>
        </p:sp>
      </p:grpSp>
      <p:grpSp>
        <p:nvGrpSpPr>
          <p:cNvPr id="152" name="Group 151">
            <a:extLst>
              <a:ext uri="{FF2B5EF4-FFF2-40B4-BE49-F238E27FC236}">
                <a16:creationId xmlns:a16="http://schemas.microsoft.com/office/drawing/2014/main" id="{4CC8531C-E6CC-4461-8D99-60391FE4E016}"/>
              </a:ext>
            </a:extLst>
          </p:cNvPr>
          <p:cNvGrpSpPr/>
          <p:nvPr/>
        </p:nvGrpSpPr>
        <p:grpSpPr>
          <a:xfrm>
            <a:off x="1703714" y="1134860"/>
            <a:ext cx="10089048" cy="642689"/>
            <a:chOff x="1634811" y="696566"/>
            <a:chExt cx="10089048" cy="642689"/>
          </a:xfrm>
        </p:grpSpPr>
        <p:sp>
          <p:nvSpPr>
            <p:cNvPr id="153" name="Rectangle 152">
              <a:extLst>
                <a:ext uri="{FF2B5EF4-FFF2-40B4-BE49-F238E27FC236}">
                  <a16:creationId xmlns:a16="http://schemas.microsoft.com/office/drawing/2014/main" id="{B6A2C263-2518-48EA-A879-5EC05B5DB1AF}"/>
                </a:ext>
              </a:extLst>
            </p:cNvPr>
            <p:cNvSpPr/>
            <p:nvPr/>
          </p:nvSpPr>
          <p:spPr bwMode="auto">
            <a:xfrm>
              <a:off x="1634811" y="742427"/>
              <a:ext cx="10089048" cy="59682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76200" tIns="0" rIns="38100" bIns="0" numCol="1" spcCol="0" rtlCol="0" fromWordArt="0" anchor="t" anchorCtr="0" forceAA="0" compatLnSpc="1">
              <a:prstTxWarp prst="textNoShape">
                <a:avLst/>
              </a:prstTxWarp>
              <a:noAutofit/>
            </a:bodyPr>
            <a:lstStyle/>
            <a:p>
              <a:pPr marL="171450" marR="0" lvl="0" indent="-171450" algn="l" defTabSz="76171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cs-CZ" sz="900" b="0" i="0" u="none" strike="noStrike" kern="0" cap="none" spc="42" normalizeH="0" baseline="0" noProof="0">
                  <a:ln>
                    <a:noFill/>
                  </a:ln>
                  <a:solidFill>
                    <a:srgbClr val="282828"/>
                  </a:solidFill>
                  <a:effectLst/>
                  <a:uLnTx/>
                  <a:uFillTx/>
                  <a:latin typeface="Segoe UI"/>
                  <a:ea typeface="+mn-ea"/>
                  <a:cs typeface="+mn-cs"/>
                </a:rPr>
                <a:t>Key Sales Plays</a:t>
              </a:r>
              <a:endParaRPr kumimoji="0" lang="en-US" sz="900" b="0" i="0" u="none" strike="noStrike" kern="0" cap="none" spc="42" normalizeH="0" baseline="0" noProof="0">
                <a:ln>
                  <a:noFill/>
                </a:ln>
                <a:solidFill>
                  <a:srgbClr val="282828"/>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700" b="0" i="0" u="none" strike="noStrike" kern="0" cap="none" spc="0" normalizeH="0" baseline="0" noProof="0">
                  <a:ln>
                    <a:noFill/>
                  </a:ln>
                  <a:solidFill>
                    <a:srgbClr val="1A1A1A"/>
                  </a:solidFill>
                  <a:effectLst/>
                  <a:uLnTx/>
                  <a:uFillTx/>
                  <a:latin typeface="Segoe UI"/>
                  <a:ea typeface="+mn-ea"/>
                  <a:cs typeface="+mn-cs"/>
                </a:rPr>
                <a:t>Artificial Intelligence:/</a:t>
              </a:r>
              <a:r>
                <a:rPr kumimoji="0" lang="en-US" sz="700" b="0" i="0" u="none" strike="noStrike" kern="0" cap="none" spc="0" normalizeH="0" baseline="0" noProof="0">
                  <a:ln>
                    <a:noFill/>
                  </a:ln>
                  <a:solidFill>
                    <a:srgbClr val="1A1A1A"/>
                  </a:solidFill>
                  <a:effectLst/>
                  <a:uLnTx/>
                  <a:uFillTx/>
                  <a:latin typeface="Segoe UI"/>
                  <a:ea typeface="+mn-ea"/>
                  <a:cs typeface="+mn-cs"/>
                </a:rPr>
                <a:t>AI (exc. Databricks): </a:t>
              </a:r>
              <a:r>
                <a:rPr kumimoji="0" lang="en-US" sz="700" b="1" i="0" u="none" strike="noStrike" kern="0" cap="none" spc="0" normalizeH="0" baseline="0" noProof="0">
                  <a:ln>
                    <a:noFill/>
                  </a:ln>
                  <a:solidFill>
                    <a:srgbClr val="1A1A1A"/>
                  </a:solidFill>
                  <a:effectLst/>
                  <a:uLnTx/>
                  <a:uFillTx/>
                  <a:latin typeface="Segoe UI"/>
                  <a:ea typeface="Calibri" panose="020F0502020204030204" pitchFamily="34" charset="0"/>
                  <a:cs typeface="Times New Roman" panose="02020603050405020304" pitchFamily="18" charset="0"/>
                </a:rPr>
                <a:t>AI: Azure Machine Learning, AI: Bots, AI: Cognitive Services, AI: Intelligent Automation/RPA, AI: Knowledge Mining</a:t>
              </a:r>
              <a:endParaRPr kumimoji="0" lang="en-US" sz="700" b="0" i="0" u="none" strike="noStrike" kern="0" cap="none" spc="0" normalizeH="0" baseline="0" noProof="0">
                <a:ln>
                  <a:noFill/>
                </a:ln>
                <a:solidFill>
                  <a:srgbClr val="1A1A1A"/>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0" cap="none" spc="0" normalizeH="0" baseline="0" noProof="0">
                  <a:ln>
                    <a:noFill/>
                  </a:ln>
                  <a:solidFill>
                    <a:srgbClr val="1A1A1A"/>
                  </a:solidFill>
                  <a:effectLst/>
                  <a:uLnTx/>
                  <a:uFillTx/>
                  <a:latin typeface="Segoe UI"/>
                  <a:ea typeface="+mn-ea"/>
                  <a:cs typeface="+mn-cs"/>
                </a:rPr>
                <a:t>Analytics (Synapse + Ecosystem): </a:t>
              </a:r>
              <a:r>
                <a:rPr kumimoji="0" lang="en-US" sz="700" b="1" i="0" u="none" strike="noStrike" kern="0" cap="none" spc="0" normalizeH="0" baseline="0" noProof="0">
                  <a:ln>
                    <a:noFill/>
                  </a:ln>
                  <a:solidFill>
                    <a:srgbClr val="1A1A1A"/>
                  </a:solidFill>
                  <a:effectLst/>
                  <a:uLnTx/>
                  <a:uFillTx/>
                  <a:latin typeface="Segoe UI"/>
                  <a:ea typeface="Calibri" panose="020F0502020204030204" pitchFamily="34" charset="0"/>
                  <a:cs typeface="Times New Roman" panose="02020603050405020304" pitchFamily="18" charset="0"/>
                </a:rPr>
                <a:t>Data Azure: Analytics, Modern Data Warehouse</a:t>
              </a:r>
              <a:endParaRPr kumimoji="0" lang="en-US" sz="700" b="0" i="0" u="none" strike="noStrike" kern="0" cap="none" spc="0" normalizeH="0" baseline="0" noProof="0">
                <a:ln>
                  <a:noFill/>
                </a:ln>
                <a:solidFill>
                  <a:srgbClr val="1A1A1A"/>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0" cap="none" spc="0" normalizeH="0" baseline="0" noProof="0">
                  <a:ln>
                    <a:noFill/>
                  </a:ln>
                  <a:solidFill>
                    <a:srgbClr val="1A1A1A"/>
                  </a:solidFill>
                  <a:effectLst/>
                  <a:uLnTx/>
                  <a:uFillTx/>
                  <a:latin typeface="Segoe UI"/>
                  <a:ea typeface="+mn-ea"/>
                  <a:cs typeface="+mn-cs"/>
                </a:rPr>
                <a:t>Databricks: </a:t>
              </a:r>
              <a:r>
                <a:rPr kumimoji="0" lang="en-US" sz="700" b="1" i="0" u="none" strike="noStrike" kern="0" cap="none" spc="0" normalizeH="0" baseline="0" noProof="0">
                  <a:ln>
                    <a:noFill/>
                  </a:ln>
                  <a:solidFill>
                    <a:srgbClr val="1A1A1A"/>
                  </a:solidFill>
                  <a:effectLst/>
                  <a:uLnTx/>
                  <a:uFillTx/>
                  <a:latin typeface="Segoe UI"/>
                  <a:ea typeface="Calibri" panose="020F0502020204030204" pitchFamily="34" charset="0"/>
                  <a:cs typeface="Times New Roman" panose="02020603050405020304" pitchFamily="18" charset="0"/>
                </a:rPr>
                <a:t>Data: Azure </a:t>
              </a:r>
              <a:r>
                <a:rPr kumimoji="0" lang="en-US" sz="700" b="1" i="0" u="none" strike="noStrike" kern="0" cap="none" spc="0" normalizeH="0" baseline="0" noProof="0" err="1">
                  <a:ln>
                    <a:noFill/>
                  </a:ln>
                  <a:solidFill>
                    <a:srgbClr val="1A1A1A"/>
                  </a:solidFill>
                  <a:effectLst/>
                  <a:uLnTx/>
                  <a:uFillTx/>
                  <a:latin typeface="Segoe UI"/>
                  <a:ea typeface="Calibri" panose="020F0502020204030204" pitchFamily="34" charset="0"/>
                  <a:cs typeface="Times New Roman" panose="02020603050405020304" pitchFamily="18" charset="0"/>
                </a:rPr>
                <a:t>DataBricks</a:t>
              </a:r>
              <a:endParaRPr kumimoji="0" lang="en-GB" sz="700" b="0" i="0" u="none" strike="noStrike" kern="0" cap="none" spc="0" normalizeH="0" baseline="0" noProof="0">
                <a:ln>
                  <a:noFill/>
                </a:ln>
                <a:solidFill>
                  <a:srgbClr val="1A1A1A"/>
                </a:solidFill>
                <a:effectLst/>
                <a:uLnTx/>
                <a:uFillTx/>
                <a:latin typeface="Segoe UI"/>
                <a:ea typeface="Calibri" panose="020F0502020204030204" pitchFamily="34" charset="0"/>
                <a:cs typeface="Times New Roman" panose="02020603050405020304" pitchFamily="18"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0" cap="none" spc="0" normalizeH="0" baseline="0" noProof="0">
                  <a:ln>
                    <a:noFill/>
                  </a:ln>
                  <a:solidFill>
                    <a:srgbClr val="1A1A1A"/>
                  </a:solidFill>
                  <a:effectLst/>
                  <a:uLnTx/>
                  <a:uFillTx/>
                  <a:latin typeface="Segoe UI"/>
                  <a:ea typeface="+mn-ea"/>
                  <a:cs typeface="+mn-cs"/>
                </a:rPr>
                <a:t>Cloud Native Application Development: </a:t>
              </a:r>
              <a:r>
                <a:rPr kumimoji="0" lang="en-US" sz="700" b="1" i="0" u="none" strike="noStrike" kern="0" cap="none" spc="0" normalizeH="0" baseline="0" noProof="0">
                  <a:ln>
                    <a:noFill/>
                  </a:ln>
                  <a:solidFill>
                    <a:srgbClr val="1A1A1A"/>
                  </a:solidFill>
                  <a:effectLst/>
                  <a:uLnTx/>
                  <a:uFillTx/>
                  <a:latin typeface="Segoe UI"/>
                  <a:ea typeface="Calibri" panose="020F0502020204030204" pitchFamily="34" charset="0"/>
                  <a:cs typeface="Times New Roman" panose="02020603050405020304" pitchFamily="18" charset="0"/>
                </a:rPr>
                <a:t>Apps: App Innovation (AKS and Container), </a:t>
              </a:r>
              <a:r>
                <a:rPr kumimoji="0" lang="en-GB" sz="700" b="1" i="0" u="none" strike="noStrike" kern="0" cap="none" spc="0" normalizeH="0" baseline="0" noProof="0">
                  <a:ln>
                    <a:noFill/>
                  </a:ln>
                  <a:solidFill>
                    <a:srgbClr val="1A1A1A"/>
                  </a:solidFill>
                  <a:effectLst/>
                  <a:uLnTx/>
                  <a:uFillTx/>
                  <a:latin typeface="Segoe UI"/>
                  <a:ea typeface="+mn-ea"/>
                  <a:cs typeface="Times New Roman" panose="02020603050405020304" pitchFamily="18" charset="0"/>
                </a:rPr>
                <a:t>Apps: App Innovation (App Service, Serverless)</a:t>
              </a:r>
              <a:endParaRPr kumimoji="0" lang="en-US" sz="700" b="1" i="0" u="none" strike="noStrike" kern="0" cap="none" spc="0" normalizeH="0" baseline="0" noProof="0">
                <a:ln>
                  <a:noFill/>
                </a:ln>
                <a:solidFill>
                  <a:srgbClr val="1A1A1A"/>
                </a:solidFill>
                <a:effectLst/>
                <a:uLnTx/>
                <a:uFillTx/>
                <a:latin typeface="Segoe UI"/>
                <a:ea typeface="+mn-ea"/>
                <a:cs typeface="Times New Roman" panose="02020603050405020304" pitchFamily="18"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0" cap="none" spc="0" normalizeH="0" baseline="0" noProof="0">
                  <a:ln>
                    <a:noFill/>
                  </a:ln>
                  <a:solidFill>
                    <a:srgbClr val="1A1A1A"/>
                  </a:solidFill>
                  <a:effectLst/>
                  <a:uLnTx/>
                  <a:uFillTx/>
                  <a:latin typeface="Segoe UI"/>
                  <a:ea typeface="+mn-ea"/>
                  <a:cs typeface="+mn-cs"/>
                </a:rPr>
                <a:t>.NET Modernization: </a:t>
              </a:r>
              <a:r>
                <a:rPr kumimoji="0" lang="en-US" sz="700" b="1" i="0" u="none" strike="noStrike" kern="0" cap="none" spc="0" normalizeH="0" baseline="0" noProof="0">
                  <a:ln>
                    <a:noFill/>
                  </a:ln>
                  <a:solidFill>
                    <a:srgbClr val="1A1A1A"/>
                  </a:solidFill>
                  <a:effectLst/>
                  <a:uLnTx/>
                  <a:uFillTx/>
                  <a:latin typeface="Segoe UI"/>
                  <a:ea typeface="Calibri" panose="020F0502020204030204" pitchFamily="34" charset="0"/>
                  <a:cs typeface="Times New Roman" panose="02020603050405020304" pitchFamily="18" charset="0"/>
                </a:rPr>
                <a:t>Apps: App Modernization (Website/Webapp)</a:t>
              </a:r>
              <a:endParaRPr kumimoji="0" lang="en-US" sz="700" b="0" i="0" u="none" strike="noStrike" kern="0" cap="none" spc="0" normalizeH="0" baseline="0" noProof="0">
                <a:ln>
                  <a:noFill/>
                </a:ln>
                <a:solidFill>
                  <a:srgbClr val="1A1A1A"/>
                </a:solidFill>
                <a:effectLst/>
                <a:uLnTx/>
                <a:uFillTx/>
                <a:latin typeface="Segoe UI"/>
                <a:ea typeface="+mn-ea"/>
                <a:cs typeface="+mn-cs"/>
              </a:endParaRPr>
            </a:p>
          </p:txBody>
        </p:sp>
        <p:sp>
          <p:nvSpPr>
            <p:cNvPr id="154" name="Rectangle 153">
              <a:extLst>
                <a:ext uri="{FF2B5EF4-FFF2-40B4-BE49-F238E27FC236}">
                  <a16:creationId xmlns:a16="http://schemas.microsoft.com/office/drawing/2014/main" id="{9E8551C3-BFEA-428B-B1DB-16ABC6EA21F5}"/>
                </a:ext>
              </a:extLst>
            </p:cNvPr>
            <p:cNvSpPr/>
            <p:nvPr/>
          </p:nvSpPr>
          <p:spPr>
            <a:xfrm>
              <a:off x="1704966" y="696566"/>
              <a:ext cx="65" cy="138499"/>
            </a:xfrm>
            <a:prstGeom prst="rect">
              <a:avLst/>
            </a:prstGeom>
          </p:spPr>
          <p:txBody>
            <a:bodyPr wrap="non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endParaRPr kumimoji="0" lang="en-US" sz="900" b="1" i="0" u="none" strike="noStrike" kern="0" cap="none" spc="0" normalizeH="0" baseline="0" noProof="0">
                <a:ln>
                  <a:noFill/>
                </a:ln>
                <a:solidFill>
                  <a:srgbClr val="1A1A1A"/>
                </a:solidFill>
                <a:effectLst/>
                <a:uLnTx/>
                <a:uFillTx/>
                <a:latin typeface="Segoe UI"/>
                <a:ea typeface="+mn-ea"/>
                <a:cs typeface="+mn-cs"/>
              </a:endParaRPr>
            </a:p>
          </p:txBody>
        </p:sp>
      </p:grpSp>
      <p:sp>
        <p:nvSpPr>
          <p:cNvPr id="155" name="Rectangle 154">
            <a:extLst>
              <a:ext uri="{FF2B5EF4-FFF2-40B4-BE49-F238E27FC236}">
                <a16:creationId xmlns:a16="http://schemas.microsoft.com/office/drawing/2014/main" id="{416B9D48-CAD2-4064-BEFF-CB0CE1AD871C}"/>
              </a:ext>
            </a:extLst>
          </p:cNvPr>
          <p:cNvSpPr/>
          <p:nvPr/>
        </p:nvSpPr>
        <p:spPr>
          <a:xfrm>
            <a:off x="1758065" y="3009243"/>
            <a:ext cx="1200203" cy="369332"/>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mn-ea"/>
                <a:cs typeface="+mn-cs"/>
              </a:rPr>
              <a:t>Modernize .NET Apps  with App Service and Azure SQL DB</a:t>
            </a:r>
          </a:p>
        </p:txBody>
      </p:sp>
      <p:sp>
        <p:nvSpPr>
          <p:cNvPr id="156" name="Rectangle 155">
            <a:extLst>
              <a:ext uri="{FF2B5EF4-FFF2-40B4-BE49-F238E27FC236}">
                <a16:creationId xmlns:a16="http://schemas.microsoft.com/office/drawing/2014/main" id="{7E711DAE-DC58-44D3-A7C8-9E0C2EAAE6B3}"/>
              </a:ext>
            </a:extLst>
          </p:cNvPr>
          <p:cNvSpPr/>
          <p:nvPr/>
        </p:nvSpPr>
        <p:spPr>
          <a:xfrm>
            <a:off x="1773869" y="5787540"/>
            <a:ext cx="1170192" cy="138499"/>
          </a:xfrm>
          <a:prstGeom prst="rect">
            <a:avLst/>
          </a:prstGeom>
        </p:spPr>
        <p:txBody>
          <a:bodyPr wrap="non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en-US" sz="900" b="1" i="0" u="none" strike="noStrike" kern="0" cap="none" spc="0" normalizeH="0" baseline="0" noProof="0">
                <a:ln>
                  <a:noFill/>
                </a:ln>
                <a:solidFill>
                  <a:srgbClr val="1A1A1A"/>
                </a:solidFill>
                <a:effectLst/>
                <a:uLnTx/>
                <a:uFillTx/>
                <a:latin typeface="Segoe UI"/>
                <a:ea typeface="+mn-ea"/>
                <a:cs typeface="+mn-cs"/>
              </a:rPr>
              <a:t>Investment Programs</a:t>
            </a:r>
          </a:p>
        </p:txBody>
      </p:sp>
      <p:sp>
        <p:nvSpPr>
          <p:cNvPr id="157" name="Rectangle 156">
            <a:extLst>
              <a:ext uri="{FF2B5EF4-FFF2-40B4-BE49-F238E27FC236}">
                <a16:creationId xmlns:a16="http://schemas.microsoft.com/office/drawing/2014/main" id="{CE3380CC-9396-4B25-BB01-57E216175AA2}"/>
              </a:ext>
            </a:extLst>
          </p:cNvPr>
          <p:cNvSpPr/>
          <p:nvPr/>
        </p:nvSpPr>
        <p:spPr>
          <a:xfrm>
            <a:off x="1773869" y="2161855"/>
            <a:ext cx="769441" cy="138499"/>
          </a:xfrm>
          <a:prstGeom prst="rect">
            <a:avLst/>
          </a:prstGeom>
        </p:spPr>
        <p:txBody>
          <a:bodyPr wrap="non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en-US" sz="900" b="1" i="0" u="none" strike="noStrike" kern="0" cap="none" spc="0" normalizeH="0" baseline="0" noProof="0">
                <a:ln>
                  <a:noFill/>
                </a:ln>
                <a:solidFill>
                  <a:srgbClr val="1A1A1A"/>
                </a:solidFill>
                <a:effectLst/>
                <a:uLnTx/>
                <a:uFillTx/>
                <a:latin typeface="Segoe UI"/>
                <a:ea typeface="+mn-ea"/>
                <a:cs typeface="+mn-cs"/>
              </a:rPr>
              <a:t>THE JOURNEY</a:t>
            </a:r>
          </a:p>
        </p:txBody>
      </p:sp>
      <p:sp>
        <p:nvSpPr>
          <p:cNvPr id="158" name="Chevron 22">
            <a:extLst>
              <a:ext uri="{FF2B5EF4-FFF2-40B4-BE49-F238E27FC236}">
                <a16:creationId xmlns:a16="http://schemas.microsoft.com/office/drawing/2014/main" id="{979DCAF0-69AA-491B-BDBC-8687EA3BD6D1}"/>
              </a:ext>
            </a:extLst>
          </p:cNvPr>
          <p:cNvSpPr/>
          <p:nvPr/>
        </p:nvSpPr>
        <p:spPr>
          <a:xfrm>
            <a:off x="4564423" y="2091403"/>
            <a:ext cx="1478229" cy="237533"/>
          </a:xfrm>
          <a:prstGeom prst="chevron">
            <a:avLst/>
          </a:prstGeom>
          <a:solidFill>
            <a:srgbClr val="041E41"/>
          </a:solidFill>
          <a:ln w="9525" cap="flat" cmpd="sng" algn="ctr">
            <a:noFill/>
            <a:prstDash val="sysDash"/>
          </a:ln>
          <a:effectLst/>
        </p:spPr>
        <p:txBody>
          <a:bodyPr lIns="95250" tIns="0" rIns="0" bIns="0" anchor="ct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900" b="1" i="0" u="none" strike="noStrike" kern="0" cap="none" spc="100" normalizeH="0" baseline="0" noProof="0">
                <a:ln>
                  <a:noFill/>
                </a:ln>
                <a:solidFill>
                  <a:srgbClr val="FFFFFF"/>
                </a:solidFill>
                <a:effectLst/>
                <a:uLnTx/>
                <a:uFillTx/>
                <a:latin typeface="Segoe UI"/>
                <a:ea typeface="Roboto" panose="02000000000000000000" pitchFamily="2" charset="0"/>
                <a:cs typeface="+mn-cs"/>
              </a:rPr>
              <a:t>Envision</a:t>
            </a:r>
          </a:p>
        </p:txBody>
      </p:sp>
      <p:sp>
        <p:nvSpPr>
          <p:cNvPr id="159" name="Chevron 23">
            <a:extLst>
              <a:ext uri="{FF2B5EF4-FFF2-40B4-BE49-F238E27FC236}">
                <a16:creationId xmlns:a16="http://schemas.microsoft.com/office/drawing/2014/main" id="{B06E8CCD-C7C2-4B30-B845-D456E8F16C7B}"/>
              </a:ext>
            </a:extLst>
          </p:cNvPr>
          <p:cNvSpPr/>
          <p:nvPr/>
        </p:nvSpPr>
        <p:spPr>
          <a:xfrm>
            <a:off x="5992103" y="2091404"/>
            <a:ext cx="1517598" cy="228577"/>
          </a:xfrm>
          <a:prstGeom prst="chevron">
            <a:avLst/>
          </a:prstGeom>
          <a:solidFill>
            <a:srgbClr val="041E41"/>
          </a:solidFill>
          <a:ln w="9525" cap="flat" cmpd="sng" algn="ctr">
            <a:noFill/>
            <a:prstDash val="sysDash"/>
          </a:ln>
          <a:effectLst/>
        </p:spPr>
        <p:txBody>
          <a:bodyPr lIns="95250" tIns="0" rIns="0" bIns="0" anchor="ct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900" b="1" i="0" u="none" strike="noStrike" kern="0" cap="none" spc="100" normalizeH="0" baseline="0" noProof="0">
                <a:ln>
                  <a:noFill/>
                </a:ln>
                <a:solidFill>
                  <a:srgbClr val="FFFFFF"/>
                </a:solidFill>
                <a:effectLst/>
                <a:uLnTx/>
                <a:uFillTx/>
                <a:latin typeface="Segoe UI"/>
                <a:ea typeface="Roboto" panose="02000000000000000000" pitchFamily="2" charset="0"/>
                <a:cs typeface="+mn-cs"/>
              </a:rPr>
              <a:t>Validate</a:t>
            </a:r>
          </a:p>
        </p:txBody>
      </p:sp>
      <p:sp>
        <p:nvSpPr>
          <p:cNvPr id="160" name="Chevron 24">
            <a:extLst>
              <a:ext uri="{FF2B5EF4-FFF2-40B4-BE49-F238E27FC236}">
                <a16:creationId xmlns:a16="http://schemas.microsoft.com/office/drawing/2014/main" id="{9D4EE61A-7948-427D-A55B-AA5ECF0DD3B8}"/>
              </a:ext>
            </a:extLst>
          </p:cNvPr>
          <p:cNvSpPr/>
          <p:nvPr/>
        </p:nvSpPr>
        <p:spPr>
          <a:xfrm>
            <a:off x="7444934" y="2091404"/>
            <a:ext cx="1517598" cy="228577"/>
          </a:xfrm>
          <a:prstGeom prst="chevron">
            <a:avLst/>
          </a:prstGeom>
          <a:solidFill>
            <a:srgbClr val="041E41"/>
          </a:solidFill>
          <a:ln w="9525" cap="flat" cmpd="sng" algn="ctr">
            <a:noFill/>
            <a:prstDash val="sysDash"/>
          </a:ln>
          <a:effectLst/>
        </p:spPr>
        <p:txBody>
          <a:bodyPr lIns="95250" tIns="0" rIns="0" bIns="0" anchor="ct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900" b="1" i="0" u="none" strike="noStrike" kern="0" cap="none" spc="100" normalizeH="0" baseline="0" noProof="0">
                <a:ln>
                  <a:noFill/>
                </a:ln>
                <a:solidFill>
                  <a:srgbClr val="FFFFFF"/>
                </a:solidFill>
                <a:effectLst/>
                <a:uLnTx/>
                <a:uFillTx/>
                <a:latin typeface="Segoe UI"/>
                <a:ea typeface="Roboto" panose="02000000000000000000" pitchFamily="2" charset="0"/>
                <a:cs typeface="+mn-cs"/>
              </a:rPr>
              <a:t>Commit</a:t>
            </a:r>
          </a:p>
        </p:txBody>
      </p:sp>
      <p:sp>
        <p:nvSpPr>
          <p:cNvPr id="161" name="Chevron 25">
            <a:extLst>
              <a:ext uri="{FF2B5EF4-FFF2-40B4-BE49-F238E27FC236}">
                <a16:creationId xmlns:a16="http://schemas.microsoft.com/office/drawing/2014/main" id="{BFEEB239-9EEF-4C5B-9132-E8BA5F6215B3}"/>
              </a:ext>
            </a:extLst>
          </p:cNvPr>
          <p:cNvSpPr/>
          <p:nvPr/>
        </p:nvSpPr>
        <p:spPr>
          <a:xfrm>
            <a:off x="8889300" y="2091404"/>
            <a:ext cx="1517598" cy="228577"/>
          </a:xfrm>
          <a:prstGeom prst="chevron">
            <a:avLst/>
          </a:prstGeom>
          <a:solidFill>
            <a:srgbClr val="041E41"/>
          </a:solidFill>
          <a:ln w="9525" cap="flat" cmpd="sng" algn="ctr">
            <a:noFill/>
            <a:prstDash val="sysDash"/>
          </a:ln>
          <a:effectLst/>
        </p:spPr>
        <p:txBody>
          <a:bodyPr lIns="95250" tIns="0" rIns="0" bIns="0" anchor="ct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900" b="1" i="0" u="none" strike="noStrike" kern="0" cap="none" spc="100" normalizeH="0" baseline="0" noProof="0">
                <a:ln>
                  <a:noFill/>
                </a:ln>
                <a:solidFill>
                  <a:srgbClr val="FFFFFF"/>
                </a:solidFill>
                <a:effectLst/>
                <a:uLnTx/>
                <a:uFillTx/>
                <a:latin typeface="Segoe UI"/>
                <a:ea typeface="Roboto" panose="02000000000000000000" pitchFamily="2" charset="0"/>
                <a:cs typeface="+mn-cs"/>
              </a:rPr>
              <a:t>Onboard</a:t>
            </a:r>
          </a:p>
        </p:txBody>
      </p:sp>
      <p:sp>
        <p:nvSpPr>
          <p:cNvPr id="162" name="Chevron 70">
            <a:extLst>
              <a:ext uri="{FF2B5EF4-FFF2-40B4-BE49-F238E27FC236}">
                <a16:creationId xmlns:a16="http://schemas.microsoft.com/office/drawing/2014/main" id="{564657CE-8F68-40CB-BB50-208162D0894B}"/>
              </a:ext>
            </a:extLst>
          </p:cNvPr>
          <p:cNvSpPr/>
          <p:nvPr/>
        </p:nvSpPr>
        <p:spPr>
          <a:xfrm>
            <a:off x="10343153" y="2091404"/>
            <a:ext cx="1622260" cy="228577"/>
          </a:xfrm>
          <a:prstGeom prst="chevron">
            <a:avLst/>
          </a:prstGeom>
          <a:solidFill>
            <a:srgbClr val="041E41"/>
          </a:solidFill>
          <a:ln w="9525" cap="flat" cmpd="sng" algn="ctr">
            <a:noFill/>
            <a:prstDash val="sysDash"/>
          </a:ln>
          <a:effectLst/>
        </p:spPr>
        <p:txBody>
          <a:bodyPr lIns="95250" tIns="0" rIns="0" bIns="0" anchor="ctr"/>
          <a:lstStyle/>
          <a:p>
            <a:pPr marL="0" marR="0" lvl="0" indent="0" algn="l" defTabSz="1087618" rtl="0" eaLnBrk="1" fontAlgn="auto" latinLnBrk="0" hangingPunct="1">
              <a:lnSpc>
                <a:spcPct val="100000"/>
              </a:lnSpc>
              <a:spcBef>
                <a:spcPts val="0"/>
              </a:spcBef>
              <a:spcAft>
                <a:spcPts val="0"/>
              </a:spcAft>
              <a:buClrTx/>
              <a:buSzTx/>
              <a:buFontTx/>
              <a:buNone/>
              <a:tabLst/>
              <a:defRPr/>
            </a:pPr>
            <a:endParaRPr kumimoji="0" lang="en-US" sz="875" b="1" i="0" u="none" strike="noStrike" kern="0" cap="none" spc="167" normalizeH="0" baseline="0" noProof="0">
              <a:ln>
                <a:noFill/>
              </a:ln>
              <a:solidFill>
                <a:srgbClr val="FFFFFF"/>
              </a:solidFill>
              <a:effectLst/>
              <a:uLnTx/>
              <a:uFillTx/>
              <a:latin typeface="Roboto" panose="02000000000000000000" pitchFamily="2" charset="0"/>
              <a:ea typeface="Roboto" panose="02000000000000000000" pitchFamily="2" charset="0"/>
              <a:cs typeface="+mn-cs"/>
            </a:endParaRPr>
          </a:p>
        </p:txBody>
      </p:sp>
      <p:sp>
        <p:nvSpPr>
          <p:cNvPr id="163" name="Rectangle 162">
            <a:extLst>
              <a:ext uri="{FF2B5EF4-FFF2-40B4-BE49-F238E27FC236}">
                <a16:creationId xmlns:a16="http://schemas.microsoft.com/office/drawing/2014/main" id="{FE815DF1-FFD6-405B-BC74-4ACF3A8F3C47}"/>
              </a:ext>
            </a:extLst>
          </p:cNvPr>
          <p:cNvSpPr/>
          <p:nvPr/>
        </p:nvSpPr>
        <p:spPr>
          <a:xfrm>
            <a:off x="3184827" y="2380335"/>
            <a:ext cx="1580176" cy="24622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Driving top of funnel</a:t>
            </a:r>
          </a:p>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Output:</a:t>
            </a: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 Known leads</a:t>
            </a:r>
          </a:p>
        </p:txBody>
      </p:sp>
      <p:sp>
        <p:nvSpPr>
          <p:cNvPr id="164" name="Rectangle 163">
            <a:extLst>
              <a:ext uri="{FF2B5EF4-FFF2-40B4-BE49-F238E27FC236}">
                <a16:creationId xmlns:a16="http://schemas.microsoft.com/office/drawing/2014/main" id="{CFF0E982-5E49-4D07-8DB2-0D90D5F0A276}"/>
              </a:ext>
            </a:extLst>
          </p:cNvPr>
          <p:cNvSpPr/>
          <p:nvPr/>
        </p:nvSpPr>
        <p:spPr>
          <a:xfrm>
            <a:off x="4634909" y="2389601"/>
            <a:ext cx="1290644" cy="369332"/>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We are considering to move to the cloud.</a:t>
            </a:r>
          </a:p>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Output: </a:t>
            </a: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New Engagements</a:t>
            </a:r>
          </a:p>
        </p:txBody>
      </p:sp>
      <p:sp>
        <p:nvSpPr>
          <p:cNvPr id="165" name="Rectangle 164">
            <a:extLst>
              <a:ext uri="{FF2B5EF4-FFF2-40B4-BE49-F238E27FC236}">
                <a16:creationId xmlns:a16="http://schemas.microsoft.com/office/drawing/2014/main" id="{41105DAB-44A3-4026-A9EE-5178EEA2E5B3}"/>
              </a:ext>
            </a:extLst>
          </p:cNvPr>
          <p:cNvSpPr/>
          <p:nvPr/>
        </p:nvSpPr>
        <p:spPr>
          <a:xfrm>
            <a:off x="7537774" y="2380335"/>
            <a:ext cx="1290644" cy="24622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Investigating Architecture</a:t>
            </a:r>
          </a:p>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Output: </a:t>
            </a: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Won Engagements</a:t>
            </a:r>
          </a:p>
        </p:txBody>
      </p:sp>
      <p:sp>
        <p:nvSpPr>
          <p:cNvPr id="166" name="Rectangle 165">
            <a:extLst>
              <a:ext uri="{FF2B5EF4-FFF2-40B4-BE49-F238E27FC236}">
                <a16:creationId xmlns:a16="http://schemas.microsoft.com/office/drawing/2014/main" id="{C01789B1-AD99-4F11-85E6-C3CFA242CD3B}"/>
              </a:ext>
            </a:extLst>
          </p:cNvPr>
          <p:cNvSpPr/>
          <p:nvPr/>
        </p:nvSpPr>
        <p:spPr>
          <a:xfrm>
            <a:off x="8955367" y="2389502"/>
            <a:ext cx="1290645" cy="369332"/>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Deploy and train staff to operate new environment​ </a:t>
            </a:r>
          </a:p>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Output: ACR</a:t>
            </a:r>
          </a:p>
        </p:txBody>
      </p:sp>
      <p:sp>
        <p:nvSpPr>
          <p:cNvPr id="167" name="Rectangle 166">
            <a:extLst>
              <a:ext uri="{FF2B5EF4-FFF2-40B4-BE49-F238E27FC236}">
                <a16:creationId xmlns:a16="http://schemas.microsoft.com/office/drawing/2014/main" id="{1F8C1E5E-7E93-4FEF-940C-09E5A758DCCB}"/>
              </a:ext>
            </a:extLst>
          </p:cNvPr>
          <p:cNvSpPr/>
          <p:nvPr/>
        </p:nvSpPr>
        <p:spPr>
          <a:xfrm>
            <a:off x="10387229" y="2380335"/>
            <a:ext cx="1645920" cy="24622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Has our operation improved and what are the next steps​?</a:t>
            </a:r>
          </a:p>
        </p:txBody>
      </p:sp>
      <p:cxnSp>
        <p:nvCxnSpPr>
          <p:cNvPr id="168" name="Straight Connector 167">
            <a:extLst>
              <a:ext uri="{FF2B5EF4-FFF2-40B4-BE49-F238E27FC236}">
                <a16:creationId xmlns:a16="http://schemas.microsoft.com/office/drawing/2014/main" id="{B01D2C40-3E6B-4399-BB06-D518B2386E55}"/>
              </a:ext>
            </a:extLst>
          </p:cNvPr>
          <p:cNvCxnSpPr>
            <a:cxnSpLocks/>
          </p:cNvCxnSpPr>
          <p:nvPr/>
        </p:nvCxnSpPr>
        <p:spPr>
          <a:xfrm flipV="1">
            <a:off x="67735" y="5618819"/>
            <a:ext cx="12193168" cy="16921"/>
          </a:xfrm>
          <a:prstGeom prst="line">
            <a:avLst/>
          </a:prstGeom>
          <a:noFill/>
          <a:ln w="12700" cap="flat" cmpd="sng" algn="ctr">
            <a:solidFill>
              <a:srgbClr val="FFFFFF"/>
            </a:solidFill>
            <a:prstDash val="solid"/>
          </a:ln>
          <a:effectLst/>
        </p:spPr>
      </p:cxnSp>
      <p:graphicFrame>
        <p:nvGraphicFramePr>
          <p:cNvPr id="169" name="Table 168">
            <a:extLst>
              <a:ext uri="{FF2B5EF4-FFF2-40B4-BE49-F238E27FC236}">
                <a16:creationId xmlns:a16="http://schemas.microsoft.com/office/drawing/2014/main" id="{C1D6C916-FAD0-446D-BA5F-CD218AE0A6F4}"/>
              </a:ext>
            </a:extLst>
          </p:cNvPr>
          <p:cNvGraphicFramePr>
            <a:graphicFrameLocks noGrp="1"/>
          </p:cNvGraphicFramePr>
          <p:nvPr/>
        </p:nvGraphicFramePr>
        <p:xfrm>
          <a:off x="3111335" y="5720908"/>
          <a:ext cx="8941325" cy="663080"/>
        </p:xfrm>
        <a:graphic>
          <a:graphicData uri="http://schemas.openxmlformats.org/drawingml/2006/table">
            <a:tbl>
              <a:tblPr firstRow="1" bandRow="1"/>
              <a:tblGrid>
                <a:gridCol w="1465032">
                  <a:extLst>
                    <a:ext uri="{9D8B030D-6E8A-4147-A177-3AD203B41FA5}">
                      <a16:colId xmlns:a16="http://schemas.microsoft.com/office/drawing/2014/main" val="20000"/>
                    </a:ext>
                  </a:extLst>
                </a:gridCol>
                <a:gridCol w="1426197">
                  <a:extLst>
                    <a:ext uri="{9D8B030D-6E8A-4147-A177-3AD203B41FA5}">
                      <a16:colId xmlns:a16="http://schemas.microsoft.com/office/drawing/2014/main" val="2808334872"/>
                    </a:ext>
                  </a:extLst>
                </a:gridCol>
                <a:gridCol w="1421296">
                  <a:extLst>
                    <a:ext uri="{9D8B030D-6E8A-4147-A177-3AD203B41FA5}">
                      <a16:colId xmlns:a16="http://schemas.microsoft.com/office/drawing/2014/main" val="20001"/>
                    </a:ext>
                  </a:extLst>
                </a:gridCol>
                <a:gridCol w="1470991">
                  <a:extLst>
                    <a:ext uri="{9D8B030D-6E8A-4147-A177-3AD203B41FA5}">
                      <a16:colId xmlns:a16="http://schemas.microsoft.com/office/drawing/2014/main" val="20002"/>
                    </a:ext>
                  </a:extLst>
                </a:gridCol>
                <a:gridCol w="1441174">
                  <a:extLst>
                    <a:ext uri="{9D8B030D-6E8A-4147-A177-3AD203B41FA5}">
                      <a16:colId xmlns:a16="http://schemas.microsoft.com/office/drawing/2014/main" val="20003"/>
                    </a:ext>
                  </a:extLst>
                </a:gridCol>
                <a:gridCol w="1716635">
                  <a:extLst>
                    <a:ext uri="{9D8B030D-6E8A-4147-A177-3AD203B41FA5}">
                      <a16:colId xmlns:a16="http://schemas.microsoft.com/office/drawing/2014/main" val="20004"/>
                    </a:ext>
                  </a:extLst>
                </a:gridCol>
              </a:tblGrid>
              <a:tr h="663080">
                <a:tc>
                  <a:txBody>
                    <a:bodyPr/>
                    <a:lstStyle>
                      <a:lvl1pPr marL="0" algn="l" defTabSz="1229087" rtl="0" eaLnBrk="1" latinLnBrk="0" hangingPunct="1">
                        <a:defRPr sz="2400" b="1" kern="1200">
                          <a:solidFill>
                            <a:schemeClr val="lt1"/>
                          </a:solidFill>
                          <a:latin typeface="Swis721 Cn BT"/>
                        </a:defRPr>
                      </a:lvl1pPr>
                      <a:lvl2pPr marL="614544" algn="l" defTabSz="1229087" rtl="0" eaLnBrk="1" latinLnBrk="0" hangingPunct="1">
                        <a:defRPr sz="2400" b="1" kern="1200">
                          <a:solidFill>
                            <a:schemeClr val="lt1"/>
                          </a:solidFill>
                          <a:latin typeface="Swis721 Cn BT"/>
                        </a:defRPr>
                      </a:lvl2pPr>
                      <a:lvl3pPr marL="1229087" algn="l" defTabSz="1229087" rtl="0" eaLnBrk="1" latinLnBrk="0" hangingPunct="1">
                        <a:defRPr sz="2400" b="1" kern="1200">
                          <a:solidFill>
                            <a:schemeClr val="lt1"/>
                          </a:solidFill>
                          <a:latin typeface="Swis721 Cn BT"/>
                        </a:defRPr>
                      </a:lvl3pPr>
                      <a:lvl4pPr marL="1843631" algn="l" defTabSz="1229087" rtl="0" eaLnBrk="1" latinLnBrk="0" hangingPunct="1">
                        <a:defRPr sz="2400" b="1" kern="1200">
                          <a:solidFill>
                            <a:schemeClr val="lt1"/>
                          </a:solidFill>
                          <a:latin typeface="Swis721 Cn BT"/>
                        </a:defRPr>
                      </a:lvl4pPr>
                      <a:lvl5pPr marL="2458175" algn="l" defTabSz="1229087" rtl="0" eaLnBrk="1" latinLnBrk="0" hangingPunct="1">
                        <a:defRPr sz="2400" b="1" kern="1200">
                          <a:solidFill>
                            <a:schemeClr val="lt1"/>
                          </a:solidFill>
                          <a:latin typeface="Swis721 Cn BT"/>
                        </a:defRPr>
                      </a:lvl5pPr>
                      <a:lvl6pPr marL="3072719" algn="l" defTabSz="1229087" rtl="0" eaLnBrk="1" latinLnBrk="0" hangingPunct="1">
                        <a:defRPr sz="2400" b="1" kern="1200">
                          <a:solidFill>
                            <a:schemeClr val="lt1"/>
                          </a:solidFill>
                          <a:latin typeface="Swis721 Cn BT"/>
                        </a:defRPr>
                      </a:lvl6pPr>
                      <a:lvl7pPr marL="3687262" algn="l" defTabSz="1229087" rtl="0" eaLnBrk="1" latinLnBrk="0" hangingPunct="1">
                        <a:defRPr sz="2400" b="1" kern="1200">
                          <a:solidFill>
                            <a:schemeClr val="lt1"/>
                          </a:solidFill>
                          <a:latin typeface="Swis721 Cn BT"/>
                        </a:defRPr>
                      </a:lvl7pPr>
                      <a:lvl8pPr marL="4301806" algn="l" defTabSz="1229087" rtl="0" eaLnBrk="1" latinLnBrk="0" hangingPunct="1">
                        <a:defRPr sz="2400" b="1" kern="1200">
                          <a:solidFill>
                            <a:schemeClr val="lt1"/>
                          </a:solidFill>
                          <a:latin typeface="Swis721 Cn BT"/>
                        </a:defRPr>
                      </a:lvl8pPr>
                      <a:lvl9pPr marL="4916350" algn="l" defTabSz="1229087" rtl="0" eaLnBrk="1" latinLnBrk="0" hangingPunct="1">
                        <a:defRPr sz="2400" b="1" kern="1200">
                          <a:solidFill>
                            <a:schemeClr val="lt1"/>
                          </a:solidFill>
                          <a:latin typeface="Swis721 Cn BT"/>
                        </a:defRPr>
                      </a:lvl9pPr>
                    </a:lstStyle>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err="1">
                          <a:ln>
                            <a:noFill/>
                          </a:ln>
                          <a:solidFill>
                            <a:schemeClr val="tx1"/>
                          </a:solidFill>
                          <a:effectLst/>
                          <a:uLnTx/>
                          <a:uFillTx/>
                          <a:latin typeface="Swis721 Cn BT"/>
                          <a:ea typeface="+mn-ea"/>
                          <a:cs typeface="+mn-cs"/>
                          <a:hlinkClick r:id="rId4"/>
                        </a:rPr>
                        <a:t>CosmosDB</a:t>
                      </a:r>
                      <a:r>
                        <a:rPr kumimoji="0" lang="en-US" sz="700" b="0" i="0" u="none" strike="noStrike" kern="1200" cap="none" spc="0" normalizeH="0" baseline="0">
                          <a:ln>
                            <a:noFill/>
                          </a:ln>
                          <a:solidFill>
                            <a:schemeClr val="tx1"/>
                          </a:solidFill>
                          <a:effectLst/>
                          <a:uLnTx/>
                          <a:uFillTx/>
                          <a:latin typeface="Swis721 Cn BT"/>
                          <a:ea typeface="+mn-ea"/>
                          <a:cs typeface="+mn-cs"/>
                          <a:hlinkClick r:id="rId4"/>
                        </a:rPr>
                        <a:t> Free Trial</a:t>
                      </a:r>
                      <a:endParaRPr kumimoji="0" lang="en-US" sz="700" b="0" i="0" u="none" strike="noStrike" kern="1200" cap="none" spc="0" normalizeH="0" baseline="0">
                        <a:ln>
                          <a:noFill/>
                        </a:ln>
                        <a:solidFill>
                          <a:schemeClr val="tx1"/>
                        </a:solidFill>
                        <a:effectLst/>
                        <a:uLnTx/>
                        <a:uFillTx/>
                        <a:latin typeface="Swis721 Cn BT"/>
                        <a:ea typeface="+mn-ea"/>
                        <a:cs typeface="+mn-cs"/>
                      </a:endParaRPr>
                    </a:p>
                    <a:p>
                      <a:pPr marL="0" indent="0" algn="l">
                        <a:lnSpc>
                          <a:spcPts val="800"/>
                        </a:lnSpc>
                        <a:buFont typeface="Arial" panose="020B0604020202020204" pitchFamily="34" charset="0"/>
                        <a:buNone/>
                      </a:pPr>
                      <a:endParaRPr lang="en-US" sz="700" b="0" i="0">
                        <a:solidFill>
                          <a:schemeClr val="tx1"/>
                        </a:solidFill>
                        <a:latin typeface="+mn-lt"/>
                        <a:ea typeface="+mn-ea"/>
                      </a:endParaRPr>
                    </a:p>
                    <a:p>
                      <a:pPr marL="0" indent="0" algn="l">
                        <a:lnSpc>
                          <a:spcPts val="800"/>
                        </a:lnSpc>
                        <a:buFont typeface="Arial" panose="020B0604020202020204" pitchFamily="34" charset="0"/>
                        <a:buNone/>
                      </a:pPr>
                      <a:endParaRPr lang="en-US" sz="700" b="0" i="0">
                        <a:solidFill>
                          <a:schemeClr val="tx1"/>
                        </a:solidFill>
                        <a:latin typeface="+mn-lt"/>
                        <a:ea typeface="+mn-ea"/>
                      </a:endParaRPr>
                    </a:p>
                  </a:txBody>
                  <a:tcPr marL="76200" marR="38100" marT="76200" marB="0">
                    <a:lnL w="6350" cap="flat" cmpd="sng" algn="ctr">
                      <a:noFill/>
                      <a:prstDash val="sysDot"/>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2F2F2">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716351" rtl="0" eaLnBrk="1" latinLnBrk="0" hangingPunct="1">
                        <a:defRPr sz="1324" kern="1200">
                          <a:solidFill>
                            <a:schemeClr val="tx1"/>
                          </a:solidFill>
                          <a:latin typeface="Segoe UI"/>
                        </a:defRPr>
                      </a:lvl1pPr>
                      <a:lvl2pPr marL="358176" algn="l" defTabSz="716351" rtl="0" eaLnBrk="1" latinLnBrk="0" hangingPunct="1">
                        <a:defRPr sz="1324" kern="1200">
                          <a:solidFill>
                            <a:schemeClr val="tx1"/>
                          </a:solidFill>
                          <a:latin typeface="Segoe UI"/>
                        </a:defRPr>
                      </a:lvl2pPr>
                      <a:lvl3pPr marL="716351" algn="l" defTabSz="716351" rtl="0" eaLnBrk="1" latinLnBrk="0" hangingPunct="1">
                        <a:defRPr sz="1324" kern="1200">
                          <a:solidFill>
                            <a:schemeClr val="tx1"/>
                          </a:solidFill>
                          <a:latin typeface="Segoe UI"/>
                        </a:defRPr>
                      </a:lvl3pPr>
                      <a:lvl4pPr marL="1074528" algn="l" defTabSz="716351" rtl="0" eaLnBrk="1" latinLnBrk="0" hangingPunct="1">
                        <a:defRPr sz="1324" kern="1200">
                          <a:solidFill>
                            <a:schemeClr val="tx1"/>
                          </a:solidFill>
                          <a:latin typeface="Segoe UI"/>
                        </a:defRPr>
                      </a:lvl4pPr>
                      <a:lvl5pPr marL="1432703" algn="l" defTabSz="716351" rtl="0" eaLnBrk="1" latinLnBrk="0" hangingPunct="1">
                        <a:defRPr sz="1324" kern="1200">
                          <a:solidFill>
                            <a:schemeClr val="tx1"/>
                          </a:solidFill>
                          <a:latin typeface="Segoe UI"/>
                        </a:defRPr>
                      </a:lvl5pPr>
                      <a:lvl6pPr marL="1790880" algn="l" defTabSz="716351" rtl="0" eaLnBrk="1" latinLnBrk="0" hangingPunct="1">
                        <a:defRPr sz="1324" kern="1200">
                          <a:solidFill>
                            <a:schemeClr val="tx1"/>
                          </a:solidFill>
                          <a:latin typeface="Segoe UI"/>
                        </a:defRPr>
                      </a:lvl6pPr>
                      <a:lvl7pPr marL="2149055" algn="l" defTabSz="716351" rtl="0" eaLnBrk="1" latinLnBrk="0" hangingPunct="1">
                        <a:defRPr sz="1324" kern="1200">
                          <a:solidFill>
                            <a:schemeClr val="tx1"/>
                          </a:solidFill>
                          <a:latin typeface="Segoe UI"/>
                        </a:defRPr>
                      </a:lvl7pPr>
                      <a:lvl8pPr marL="2507231" algn="l" defTabSz="716351" rtl="0" eaLnBrk="1" latinLnBrk="0" hangingPunct="1">
                        <a:defRPr sz="1324" kern="1200">
                          <a:solidFill>
                            <a:schemeClr val="tx1"/>
                          </a:solidFill>
                          <a:latin typeface="Segoe UI"/>
                        </a:defRPr>
                      </a:lvl8pPr>
                      <a:lvl9pPr marL="2865407" algn="l" defTabSz="716351" rtl="0" eaLnBrk="1" latinLnBrk="0" hangingPunct="1">
                        <a:defRPr sz="1324" kern="1200">
                          <a:solidFill>
                            <a:schemeClr val="tx1"/>
                          </a:solidFill>
                          <a:latin typeface="Segoe UI"/>
                        </a:defRPr>
                      </a:lvl9pPr>
                    </a:lstStyle>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a:ln>
                            <a:noFill/>
                          </a:ln>
                          <a:solidFill>
                            <a:schemeClr val="tx1"/>
                          </a:solidFill>
                          <a:effectLst/>
                          <a:uLnTx/>
                          <a:uFillTx/>
                          <a:latin typeface="Swis721 Cn BT"/>
                          <a:ea typeface="+mn-ea"/>
                          <a:cs typeface="+mn-cs"/>
                        </a:rPr>
                        <a:t>Azure Access</a:t>
                      </a: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a:ln>
                            <a:noFill/>
                          </a:ln>
                          <a:solidFill>
                            <a:schemeClr val="tx1"/>
                          </a:solidFill>
                          <a:effectLst/>
                          <a:uLnTx/>
                          <a:uFillTx/>
                          <a:latin typeface="Swis721 Cn BT"/>
                          <a:ea typeface="+mn-ea"/>
                          <a:cs typeface="+mn-cs"/>
                        </a:rPr>
                        <a:t>Industry partner AI solutions</a:t>
                      </a:r>
                      <a:endParaRPr kumimoji="0" lang="pl-PL" sz="700" b="0" i="0" u="none" strike="noStrike" kern="1200" cap="none" spc="0" normalizeH="0" baseline="0">
                        <a:ln>
                          <a:noFill/>
                        </a:ln>
                        <a:solidFill>
                          <a:schemeClr val="tx1"/>
                        </a:solidFill>
                        <a:effectLst/>
                        <a:uLnTx/>
                        <a:uFillTx/>
                        <a:latin typeface="Swis721 Cn BT"/>
                        <a:ea typeface="+mn-ea"/>
                        <a:cs typeface="+mn-cs"/>
                      </a:endParaRP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pl-PL" sz="700" b="0" i="0" u="none" strike="noStrike" kern="1200" cap="none" spc="0" normalizeH="0" baseline="0">
                          <a:ln>
                            <a:noFill/>
                          </a:ln>
                          <a:solidFill>
                            <a:schemeClr val="tx1"/>
                          </a:solidFill>
                          <a:effectLst/>
                          <a:uLnTx/>
                          <a:uFillTx/>
                          <a:latin typeface="Swis721 Cn BT"/>
                          <a:ea typeface="+mn-ea"/>
                          <a:cs typeface="+mn-cs"/>
                        </a:rPr>
                        <a:t>TCO Calculator for Apps</a:t>
                      </a:r>
                      <a:endParaRPr kumimoji="0" lang="en-US" sz="700" b="0" i="0" u="none" strike="noStrike" kern="1200" cap="none" spc="0" normalizeH="0" baseline="0">
                        <a:ln>
                          <a:noFill/>
                        </a:ln>
                        <a:solidFill>
                          <a:schemeClr val="tx1"/>
                        </a:solidFill>
                        <a:effectLst/>
                        <a:uLnTx/>
                        <a:uFillTx/>
                        <a:latin typeface="Swis721 Cn BT"/>
                        <a:ea typeface="+mn-ea"/>
                        <a:cs typeface="+mn-cs"/>
                      </a:endParaRPr>
                    </a:p>
                    <a:p>
                      <a:pPr marL="0" marR="0" lvl="0" indent="0" algn="l" defTabSz="1305194" rtl="0" eaLnBrk="1" fontAlgn="auto" latinLnBrk="0" hangingPunct="1">
                        <a:lnSpc>
                          <a:spcPts val="800"/>
                        </a:lnSpc>
                        <a:spcBef>
                          <a:spcPts val="0"/>
                        </a:spcBef>
                        <a:spcAft>
                          <a:spcPts val="0"/>
                        </a:spcAft>
                        <a:buClrTx/>
                        <a:buSzTx/>
                        <a:buFont typeface="Arial" panose="020B0604020202020204" pitchFamily="34" charset="0"/>
                        <a:buNone/>
                        <a:tabLst/>
                        <a:defRPr/>
                      </a:pPr>
                      <a:endParaRPr kumimoji="0" lang="en-US" sz="700" b="0" i="0" u="none" strike="noStrike" kern="1200" cap="none" spc="0" normalizeH="0" baseline="0">
                        <a:ln>
                          <a:noFill/>
                        </a:ln>
                        <a:solidFill>
                          <a:schemeClr val="tx1"/>
                        </a:solidFill>
                        <a:effectLst/>
                        <a:uLnTx/>
                        <a:uFillTx/>
                        <a:latin typeface="Swis721 Cn BT"/>
                        <a:ea typeface="+mn-ea"/>
                        <a:cs typeface="+mn-cs"/>
                      </a:endParaRPr>
                    </a:p>
                  </a:txBody>
                  <a:tcPr marL="76200" marR="38100" marT="762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2F2F2">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b="1" kern="1200">
                          <a:solidFill>
                            <a:schemeClr val="lt1"/>
                          </a:solidFill>
                          <a:latin typeface="Swis721 Cn BT"/>
                        </a:defRPr>
                      </a:lvl1pPr>
                      <a:lvl2pPr marL="614544" algn="l" defTabSz="1229087" rtl="0" eaLnBrk="1" latinLnBrk="0" hangingPunct="1">
                        <a:defRPr sz="2400" b="1" kern="1200">
                          <a:solidFill>
                            <a:schemeClr val="lt1"/>
                          </a:solidFill>
                          <a:latin typeface="Swis721 Cn BT"/>
                        </a:defRPr>
                      </a:lvl2pPr>
                      <a:lvl3pPr marL="1229087" algn="l" defTabSz="1229087" rtl="0" eaLnBrk="1" latinLnBrk="0" hangingPunct="1">
                        <a:defRPr sz="2400" b="1" kern="1200">
                          <a:solidFill>
                            <a:schemeClr val="lt1"/>
                          </a:solidFill>
                          <a:latin typeface="Swis721 Cn BT"/>
                        </a:defRPr>
                      </a:lvl3pPr>
                      <a:lvl4pPr marL="1843631" algn="l" defTabSz="1229087" rtl="0" eaLnBrk="1" latinLnBrk="0" hangingPunct="1">
                        <a:defRPr sz="2400" b="1" kern="1200">
                          <a:solidFill>
                            <a:schemeClr val="lt1"/>
                          </a:solidFill>
                          <a:latin typeface="Swis721 Cn BT"/>
                        </a:defRPr>
                      </a:lvl4pPr>
                      <a:lvl5pPr marL="2458175" algn="l" defTabSz="1229087" rtl="0" eaLnBrk="1" latinLnBrk="0" hangingPunct="1">
                        <a:defRPr sz="2400" b="1" kern="1200">
                          <a:solidFill>
                            <a:schemeClr val="lt1"/>
                          </a:solidFill>
                          <a:latin typeface="Swis721 Cn BT"/>
                        </a:defRPr>
                      </a:lvl5pPr>
                      <a:lvl6pPr marL="3072719" algn="l" defTabSz="1229087" rtl="0" eaLnBrk="1" latinLnBrk="0" hangingPunct="1">
                        <a:defRPr sz="2400" b="1" kern="1200">
                          <a:solidFill>
                            <a:schemeClr val="lt1"/>
                          </a:solidFill>
                          <a:latin typeface="Swis721 Cn BT"/>
                        </a:defRPr>
                      </a:lvl6pPr>
                      <a:lvl7pPr marL="3687262" algn="l" defTabSz="1229087" rtl="0" eaLnBrk="1" latinLnBrk="0" hangingPunct="1">
                        <a:defRPr sz="2400" b="1" kern="1200">
                          <a:solidFill>
                            <a:schemeClr val="lt1"/>
                          </a:solidFill>
                          <a:latin typeface="Swis721 Cn BT"/>
                        </a:defRPr>
                      </a:lvl7pPr>
                      <a:lvl8pPr marL="4301806" algn="l" defTabSz="1229087" rtl="0" eaLnBrk="1" latinLnBrk="0" hangingPunct="1">
                        <a:defRPr sz="2400" b="1" kern="1200">
                          <a:solidFill>
                            <a:schemeClr val="lt1"/>
                          </a:solidFill>
                          <a:latin typeface="Swis721 Cn BT"/>
                        </a:defRPr>
                      </a:lvl8pPr>
                      <a:lvl9pPr marL="4916350" algn="l" defTabSz="1229087" rtl="0" eaLnBrk="1" latinLnBrk="0" hangingPunct="1">
                        <a:defRPr sz="2400" b="1" kern="1200">
                          <a:solidFill>
                            <a:schemeClr val="lt1"/>
                          </a:solidFill>
                          <a:latin typeface="Swis721 Cn BT"/>
                        </a:defRPr>
                      </a:lvl9pPr>
                    </a:lstStyle>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CEE Strategic ECIF (for PoC)</a:t>
                      </a: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CEE Azure Access (for PoC)</a:t>
                      </a: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CEE ACO (mitigate onboarding)</a:t>
                      </a:r>
                      <a:endParaRPr kumimoji="0" lang="pl-PL"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pl-PL"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SAT Assessments</a:t>
                      </a: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txBody>
                  <a:tcPr marL="76200" marR="38100" marT="762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2F2F2">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b="1" kern="1200">
                          <a:solidFill>
                            <a:schemeClr val="lt1"/>
                          </a:solidFill>
                          <a:latin typeface="Swis721 Cn BT"/>
                        </a:defRPr>
                      </a:lvl1pPr>
                      <a:lvl2pPr marL="614544" algn="l" defTabSz="1229087" rtl="0" eaLnBrk="1" latinLnBrk="0" hangingPunct="1">
                        <a:defRPr sz="2400" b="1" kern="1200">
                          <a:solidFill>
                            <a:schemeClr val="lt1"/>
                          </a:solidFill>
                          <a:latin typeface="Swis721 Cn BT"/>
                        </a:defRPr>
                      </a:lvl2pPr>
                      <a:lvl3pPr marL="1229087" algn="l" defTabSz="1229087" rtl="0" eaLnBrk="1" latinLnBrk="0" hangingPunct="1">
                        <a:defRPr sz="2400" b="1" kern="1200">
                          <a:solidFill>
                            <a:schemeClr val="lt1"/>
                          </a:solidFill>
                          <a:latin typeface="Swis721 Cn BT"/>
                        </a:defRPr>
                      </a:lvl3pPr>
                      <a:lvl4pPr marL="1843631" algn="l" defTabSz="1229087" rtl="0" eaLnBrk="1" latinLnBrk="0" hangingPunct="1">
                        <a:defRPr sz="2400" b="1" kern="1200">
                          <a:solidFill>
                            <a:schemeClr val="lt1"/>
                          </a:solidFill>
                          <a:latin typeface="Swis721 Cn BT"/>
                        </a:defRPr>
                      </a:lvl4pPr>
                      <a:lvl5pPr marL="2458175" algn="l" defTabSz="1229087" rtl="0" eaLnBrk="1" latinLnBrk="0" hangingPunct="1">
                        <a:defRPr sz="2400" b="1" kern="1200">
                          <a:solidFill>
                            <a:schemeClr val="lt1"/>
                          </a:solidFill>
                          <a:latin typeface="Swis721 Cn BT"/>
                        </a:defRPr>
                      </a:lvl5pPr>
                      <a:lvl6pPr marL="3072719" algn="l" defTabSz="1229087" rtl="0" eaLnBrk="1" latinLnBrk="0" hangingPunct="1">
                        <a:defRPr sz="2400" b="1" kern="1200">
                          <a:solidFill>
                            <a:schemeClr val="lt1"/>
                          </a:solidFill>
                          <a:latin typeface="Swis721 Cn BT"/>
                        </a:defRPr>
                      </a:lvl6pPr>
                      <a:lvl7pPr marL="3687262" algn="l" defTabSz="1229087" rtl="0" eaLnBrk="1" latinLnBrk="0" hangingPunct="1">
                        <a:defRPr sz="2400" b="1" kern="1200">
                          <a:solidFill>
                            <a:schemeClr val="lt1"/>
                          </a:solidFill>
                          <a:latin typeface="Swis721 Cn BT"/>
                        </a:defRPr>
                      </a:lvl7pPr>
                      <a:lvl8pPr marL="4301806" algn="l" defTabSz="1229087" rtl="0" eaLnBrk="1" latinLnBrk="0" hangingPunct="1">
                        <a:defRPr sz="2400" b="1" kern="1200">
                          <a:solidFill>
                            <a:schemeClr val="lt1"/>
                          </a:solidFill>
                          <a:latin typeface="Swis721 Cn BT"/>
                        </a:defRPr>
                      </a:lvl8pPr>
                      <a:lvl9pPr marL="4916350" algn="l" defTabSz="1229087" rtl="0" eaLnBrk="1" latinLnBrk="0" hangingPunct="1">
                        <a:defRPr sz="2400" b="1" kern="1200">
                          <a:solidFill>
                            <a:schemeClr val="lt1"/>
                          </a:solidFill>
                          <a:latin typeface="Swis721 Cn BT"/>
                        </a:defRPr>
                      </a:lvl9pPr>
                    </a:lstStyle>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CEE ACO (mitigate onboarding)</a:t>
                      </a: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CEE Strategic ECIF (for PoV)</a:t>
                      </a: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lang="en-US" sz="700" b="0" i="0" spc="0">
                          <a:solidFill>
                            <a:schemeClr val="tx1"/>
                          </a:solidFill>
                          <a:latin typeface="Swis721 Cn BT"/>
                          <a:ea typeface="Roboto" panose="02000000000000000000" pitchFamily="2" charset="0"/>
                        </a:rPr>
                        <a:t>Analytics &amp; AI Accelerate Program (Corp ACO, ECIF </a:t>
                      </a:r>
                      <a:r>
                        <a:rPr lang="en-US" sz="700" b="0" i="0" spc="0" err="1">
                          <a:solidFill>
                            <a:schemeClr val="tx1"/>
                          </a:solidFill>
                          <a:latin typeface="Swis721 Cn BT"/>
                          <a:ea typeface="Roboto" panose="02000000000000000000" pitchFamily="2" charset="0"/>
                        </a:rPr>
                        <a:t>etc</a:t>
                      </a:r>
                      <a:r>
                        <a:rPr lang="en-US" sz="700" b="0" i="0" spc="0">
                          <a:solidFill>
                            <a:schemeClr val="tx1"/>
                          </a:solidFill>
                          <a:latin typeface="Swis721 Cn BT"/>
                          <a:ea typeface="Roboto" panose="02000000000000000000" pitchFamily="2" charset="0"/>
                        </a:rPr>
                        <a:t>)</a:t>
                      </a: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txBody>
                  <a:tcPr marL="76200" marR="38100" marT="762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F2F2F2">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b="1" kern="1200">
                          <a:solidFill>
                            <a:schemeClr val="lt1"/>
                          </a:solidFill>
                          <a:latin typeface="Swis721 Cn BT"/>
                        </a:defRPr>
                      </a:lvl1pPr>
                      <a:lvl2pPr marL="614544" algn="l" defTabSz="1229087" rtl="0" eaLnBrk="1" latinLnBrk="0" hangingPunct="1">
                        <a:defRPr sz="2400" b="1" kern="1200">
                          <a:solidFill>
                            <a:schemeClr val="lt1"/>
                          </a:solidFill>
                          <a:latin typeface="Swis721 Cn BT"/>
                        </a:defRPr>
                      </a:lvl2pPr>
                      <a:lvl3pPr marL="1229087" algn="l" defTabSz="1229087" rtl="0" eaLnBrk="1" latinLnBrk="0" hangingPunct="1">
                        <a:defRPr sz="2400" b="1" kern="1200">
                          <a:solidFill>
                            <a:schemeClr val="lt1"/>
                          </a:solidFill>
                          <a:latin typeface="Swis721 Cn BT"/>
                        </a:defRPr>
                      </a:lvl3pPr>
                      <a:lvl4pPr marL="1843631" algn="l" defTabSz="1229087" rtl="0" eaLnBrk="1" latinLnBrk="0" hangingPunct="1">
                        <a:defRPr sz="2400" b="1" kern="1200">
                          <a:solidFill>
                            <a:schemeClr val="lt1"/>
                          </a:solidFill>
                          <a:latin typeface="Swis721 Cn BT"/>
                        </a:defRPr>
                      </a:lvl4pPr>
                      <a:lvl5pPr marL="2458175" algn="l" defTabSz="1229087" rtl="0" eaLnBrk="1" latinLnBrk="0" hangingPunct="1">
                        <a:defRPr sz="2400" b="1" kern="1200">
                          <a:solidFill>
                            <a:schemeClr val="lt1"/>
                          </a:solidFill>
                          <a:latin typeface="Swis721 Cn BT"/>
                        </a:defRPr>
                      </a:lvl5pPr>
                      <a:lvl6pPr marL="3072719" algn="l" defTabSz="1229087" rtl="0" eaLnBrk="1" latinLnBrk="0" hangingPunct="1">
                        <a:defRPr sz="2400" b="1" kern="1200">
                          <a:solidFill>
                            <a:schemeClr val="lt1"/>
                          </a:solidFill>
                          <a:latin typeface="Swis721 Cn BT"/>
                        </a:defRPr>
                      </a:lvl6pPr>
                      <a:lvl7pPr marL="3687262" algn="l" defTabSz="1229087" rtl="0" eaLnBrk="1" latinLnBrk="0" hangingPunct="1">
                        <a:defRPr sz="2400" b="1" kern="1200">
                          <a:solidFill>
                            <a:schemeClr val="lt1"/>
                          </a:solidFill>
                          <a:latin typeface="Swis721 Cn BT"/>
                        </a:defRPr>
                      </a:lvl7pPr>
                      <a:lvl8pPr marL="4301806" algn="l" defTabSz="1229087" rtl="0" eaLnBrk="1" latinLnBrk="0" hangingPunct="1">
                        <a:defRPr sz="2400" b="1" kern="1200">
                          <a:solidFill>
                            <a:schemeClr val="lt1"/>
                          </a:solidFill>
                          <a:latin typeface="Swis721 Cn BT"/>
                        </a:defRPr>
                      </a:lvl8pPr>
                      <a:lvl9pPr marL="4916350" algn="l" defTabSz="1229087" rtl="0" eaLnBrk="1" latinLnBrk="0" hangingPunct="1">
                        <a:defRPr sz="2400" b="1" kern="1200">
                          <a:solidFill>
                            <a:schemeClr val="lt1"/>
                          </a:solidFill>
                          <a:latin typeface="Swis721 Cn BT"/>
                        </a:defRPr>
                      </a:lvl9pPr>
                    </a:lstStyle>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Azure Hybrid Benefit</a:t>
                      </a: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ECIF (for Partner Deployment)</a:t>
                      </a: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Enterprise Dev/Test Pricing</a:t>
                      </a:r>
                      <a:endParaRPr kumimoji="0" lang="pl-PL"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0" lang="pl-PL" sz="700" b="0" i="0" u="none" strike="noStrike" kern="1200" cap="none" spc="0" normalizeH="0" baseline="0" noProof="0">
                          <a:ln>
                            <a:noFill/>
                          </a:ln>
                          <a:solidFill>
                            <a:srgbClr val="FF0000"/>
                          </a:solidFill>
                          <a:effectLst/>
                          <a:uLnTx/>
                          <a:uFillTx/>
                          <a:latin typeface="Swis721 Cn BT"/>
                          <a:ea typeface="Roboto" panose="02000000000000000000" pitchFamily="2" charset="0"/>
                          <a:cs typeface="+mn-cs"/>
                        </a:rPr>
                        <a:t>SOON!</a:t>
                      </a:r>
                      <a:r>
                        <a:rPr kumimoji="0" lang="pl-PL"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 CAF for Kubernetes</a:t>
                      </a:r>
                      <a:r>
                        <a:rPr kumimoji="0" lang="en-GB"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 </a:t>
                      </a:r>
                      <a:r>
                        <a:rPr kumimoji="0" lang="pl-PL"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amp;</a:t>
                      </a:r>
                      <a:r>
                        <a:rPr kumimoji="0" lang="en-GB"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 </a:t>
                      </a:r>
                      <a:r>
                        <a:rPr kumimoji="0" lang="pl-PL"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rPr>
                        <a:t>AI</a:t>
                      </a:r>
                      <a:endParaRPr kumimoji="0" lang="en-US" sz="700" b="0" i="0" u="none" strike="noStrike" kern="1200" cap="none" spc="0" normalizeH="0" baseline="0" noProof="0">
                        <a:ln>
                          <a:noFill/>
                        </a:ln>
                        <a:solidFill>
                          <a:schemeClr val="tx1"/>
                        </a:solidFill>
                        <a:effectLst/>
                        <a:uLnTx/>
                        <a:uFillTx/>
                        <a:latin typeface="Swis721 Cn BT"/>
                        <a:ea typeface="Roboto" panose="02000000000000000000" pitchFamily="2" charset="0"/>
                        <a:cs typeface="+mn-cs"/>
                      </a:endParaRPr>
                    </a:p>
                  </a:txBody>
                  <a:tcPr marL="76200" marR="38100" marT="762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F2F2F2">
                          <a:lumMod val="9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1229087" rtl="0" eaLnBrk="1" latinLnBrk="0" hangingPunct="1">
                        <a:defRPr sz="2400" b="1" kern="1200">
                          <a:solidFill>
                            <a:schemeClr val="lt1"/>
                          </a:solidFill>
                          <a:latin typeface="Swis721 Cn BT"/>
                        </a:defRPr>
                      </a:lvl1pPr>
                      <a:lvl2pPr marL="614544" algn="l" defTabSz="1229087" rtl="0" eaLnBrk="1" latinLnBrk="0" hangingPunct="1">
                        <a:defRPr sz="2400" b="1" kern="1200">
                          <a:solidFill>
                            <a:schemeClr val="lt1"/>
                          </a:solidFill>
                          <a:latin typeface="Swis721 Cn BT"/>
                        </a:defRPr>
                      </a:lvl2pPr>
                      <a:lvl3pPr marL="1229087" algn="l" defTabSz="1229087" rtl="0" eaLnBrk="1" latinLnBrk="0" hangingPunct="1">
                        <a:defRPr sz="2400" b="1" kern="1200">
                          <a:solidFill>
                            <a:schemeClr val="lt1"/>
                          </a:solidFill>
                          <a:latin typeface="Swis721 Cn BT"/>
                        </a:defRPr>
                      </a:lvl3pPr>
                      <a:lvl4pPr marL="1843631" algn="l" defTabSz="1229087" rtl="0" eaLnBrk="1" latinLnBrk="0" hangingPunct="1">
                        <a:defRPr sz="2400" b="1" kern="1200">
                          <a:solidFill>
                            <a:schemeClr val="lt1"/>
                          </a:solidFill>
                          <a:latin typeface="Swis721 Cn BT"/>
                        </a:defRPr>
                      </a:lvl4pPr>
                      <a:lvl5pPr marL="2458175" algn="l" defTabSz="1229087" rtl="0" eaLnBrk="1" latinLnBrk="0" hangingPunct="1">
                        <a:defRPr sz="2400" b="1" kern="1200">
                          <a:solidFill>
                            <a:schemeClr val="lt1"/>
                          </a:solidFill>
                          <a:latin typeface="Swis721 Cn BT"/>
                        </a:defRPr>
                      </a:lvl5pPr>
                      <a:lvl6pPr marL="3072719" algn="l" defTabSz="1229087" rtl="0" eaLnBrk="1" latinLnBrk="0" hangingPunct="1">
                        <a:defRPr sz="2400" b="1" kern="1200">
                          <a:solidFill>
                            <a:schemeClr val="lt1"/>
                          </a:solidFill>
                          <a:latin typeface="Swis721 Cn BT"/>
                        </a:defRPr>
                      </a:lvl6pPr>
                      <a:lvl7pPr marL="3687262" algn="l" defTabSz="1229087" rtl="0" eaLnBrk="1" latinLnBrk="0" hangingPunct="1">
                        <a:defRPr sz="2400" b="1" kern="1200">
                          <a:solidFill>
                            <a:schemeClr val="lt1"/>
                          </a:solidFill>
                          <a:latin typeface="Swis721 Cn BT"/>
                        </a:defRPr>
                      </a:lvl7pPr>
                      <a:lvl8pPr marL="4301806" algn="l" defTabSz="1229087" rtl="0" eaLnBrk="1" latinLnBrk="0" hangingPunct="1">
                        <a:defRPr sz="2400" b="1" kern="1200">
                          <a:solidFill>
                            <a:schemeClr val="lt1"/>
                          </a:solidFill>
                          <a:latin typeface="Swis721 Cn BT"/>
                        </a:defRPr>
                      </a:lvl8pPr>
                      <a:lvl9pPr marL="4916350" algn="l" defTabSz="1229087" rtl="0" eaLnBrk="1" latinLnBrk="0" hangingPunct="1">
                        <a:defRPr sz="2400" b="1" kern="1200">
                          <a:solidFill>
                            <a:schemeClr val="lt1"/>
                          </a:solidFill>
                          <a:latin typeface="Swis721 Cn BT"/>
                        </a:defRPr>
                      </a:lvl9pPr>
                    </a:lstStyle>
                    <a:p>
                      <a:pPr marL="171450" marR="0" lvl="0" indent="-171450" algn="l" defTabSz="1305194" rtl="0" eaLnBrk="1" fontAlgn="auto" latinLnBrk="0" hangingPunct="1">
                        <a:lnSpc>
                          <a:spcPts val="800"/>
                        </a:lnSpc>
                        <a:spcBef>
                          <a:spcPts val="0"/>
                        </a:spcBef>
                        <a:spcAft>
                          <a:spcPts val="0"/>
                        </a:spcAft>
                        <a:buClrTx/>
                        <a:buSzTx/>
                        <a:buFont typeface="Arial" panose="020B0604020202020204" pitchFamily="34" charset="0"/>
                        <a:buChar char="•"/>
                        <a:tabLst/>
                        <a:defRPr/>
                      </a:pPr>
                      <a:endParaRPr kumimoji="0" lang="en-US" sz="700" b="0" i="0" u="none" strike="noStrike" kern="1200" cap="none" spc="0" normalizeH="0" baseline="0" noProof="0">
                        <a:ln>
                          <a:noFill/>
                        </a:ln>
                        <a:solidFill>
                          <a:schemeClr val="tx1"/>
                        </a:solidFill>
                        <a:effectLst/>
                        <a:uLnTx/>
                        <a:uFillTx/>
                        <a:latin typeface="+mn-lt"/>
                        <a:ea typeface="Roboto" panose="02000000000000000000" pitchFamily="2" charset="0"/>
                        <a:cs typeface="+mn-cs"/>
                      </a:endParaRPr>
                    </a:p>
                  </a:txBody>
                  <a:tcPr marL="76200" marR="38100" marT="762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F2F2F2">
                          <a:lumMod val="9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70" name="Straight Connector 169">
            <a:extLst>
              <a:ext uri="{FF2B5EF4-FFF2-40B4-BE49-F238E27FC236}">
                <a16:creationId xmlns:a16="http://schemas.microsoft.com/office/drawing/2014/main" id="{C346EA9E-529C-4ED0-B07A-882D4BCB1F5E}"/>
              </a:ext>
            </a:extLst>
          </p:cNvPr>
          <p:cNvCxnSpPr>
            <a:cxnSpLocks/>
          </p:cNvCxnSpPr>
          <p:nvPr/>
        </p:nvCxnSpPr>
        <p:spPr>
          <a:xfrm flipV="1">
            <a:off x="1534561" y="1916759"/>
            <a:ext cx="10491205" cy="10664"/>
          </a:xfrm>
          <a:prstGeom prst="line">
            <a:avLst/>
          </a:prstGeom>
          <a:noFill/>
          <a:ln w="12700" cap="flat" cmpd="sng" algn="ctr">
            <a:solidFill>
              <a:srgbClr val="FFFFFF">
                <a:lumMod val="85000"/>
              </a:srgbClr>
            </a:solidFill>
            <a:prstDash val="solid"/>
          </a:ln>
          <a:effectLst/>
        </p:spPr>
      </p:cxnSp>
      <p:sp>
        <p:nvSpPr>
          <p:cNvPr id="171" name="TextBox 170">
            <a:extLst>
              <a:ext uri="{FF2B5EF4-FFF2-40B4-BE49-F238E27FC236}">
                <a16:creationId xmlns:a16="http://schemas.microsoft.com/office/drawing/2014/main" id="{4540B59E-6D07-4D81-B1FE-C16FCDED3042}"/>
              </a:ext>
            </a:extLst>
          </p:cNvPr>
          <p:cNvSpPr txBox="1"/>
          <p:nvPr/>
        </p:nvSpPr>
        <p:spPr>
          <a:xfrm>
            <a:off x="4908551" y="3153918"/>
            <a:ext cx="765285" cy="194669"/>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243A5E"/>
                </a:solidFill>
                <a:effectLst/>
                <a:uLnTx/>
                <a:uFillTx/>
                <a:latin typeface="Segoe UI"/>
                <a:ea typeface="+mn-ea"/>
                <a:cs typeface="+mn-cs"/>
              </a:rPr>
              <a:t>.NET In a Day</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sp>
        <p:nvSpPr>
          <p:cNvPr id="172" name="Touchscreen" title="Icon of a closed hand with one finger touching a screen">
            <a:extLst>
              <a:ext uri="{FF2B5EF4-FFF2-40B4-BE49-F238E27FC236}">
                <a16:creationId xmlns:a16="http://schemas.microsoft.com/office/drawing/2014/main" id="{E44E373E-4BE0-4B25-A999-81D381AA1A81}"/>
              </a:ext>
            </a:extLst>
          </p:cNvPr>
          <p:cNvSpPr>
            <a:spLocks noChangeAspect="1" noEditPoints="1"/>
          </p:cNvSpPr>
          <p:nvPr/>
        </p:nvSpPr>
        <p:spPr bwMode="auto">
          <a:xfrm>
            <a:off x="604380" y="2918607"/>
            <a:ext cx="390103"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73" name="briefcase" title="Icon of a briefcase">
            <a:extLst>
              <a:ext uri="{FF2B5EF4-FFF2-40B4-BE49-F238E27FC236}">
                <a16:creationId xmlns:a16="http://schemas.microsoft.com/office/drawing/2014/main" id="{82D91076-0C4F-49C9-9CCC-431769DD66BC}"/>
              </a:ext>
            </a:extLst>
          </p:cNvPr>
          <p:cNvSpPr>
            <a:spLocks noChangeAspect="1" noEditPoints="1"/>
          </p:cNvSpPr>
          <p:nvPr/>
        </p:nvSpPr>
        <p:spPr bwMode="auto">
          <a:xfrm>
            <a:off x="570831" y="5738246"/>
            <a:ext cx="457200" cy="334537"/>
          </a:xfrm>
          <a:custGeom>
            <a:avLst/>
            <a:gdLst>
              <a:gd name="T0" fmla="*/ 339 w 339"/>
              <a:gd name="T1" fmla="*/ 247 h 247"/>
              <a:gd name="T2" fmla="*/ 0 w 339"/>
              <a:gd name="T3" fmla="*/ 247 h 247"/>
              <a:gd name="T4" fmla="*/ 0 w 339"/>
              <a:gd name="T5" fmla="*/ 45 h 247"/>
              <a:gd name="T6" fmla="*/ 339 w 339"/>
              <a:gd name="T7" fmla="*/ 45 h 247"/>
              <a:gd name="T8" fmla="*/ 339 w 339"/>
              <a:gd name="T9" fmla="*/ 247 h 247"/>
              <a:gd name="T10" fmla="*/ 203 w 339"/>
              <a:gd name="T11" fmla="*/ 133 h 247"/>
              <a:gd name="T12" fmla="*/ 136 w 339"/>
              <a:gd name="T13" fmla="*/ 133 h 247"/>
              <a:gd name="T14" fmla="*/ 136 w 339"/>
              <a:gd name="T15" fmla="*/ 178 h 247"/>
              <a:gd name="T16" fmla="*/ 203 w 339"/>
              <a:gd name="T17" fmla="*/ 178 h 247"/>
              <a:gd name="T18" fmla="*/ 203 w 339"/>
              <a:gd name="T19" fmla="*/ 133 h 247"/>
              <a:gd name="T20" fmla="*/ 136 w 339"/>
              <a:gd name="T21" fmla="*/ 161 h 247"/>
              <a:gd name="T22" fmla="*/ 0 w 339"/>
              <a:gd name="T23" fmla="*/ 90 h 247"/>
              <a:gd name="T24" fmla="*/ 203 w 339"/>
              <a:gd name="T25" fmla="*/ 161 h 247"/>
              <a:gd name="T26" fmla="*/ 339 w 339"/>
              <a:gd name="T27" fmla="*/ 90 h 247"/>
              <a:gd name="T28" fmla="*/ 228 w 339"/>
              <a:gd name="T29" fmla="*/ 45 h 247"/>
              <a:gd name="T30" fmla="*/ 228 w 339"/>
              <a:gd name="T31" fmla="*/ 17 h 247"/>
              <a:gd name="T32" fmla="*/ 211 w 339"/>
              <a:gd name="T33" fmla="*/ 0 h 247"/>
              <a:gd name="T34" fmla="*/ 129 w 339"/>
              <a:gd name="T35" fmla="*/ 0 h 247"/>
              <a:gd name="T36" fmla="*/ 112 w 339"/>
              <a:gd name="T37" fmla="*/ 17 h 247"/>
              <a:gd name="T38" fmla="*/ 112 w 339"/>
              <a:gd name="T39" fmla="*/ 4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9" h="247">
                <a:moveTo>
                  <a:pt x="339" y="247"/>
                </a:moveTo>
                <a:cubicBezTo>
                  <a:pt x="0" y="247"/>
                  <a:pt x="0" y="247"/>
                  <a:pt x="0" y="247"/>
                </a:cubicBezTo>
                <a:cubicBezTo>
                  <a:pt x="0" y="45"/>
                  <a:pt x="0" y="45"/>
                  <a:pt x="0" y="45"/>
                </a:cubicBezTo>
                <a:cubicBezTo>
                  <a:pt x="339" y="45"/>
                  <a:pt x="339" y="45"/>
                  <a:pt x="339" y="45"/>
                </a:cubicBezTo>
                <a:lnTo>
                  <a:pt x="339" y="247"/>
                </a:lnTo>
                <a:close/>
                <a:moveTo>
                  <a:pt x="203" y="133"/>
                </a:moveTo>
                <a:cubicBezTo>
                  <a:pt x="136" y="133"/>
                  <a:pt x="136" y="133"/>
                  <a:pt x="136" y="133"/>
                </a:cubicBezTo>
                <a:cubicBezTo>
                  <a:pt x="136" y="178"/>
                  <a:pt x="136" y="178"/>
                  <a:pt x="136" y="178"/>
                </a:cubicBezTo>
                <a:cubicBezTo>
                  <a:pt x="203" y="178"/>
                  <a:pt x="203" y="178"/>
                  <a:pt x="203" y="178"/>
                </a:cubicBezTo>
                <a:lnTo>
                  <a:pt x="203" y="133"/>
                </a:lnTo>
                <a:close/>
                <a:moveTo>
                  <a:pt x="136" y="161"/>
                </a:moveTo>
                <a:cubicBezTo>
                  <a:pt x="0" y="90"/>
                  <a:pt x="0" y="90"/>
                  <a:pt x="0" y="90"/>
                </a:cubicBezTo>
                <a:moveTo>
                  <a:pt x="203" y="161"/>
                </a:moveTo>
                <a:cubicBezTo>
                  <a:pt x="339" y="90"/>
                  <a:pt x="339" y="90"/>
                  <a:pt x="339" y="90"/>
                </a:cubicBezTo>
                <a:moveTo>
                  <a:pt x="228" y="45"/>
                </a:moveTo>
                <a:cubicBezTo>
                  <a:pt x="228" y="17"/>
                  <a:pt x="228" y="17"/>
                  <a:pt x="228" y="17"/>
                </a:cubicBezTo>
                <a:cubicBezTo>
                  <a:pt x="228" y="7"/>
                  <a:pt x="220" y="0"/>
                  <a:pt x="211" y="0"/>
                </a:cubicBezTo>
                <a:cubicBezTo>
                  <a:pt x="129" y="0"/>
                  <a:pt x="129" y="0"/>
                  <a:pt x="129" y="0"/>
                </a:cubicBezTo>
                <a:cubicBezTo>
                  <a:pt x="119" y="0"/>
                  <a:pt x="112" y="7"/>
                  <a:pt x="112" y="17"/>
                </a:cubicBezTo>
                <a:cubicBezTo>
                  <a:pt x="112" y="45"/>
                  <a:pt x="112" y="45"/>
                  <a:pt x="112" y="45"/>
                </a:cubicBez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 name="Eye" title="Icon of an eye">
            <a:extLst>
              <a:ext uri="{FF2B5EF4-FFF2-40B4-BE49-F238E27FC236}">
                <a16:creationId xmlns:a16="http://schemas.microsoft.com/office/drawing/2014/main" id="{A7873698-4287-42A2-A8C0-2A2794C4C97B}"/>
              </a:ext>
            </a:extLst>
          </p:cNvPr>
          <p:cNvSpPr>
            <a:spLocks noChangeAspect="1" noEditPoints="1"/>
          </p:cNvSpPr>
          <p:nvPr/>
        </p:nvSpPr>
        <p:spPr bwMode="auto">
          <a:xfrm>
            <a:off x="547972" y="720967"/>
            <a:ext cx="502920" cy="277671"/>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 name="speech_5" title="Icon of two overlapping chat bubbles">
            <a:extLst>
              <a:ext uri="{FF2B5EF4-FFF2-40B4-BE49-F238E27FC236}">
                <a16:creationId xmlns:a16="http://schemas.microsoft.com/office/drawing/2014/main" id="{51362ED3-5FAE-44EE-B3C9-1EC589F740C3}"/>
              </a:ext>
            </a:extLst>
          </p:cNvPr>
          <p:cNvSpPr>
            <a:spLocks noChangeAspect="1" noEditPoints="1"/>
          </p:cNvSpPr>
          <p:nvPr/>
        </p:nvSpPr>
        <p:spPr bwMode="auto">
          <a:xfrm>
            <a:off x="4634909" y="3146608"/>
            <a:ext cx="248972" cy="194669"/>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76" name="Straight Connector 175">
            <a:extLst>
              <a:ext uri="{FF2B5EF4-FFF2-40B4-BE49-F238E27FC236}">
                <a16:creationId xmlns:a16="http://schemas.microsoft.com/office/drawing/2014/main" id="{4F7E5841-54BF-4060-AF71-743AB2D479A0}"/>
              </a:ext>
            </a:extLst>
          </p:cNvPr>
          <p:cNvCxnSpPr>
            <a:cxnSpLocks/>
          </p:cNvCxnSpPr>
          <p:nvPr/>
        </p:nvCxnSpPr>
        <p:spPr>
          <a:xfrm>
            <a:off x="1561456" y="2848785"/>
            <a:ext cx="10491205" cy="0"/>
          </a:xfrm>
          <a:prstGeom prst="line">
            <a:avLst/>
          </a:prstGeom>
          <a:noFill/>
          <a:ln w="12700" cap="flat" cmpd="sng" algn="ctr">
            <a:solidFill>
              <a:srgbClr val="FFFFFF">
                <a:lumMod val="85000"/>
              </a:srgbClr>
            </a:solidFill>
            <a:prstDash val="solid"/>
          </a:ln>
          <a:effectLst/>
        </p:spPr>
      </p:cxnSp>
      <p:sp>
        <p:nvSpPr>
          <p:cNvPr id="177" name="Chevron 22">
            <a:extLst>
              <a:ext uri="{FF2B5EF4-FFF2-40B4-BE49-F238E27FC236}">
                <a16:creationId xmlns:a16="http://schemas.microsoft.com/office/drawing/2014/main" id="{2088CB28-CCBB-4D50-AA15-BCF215FF0303}"/>
              </a:ext>
            </a:extLst>
          </p:cNvPr>
          <p:cNvSpPr/>
          <p:nvPr/>
        </p:nvSpPr>
        <p:spPr>
          <a:xfrm>
            <a:off x="3139211" y="2090811"/>
            <a:ext cx="1478229" cy="237533"/>
          </a:xfrm>
          <a:prstGeom prst="chevron">
            <a:avLst/>
          </a:prstGeom>
          <a:solidFill>
            <a:srgbClr val="041E41"/>
          </a:solidFill>
          <a:ln w="9525" cap="flat" cmpd="sng" algn="ctr">
            <a:noFill/>
            <a:prstDash val="sysDash"/>
          </a:ln>
          <a:effectLst/>
        </p:spPr>
        <p:txBody>
          <a:bodyPr lIns="95250" tIns="0" rIns="0" bIns="0" anchor="ct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900" b="1" i="0" u="none" strike="noStrike" kern="0" cap="none" spc="100" normalizeH="0" baseline="0" noProof="0">
                <a:ln>
                  <a:noFill/>
                </a:ln>
                <a:solidFill>
                  <a:srgbClr val="FFFFFF"/>
                </a:solidFill>
                <a:effectLst/>
                <a:uLnTx/>
                <a:uFillTx/>
                <a:latin typeface="Segoe UI"/>
                <a:ea typeface="Roboto" panose="02000000000000000000" pitchFamily="2" charset="0"/>
                <a:cs typeface="+mn-cs"/>
              </a:rPr>
              <a:t>Awareness</a:t>
            </a:r>
          </a:p>
        </p:txBody>
      </p:sp>
      <p:sp>
        <p:nvSpPr>
          <p:cNvPr id="178" name="Rectangle 177">
            <a:extLst>
              <a:ext uri="{FF2B5EF4-FFF2-40B4-BE49-F238E27FC236}">
                <a16:creationId xmlns:a16="http://schemas.microsoft.com/office/drawing/2014/main" id="{1D8E12A9-B9C4-4469-81FF-02BD4B9ED256}"/>
              </a:ext>
            </a:extLst>
          </p:cNvPr>
          <p:cNvSpPr/>
          <p:nvPr/>
        </p:nvSpPr>
        <p:spPr>
          <a:xfrm>
            <a:off x="1744352" y="3690146"/>
            <a:ext cx="1200203" cy="369332"/>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mn-ea"/>
                <a:cs typeface="+mn-cs"/>
              </a:rPr>
              <a:t>Cloud native app with AI (Cognitive), Kubernetes, CosmosDB/PostgreSQL</a:t>
            </a:r>
          </a:p>
        </p:txBody>
      </p:sp>
      <p:sp>
        <p:nvSpPr>
          <p:cNvPr id="179" name="Rectangle 178">
            <a:extLst>
              <a:ext uri="{FF2B5EF4-FFF2-40B4-BE49-F238E27FC236}">
                <a16:creationId xmlns:a16="http://schemas.microsoft.com/office/drawing/2014/main" id="{39CC5CBA-8004-48DB-B991-9D99FDC45D9F}"/>
              </a:ext>
            </a:extLst>
          </p:cNvPr>
          <p:cNvSpPr/>
          <p:nvPr/>
        </p:nvSpPr>
        <p:spPr>
          <a:xfrm>
            <a:off x="1722846" y="4414709"/>
            <a:ext cx="1200203" cy="12311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mn-ea"/>
                <a:cs typeface="+mn-cs"/>
              </a:rPr>
              <a:t>Analytics</a:t>
            </a:r>
          </a:p>
        </p:txBody>
      </p:sp>
      <p:sp>
        <p:nvSpPr>
          <p:cNvPr id="180" name="Rectangle 179">
            <a:extLst>
              <a:ext uri="{FF2B5EF4-FFF2-40B4-BE49-F238E27FC236}">
                <a16:creationId xmlns:a16="http://schemas.microsoft.com/office/drawing/2014/main" id="{D2EE8BBE-0948-406D-A00F-4EE7D4674CA0}"/>
              </a:ext>
            </a:extLst>
          </p:cNvPr>
          <p:cNvSpPr/>
          <p:nvPr/>
        </p:nvSpPr>
        <p:spPr>
          <a:xfrm>
            <a:off x="1752437" y="5338443"/>
            <a:ext cx="1333775" cy="12311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mn-ea"/>
                <a:cs typeface="+mn-cs"/>
              </a:rPr>
              <a:t>Artificial Intelligence (AI)</a:t>
            </a:r>
          </a:p>
        </p:txBody>
      </p:sp>
      <p:sp>
        <p:nvSpPr>
          <p:cNvPr id="181" name="TextBox 180">
            <a:extLst>
              <a:ext uri="{FF2B5EF4-FFF2-40B4-BE49-F238E27FC236}">
                <a16:creationId xmlns:a16="http://schemas.microsoft.com/office/drawing/2014/main" id="{9CAC43E7-859E-46CE-AF92-DD0C06AAE922}"/>
              </a:ext>
            </a:extLst>
          </p:cNvPr>
          <p:cNvSpPr txBox="1"/>
          <p:nvPr/>
        </p:nvSpPr>
        <p:spPr>
          <a:xfrm>
            <a:off x="4908551" y="3544211"/>
            <a:ext cx="826319"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243A5E"/>
                </a:solidFill>
                <a:effectLst/>
                <a:uLnTx/>
                <a:uFillTx/>
                <a:latin typeface="Segoe UI"/>
                <a:ea typeface="+mn-ea"/>
                <a:cs typeface="+mn-cs"/>
              </a:rPr>
              <a:t>Cloud Native In a Day</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sp>
        <p:nvSpPr>
          <p:cNvPr id="182" name="speech_5" title="Icon of two overlapping chat bubbles">
            <a:extLst>
              <a:ext uri="{FF2B5EF4-FFF2-40B4-BE49-F238E27FC236}">
                <a16:creationId xmlns:a16="http://schemas.microsoft.com/office/drawing/2014/main" id="{9801B045-6461-4E02-B0D5-03AA4872F5F0}"/>
              </a:ext>
            </a:extLst>
          </p:cNvPr>
          <p:cNvSpPr>
            <a:spLocks noChangeAspect="1" noEditPoints="1"/>
          </p:cNvSpPr>
          <p:nvPr/>
        </p:nvSpPr>
        <p:spPr bwMode="auto">
          <a:xfrm>
            <a:off x="4645098" y="3538116"/>
            <a:ext cx="248972" cy="194669"/>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3" name="TextBox 182">
            <a:extLst>
              <a:ext uri="{FF2B5EF4-FFF2-40B4-BE49-F238E27FC236}">
                <a16:creationId xmlns:a16="http://schemas.microsoft.com/office/drawing/2014/main" id="{439E2A70-F706-4DB8-9644-C3384E3BAA9F}"/>
              </a:ext>
            </a:extLst>
          </p:cNvPr>
          <p:cNvSpPr txBox="1"/>
          <p:nvPr/>
        </p:nvSpPr>
        <p:spPr>
          <a:xfrm>
            <a:off x="4908551" y="4530390"/>
            <a:ext cx="1134101" cy="194669"/>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243A5E"/>
                </a:solidFill>
                <a:effectLst/>
                <a:uLnTx/>
                <a:uFillTx/>
                <a:latin typeface="Segoe UI"/>
                <a:ea typeface="+mn-ea"/>
                <a:cs typeface="+mn-cs"/>
              </a:rPr>
              <a:t>Analytics In a Day</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sp>
        <p:nvSpPr>
          <p:cNvPr id="184" name="speech_5" title="Icon of two overlapping chat bubbles">
            <a:extLst>
              <a:ext uri="{FF2B5EF4-FFF2-40B4-BE49-F238E27FC236}">
                <a16:creationId xmlns:a16="http://schemas.microsoft.com/office/drawing/2014/main" id="{B8C67803-9848-4083-A941-A4D5389BDA9F}"/>
              </a:ext>
            </a:extLst>
          </p:cNvPr>
          <p:cNvSpPr>
            <a:spLocks noChangeAspect="1" noEditPoints="1"/>
          </p:cNvSpPr>
          <p:nvPr/>
        </p:nvSpPr>
        <p:spPr bwMode="auto">
          <a:xfrm>
            <a:off x="4645098" y="4524296"/>
            <a:ext cx="248972" cy="194669"/>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5" name="TextBox 184">
            <a:extLst>
              <a:ext uri="{FF2B5EF4-FFF2-40B4-BE49-F238E27FC236}">
                <a16:creationId xmlns:a16="http://schemas.microsoft.com/office/drawing/2014/main" id="{7C6339D1-4E9E-45BD-95E5-12BADEAB76D1}"/>
              </a:ext>
            </a:extLst>
          </p:cNvPr>
          <p:cNvSpPr txBox="1"/>
          <p:nvPr/>
        </p:nvSpPr>
        <p:spPr>
          <a:xfrm>
            <a:off x="4893800" y="5453954"/>
            <a:ext cx="1134101" cy="194669"/>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1200" cap="none" spc="0" normalizeH="0" baseline="0" noProof="0" err="1">
                <a:ln>
                  <a:noFill/>
                </a:ln>
                <a:solidFill>
                  <a:srgbClr val="243A5E"/>
                </a:solidFill>
                <a:effectLst/>
                <a:uLnTx/>
                <a:uFillTx/>
                <a:latin typeface="Segoe UI"/>
                <a:ea typeface="+mn-ea"/>
                <a:cs typeface="Segoe UI"/>
              </a:rPr>
              <a:t>HackFest</a:t>
            </a:r>
            <a:r>
              <a:rPr kumimoji="0" lang="en-US" sz="700" b="1" i="0" u="none" strike="noStrike" kern="1200" cap="none" spc="0" normalizeH="0" baseline="0" noProof="0">
                <a:ln>
                  <a:noFill/>
                </a:ln>
                <a:solidFill>
                  <a:srgbClr val="243A5E"/>
                </a:solidFill>
                <a:effectLst/>
                <a:uLnTx/>
                <a:uFillTx/>
                <a:latin typeface="Segoe UI"/>
                <a:ea typeface="+mn-ea"/>
                <a:cs typeface="Segoe UI"/>
              </a:rPr>
              <a:t> </a:t>
            </a:r>
          </a:p>
        </p:txBody>
      </p:sp>
      <p:sp>
        <p:nvSpPr>
          <p:cNvPr id="186" name="Rectangle 185">
            <a:extLst>
              <a:ext uri="{FF2B5EF4-FFF2-40B4-BE49-F238E27FC236}">
                <a16:creationId xmlns:a16="http://schemas.microsoft.com/office/drawing/2014/main" id="{DB49D2E4-D5D7-45BA-81AF-CF1DE3865209}"/>
              </a:ext>
            </a:extLst>
          </p:cNvPr>
          <p:cNvSpPr/>
          <p:nvPr/>
        </p:nvSpPr>
        <p:spPr bwMode="auto">
          <a:xfrm>
            <a:off x="7221025" y="2949907"/>
            <a:ext cx="447818" cy="2492378"/>
          </a:xfrm>
          <a:prstGeom prst="rect">
            <a:avLst/>
          </a:prstGeom>
          <a:solidFill>
            <a:srgbClr val="0078D4">
              <a:alpha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TextBox 186">
            <a:extLst>
              <a:ext uri="{FF2B5EF4-FFF2-40B4-BE49-F238E27FC236}">
                <a16:creationId xmlns:a16="http://schemas.microsoft.com/office/drawing/2014/main" id="{7ECBC8B2-7690-49AE-B281-90BE751BAB9F}"/>
              </a:ext>
            </a:extLst>
          </p:cNvPr>
          <p:cNvSpPr txBox="1"/>
          <p:nvPr/>
        </p:nvSpPr>
        <p:spPr>
          <a:xfrm>
            <a:off x="7071946" y="3861726"/>
            <a:ext cx="799310" cy="399340"/>
          </a:xfrm>
          <a:prstGeom prst="rect">
            <a:avLst/>
          </a:prstGeom>
          <a:noFill/>
        </p:spPr>
        <p:txBody>
          <a:bodyPr wrap="square" rtlCol="0">
            <a:spAutoFit/>
          </a:bodyPr>
          <a:lstStyle/>
          <a:p>
            <a:pPr marL="0" marR="0" lvl="0" indent="0" algn="ctr"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1A1A1A"/>
                </a:solidFill>
                <a:effectLst/>
                <a:uLnTx/>
                <a:uFillTx/>
                <a:latin typeface="Segoe UI"/>
                <a:ea typeface="+mn-ea"/>
                <a:cs typeface="+mn-cs"/>
              </a:rPr>
              <a:t>CEE </a:t>
            </a:r>
            <a:br>
              <a:rPr kumimoji="0" lang="en-US" sz="700" b="1" i="0" u="none" strike="noStrike" kern="0" cap="none" spc="0" normalizeH="0" baseline="0" noProof="0">
                <a:ln>
                  <a:noFill/>
                </a:ln>
                <a:solidFill>
                  <a:srgbClr val="1A1A1A"/>
                </a:solidFill>
                <a:effectLst/>
                <a:uLnTx/>
                <a:uFillTx/>
                <a:latin typeface="Segoe UI"/>
                <a:ea typeface="+mn-ea"/>
                <a:cs typeface="+mn-cs"/>
              </a:rPr>
            </a:br>
            <a:r>
              <a:rPr kumimoji="0" lang="en-US" sz="700" b="1" i="0" u="none" strike="noStrike" kern="0" cap="none" spc="0" normalizeH="0" baseline="0" noProof="0">
                <a:ln>
                  <a:noFill/>
                </a:ln>
                <a:solidFill>
                  <a:srgbClr val="1A1A1A"/>
                </a:solidFill>
                <a:effectLst/>
                <a:uLnTx/>
                <a:uFillTx/>
                <a:latin typeface="Segoe UI"/>
                <a:ea typeface="+mn-ea"/>
                <a:cs typeface="+mn-cs"/>
              </a:rPr>
              <a:t>ACO/ECIF</a:t>
            </a:r>
            <a:br>
              <a:rPr kumimoji="0" lang="en-US" sz="700" b="1" i="0" u="none" strike="noStrike" kern="0" cap="none" spc="0" normalizeH="0" baseline="0" noProof="0">
                <a:ln>
                  <a:noFill/>
                </a:ln>
                <a:solidFill>
                  <a:srgbClr val="1A1A1A"/>
                </a:solidFill>
                <a:effectLst/>
                <a:uLnTx/>
                <a:uFillTx/>
                <a:latin typeface="Segoe UI"/>
                <a:ea typeface="+mn-ea"/>
                <a:cs typeface="+mn-cs"/>
              </a:rPr>
            </a:br>
            <a:r>
              <a:rPr kumimoji="0" lang="en-US" sz="700" b="1" i="0" u="none" strike="noStrike" kern="0" cap="none" spc="0" normalizeH="0" baseline="0" noProof="0">
                <a:ln>
                  <a:noFill/>
                </a:ln>
                <a:solidFill>
                  <a:srgbClr val="1A1A1A"/>
                </a:solidFill>
                <a:effectLst/>
                <a:uLnTx/>
                <a:uFillTx/>
                <a:latin typeface="Segoe UI"/>
                <a:ea typeface="+mn-ea"/>
                <a:cs typeface="+mn-cs"/>
              </a:rPr>
              <a:t>Funds</a:t>
            </a:r>
          </a:p>
        </p:txBody>
      </p:sp>
      <p:sp>
        <p:nvSpPr>
          <p:cNvPr id="188" name="bank" title="Icon of a piggy bank">
            <a:extLst>
              <a:ext uri="{FF2B5EF4-FFF2-40B4-BE49-F238E27FC236}">
                <a16:creationId xmlns:a16="http://schemas.microsoft.com/office/drawing/2014/main" id="{77393373-2D57-4B0F-9A69-F51CC9C5D02C}"/>
              </a:ext>
            </a:extLst>
          </p:cNvPr>
          <p:cNvSpPr>
            <a:spLocks noChangeAspect="1" noEditPoints="1"/>
          </p:cNvSpPr>
          <p:nvPr/>
        </p:nvSpPr>
        <p:spPr bwMode="auto">
          <a:xfrm>
            <a:off x="7309245" y="3613680"/>
            <a:ext cx="245045" cy="226744"/>
          </a:xfrm>
          <a:custGeom>
            <a:avLst/>
            <a:gdLst>
              <a:gd name="T0" fmla="*/ 181 w 335"/>
              <a:gd name="T1" fmla="*/ 59 h 309"/>
              <a:gd name="T2" fmla="*/ 180 w 335"/>
              <a:gd name="T3" fmla="*/ 47 h 309"/>
              <a:gd name="T4" fmla="*/ 227 w 335"/>
              <a:gd name="T5" fmla="*/ 0 h 309"/>
              <a:gd name="T6" fmla="*/ 274 w 335"/>
              <a:gd name="T7" fmla="*/ 47 h 309"/>
              <a:gd name="T8" fmla="*/ 259 w 335"/>
              <a:gd name="T9" fmla="*/ 81 h 309"/>
              <a:gd name="T10" fmla="*/ 181 w 335"/>
              <a:gd name="T11" fmla="*/ 59 h 309"/>
              <a:gd name="T12" fmla="*/ 180 w 335"/>
              <a:gd name="T13" fmla="*/ 45 h 309"/>
              <a:gd name="T14" fmla="*/ 145 w 335"/>
              <a:gd name="T15" fmla="*/ 44 h 309"/>
              <a:gd name="T16" fmla="*/ 92 w 335"/>
              <a:gd name="T17" fmla="*/ 11 h 309"/>
              <a:gd name="T18" fmla="*/ 92 w 335"/>
              <a:gd name="T19" fmla="*/ 62 h 309"/>
              <a:gd name="T20" fmla="*/ 89 w 335"/>
              <a:gd name="T21" fmla="*/ 66 h 309"/>
              <a:gd name="T22" fmla="*/ 56 w 335"/>
              <a:gd name="T23" fmla="*/ 92 h 309"/>
              <a:gd name="T24" fmla="*/ 19 w 335"/>
              <a:gd name="T25" fmla="*/ 134 h 309"/>
              <a:gd name="T26" fmla="*/ 0 w 335"/>
              <a:gd name="T27" fmla="*/ 154 h 309"/>
              <a:gd name="T28" fmla="*/ 0 w 335"/>
              <a:gd name="T29" fmla="*/ 178 h 309"/>
              <a:gd name="T30" fmla="*/ 19 w 335"/>
              <a:gd name="T31" fmla="*/ 198 h 309"/>
              <a:gd name="T32" fmla="*/ 28 w 335"/>
              <a:gd name="T33" fmla="*/ 198 h 309"/>
              <a:gd name="T34" fmla="*/ 89 w 335"/>
              <a:gd name="T35" fmla="*/ 264 h 309"/>
              <a:gd name="T36" fmla="*/ 89 w 335"/>
              <a:gd name="T37" fmla="*/ 289 h 309"/>
              <a:gd name="T38" fmla="*/ 108 w 335"/>
              <a:gd name="T39" fmla="*/ 309 h 309"/>
              <a:gd name="T40" fmla="*/ 133 w 335"/>
              <a:gd name="T41" fmla="*/ 309 h 309"/>
              <a:gd name="T42" fmla="*/ 152 w 335"/>
              <a:gd name="T43" fmla="*/ 289 h 309"/>
              <a:gd name="T44" fmla="*/ 226 w 335"/>
              <a:gd name="T45" fmla="*/ 289 h 309"/>
              <a:gd name="T46" fmla="*/ 245 w 335"/>
              <a:gd name="T47" fmla="*/ 309 h 309"/>
              <a:gd name="T48" fmla="*/ 270 w 335"/>
              <a:gd name="T49" fmla="*/ 309 h 309"/>
              <a:gd name="T50" fmla="*/ 289 w 335"/>
              <a:gd name="T51" fmla="*/ 289 h 309"/>
              <a:gd name="T52" fmla="*/ 289 w 335"/>
              <a:gd name="T53" fmla="*/ 251 h 309"/>
              <a:gd name="T54" fmla="*/ 335 w 335"/>
              <a:gd name="T55" fmla="*/ 167 h 309"/>
              <a:gd name="T56" fmla="*/ 268 w 335"/>
              <a:gd name="T57" fmla="*/ 70 h 309"/>
              <a:gd name="T58" fmla="*/ 89 w 335"/>
              <a:gd name="T59" fmla="*/ 137 h 309"/>
              <a:gd name="T60" fmla="*/ 94 w 335"/>
              <a:gd name="T61" fmla="*/ 132 h 309"/>
              <a:gd name="T62" fmla="*/ 89 w 335"/>
              <a:gd name="T63" fmla="*/ 127 h 309"/>
              <a:gd name="T64" fmla="*/ 84 w 335"/>
              <a:gd name="T65" fmla="*/ 132 h 309"/>
              <a:gd name="T66" fmla="*/ 89 w 335"/>
              <a:gd name="T67" fmla="*/ 13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5" h="309">
                <a:moveTo>
                  <a:pt x="181" y="59"/>
                </a:moveTo>
                <a:cubicBezTo>
                  <a:pt x="180" y="55"/>
                  <a:pt x="180" y="51"/>
                  <a:pt x="180" y="47"/>
                </a:cubicBezTo>
                <a:cubicBezTo>
                  <a:pt x="180" y="21"/>
                  <a:pt x="201" y="0"/>
                  <a:pt x="227" y="0"/>
                </a:cubicBezTo>
                <a:cubicBezTo>
                  <a:pt x="253" y="0"/>
                  <a:pt x="274" y="21"/>
                  <a:pt x="274" y="47"/>
                </a:cubicBezTo>
                <a:cubicBezTo>
                  <a:pt x="274" y="60"/>
                  <a:pt x="268" y="73"/>
                  <a:pt x="259" y="81"/>
                </a:cubicBezTo>
                <a:lnTo>
                  <a:pt x="181" y="59"/>
                </a:lnTo>
                <a:close/>
                <a:moveTo>
                  <a:pt x="180" y="45"/>
                </a:moveTo>
                <a:cubicBezTo>
                  <a:pt x="145" y="44"/>
                  <a:pt x="145" y="44"/>
                  <a:pt x="145" y="44"/>
                </a:cubicBezTo>
                <a:cubicBezTo>
                  <a:pt x="92" y="11"/>
                  <a:pt x="92" y="11"/>
                  <a:pt x="92" y="11"/>
                </a:cubicBezTo>
                <a:cubicBezTo>
                  <a:pt x="92" y="62"/>
                  <a:pt x="92" y="62"/>
                  <a:pt x="92" y="62"/>
                </a:cubicBezTo>
                <a:cubicBezTo>
                  <a:pt x="92" y="64"/>
                  <a:pt x="91" y="66"/>
                  <a:pt x="89" y="66"/>
                </a:cubicBezTo>
                <a:cubicBezTo>
                  <a:pt x="85" y="68"/>
                  <a:pt x="76" y="74"/>
                  <a:pt x="56" y="92"/>
                </a:cubicBezTo>
                <a:cubicBezTo>
                  <a:pt x="24" y="120"/>
                  <a:pt x="19" y="134"/>
                  <a:pt x="19" y="134"/>
                </a:cubicBezTo>
                <a:cubicBezTo>
                  <a:pt x="8" y="134"/>
                  <a:pt x="0" y="143"/>
                  <a:pt x="0" y="154"/>
                </a:cubicBezTo>
                <a:cubicBezTo>
                  <a:pt x="0" y="178"/>
                  <a:pt x="0" y="178"/>
                  <a:pt x="0" y="178"/>
                </a:cubicBezTo>
                <a:cubicBezTo>
                  <a:pt x="0" y="189"/>
                  <a:pt x="8" y="198"/>
                  <a:pt x="19" y="198"/>
                </a:cubicBezTo>
                <a:cubicBezTo>
                  <a:pt x="28" y="198"/>
                  <a:pt x="28" y="198"/>
                  <a:pt x="28" y="198"/>
                </a:cubicBezTo>
                <a:cubicBezTo>
                  <a:pt x="28" y="237"/>
                  <a:pt x="62" y="264"/>
                  <a:pt x="89" y="264"/>
                </a:cubicBezTo>
                <a:cubicBezTo>
                  <a:pt x="89" y="289"/>
                  <a:pt x="89" y="289"/>
                  <a:pt x="89" y="289"/>
                </a:cubicBezTo>
                <a:cubicBezTo>
                  <a:pt x="89" y="300"/>
                  <a:pt x="98" y="309"/>
                  <a:pt x="108" y="309"/>
                </a:cubicBezTo>
                <a:cubicBezTo>
                  <a:pt x="133" y="309"/>
                  <a:pt x="133" y="309"/>
                  <a:pt x="133" y="309"/>
                </a:cubicBezTo>
                <a:cubicBezTo>
                  <a:pt x="144" y="309"/>
                  <a:pt x="152" y="300"/>
                  <a:pt x="152" y="289"/>
                </a:cubicBezTo>
                <a:cubicBezTo>
                  <a:pt x="226" y="289"/>
                  <a:pt x="226" y="289"/>
                  <a:pt x="226" y="289"/>
                </a:cubicBezTo>
                <a:cubicBezTo>
                  <a:pt x="226" y="300"/>
                  <a:pt x="235" y="309"/>
                  <a:pt x="245" y="309"/>
                </a:cubicBezTo>
                <a:cubicBezTo>
                  <a:pt x="270" y="309"/>
                  <a:pt x="270" y="309"/>
                  <a:pt x="270" y="309"/>
                </a:cubicBezTo>
                <a:cubicBezTo>
                  <a:pt x="281" y="309"/>
                  <a:pt x="289" y="300"/>
                  <a:pt x="289" y="289"/>
                </a:cubicBezTo>
                <a:cubicBezTo>
                  <a:pt x="289" y="251"/>
                  <a:pt x="289" y="251"/>
                  <a:pt x="289" y="251"/>
                </a:cubicBezTo>
                <a:cubicBezTo>
                  <a:pt x="317" y="233"/>
                  <a:pt x="335" y="202"/>
                  <a:pt x="335" y="167"/>
                </a:cubicBezTo>
                <a:cubicBezTo>
                  <a:pt x="335" y="123"/>
                  <a:pt x="306" y="85"/>
                  <a:pt x="268" y="70"/>
                </a:cubicBezTo>
                <a:moveTo>
                  <a:pt x="89" y="137"/>
                </a:moveTo>
                <a:cubicBezTo>
                  <a:pt x="92" y="137"/>
                  <a:pt x="94" y="135"/>
                  <a:pt x="94" y="132"/>
                </a:cubicBezTo>
                <a:cubicBezTo>
                  <a:pt x="94" y="129"/>
                  <a:pt x="92" y="127"/>
                  <a:pt x="89" y="127"/>
                </a:cubicBezTo>
                <a:cubicBezTo>
                  <a:pt x="86" y="127"/>
                  <a:pt x="84" y="129"/>
                  <a:pt x="84" y="132"/>
                </a:cubicBezTo>
                <a:cubicBezTo>
                  <a:pt x="84" y="135"/>
                  <a:pt x="86" y="137"/>
                  <a:pt x="89" y="137"/>
                </a:cubicBezTo>
                <a:close/>
              </a:path>
            </a:pathLst>
          </a:custGeom>
          <a:noFill/>
          <a:ln w="15875" cap="sq">
            <a:solidFill>
              <a:srgbClr val="1A1A1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a:ea typeface="+mn-ea"/>
              <a:cs typeface="+mn-cs"/>
            </a:endParaRPr>
          </a:p>
        </p:txBody>
      </p:sp>
      <p:sp>
        <p:nvSpPr>
          <p:cNvPr id="189" name="TextBox 188">
            <a:extLst>
              <a:ext uri="{FF2B5EF4-FFF2-40B4-BE49-F238E27FC236}">
                <a16:creationId xmlns:a16="http://schemas.microsoft.com/office/drawing/2014/main" id="{F069DB06-8F07-48EA-AE20-A1764CB63A56}"/>
              </a:ext>
            </a:extLst>
          </p:cNvPr>
          <p:cNvSpPr txBox="1"/>
          <p:nvPr/>
        </p:nvSpPr>
        <p:spPr>
          <a:xfrm>
            <a:off x="8028020" y="4189534"/>
            <a:ext cx="989451" cy="399340"/>
          </a:xfrm>
          <a:prstGeom prst="rect">
            <a:avLst/>
          </a:prstGeom>
          <a:noFill/>
        </p:spPr>
        <p:txBody>
          <a:bodyPr wrap="square" rtlCol="0">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7030A0"/>
                </a:solidFill>
                <a:effectLst/>
                <a:uLnTx/>
                <a:uFillTx/>
                <a:latin typeface="Segoe UI"/>
                <a:ea typeface="+mn-ea"/>
                <a:cs typeface="+mn-cs"/>
              </a:rPr>
              <a:t>Informatica</a:t>
            </a:r>
            <a:br>
              <a:rPr kumimoji="0" lang="en-US" sz="700" b="1" i="0" u="none" strike="noStrike" kern="0" cap="none" spc="0" normalizeH="0" baseline="0" noProof="0">
                <a:ln>
                  <a:noFill/>
                </a:ln>
                <a:solidFill>
                  <a:srgbClr val="7030A0"/>
                </a:solidFill>
                <a:effectLst/>
                <a:uLnTx/>
                <a:uFillTx/>
                <a:latin typeface="Segoe UI"/>
                <a:ea typeface="+mn-ea"/>
                <a:cs typeface="+mn-cs"/>
              </a:rPr>
            </a:br>
            <a:r>
              <a:rPr kumimoji="0" lang="en-US" sz="700" b="1" i="0" u="none" strike="noStrike" kern="0" cap="none" spc="0" normalizeH="0" baseline="0" noProof="0">
                <a:ln>
                  <a:noFill/>
                </a:ln>
                <a:solidFill>
                  <a:srgbClr val="7030A0"/>
                </a:solidFill>
                <a:effectLst/>
                <a:uLnTx/>
                <a:uFillTx/>
                <a:latin typeface="Segoe UI"/>
                <a:ea typeface="+mn-ea"/>
                <a:cs typeface="+mn-cs"/>
              </a:rPr>
              <a:t>&amp; PBI on SAP POC/POV</a:t>
            </a:r>
          </a:p>
        </p:txBody>
      </p:sp>
      <p:sp>
        <p:nvSpPr>
          <p:cNvPr id="190" name="Glasses_EA16" title="Icon of eye glasses">
            <a:extLst>
              <a:ext uri="{FF2B5EF4-FFF2-40B4-BE49-F238E27FC236}">
                <a16:creationId xmlns:a16="http://schemas.microsoft.com/office/drawing/2014/main" id="{C2CE15E8-BDB2-4120-AF7B-A1425B7E086A}"/>
              </a:ext>
            </a:extLst>
          </p:cNvPr>
          <p:cNvSpPr>
            <a:spLocks noChangeAspect="1" noEditPoints="1"/>
          </p:cNvSpPr>
          <p:nvPr/>
        </p:nvSpPr>
        <p:spPr bwMode="auto">
          <a:xfrm>
            <a:off x="7750939" y="4257406"/>
            <a:ext cx="259828" cy="138565"/>
          </a:xfrm>
          <a:custGeom>
            <a:avLst/>
            <a:gdLst>
              <a:gd name="T0" fmla="*/ 2254 w 3756"/>
              <a:gd name="T1" fmla="*/ 125 h 2002"/>
              <a:gd name="T2" fmla="*/ 2379 w 3756"/>
              <a:gd name="T3" fmla="*/ 0 h 2002"/>
              <a:gd name="T4" fmla="*/ 2380 w 3756"/>
              <a:gd name="T5" fmla="*/ 0 h 2002"/>
              <a:gd name="T6" fmla="*/ 3756 w 3756"/>
              <a:gd name="T7" fmla="*/ 688 h 2002"/>
              <a:gd name="T8" fmla="*/ 3756 w 3756"/>
              <a:gd name="T9" fmla="*/ 785 h 2002"/>
              <a:gd name="T10" fmla="*/ 3631 w 3756"/>
              <a:gd name="T11" fmla="*/ 1001 h 2002"/>
              <a:gd name="T12" fmla="*/ 3631 w 3756"/>
              <a:gd name="T13" fmla="*/ 1251 h 2002"/>
              <a:gd name="T14" fmla="*/ 2880 w 3756"/>
              <a:gd name="T15" fmla="*/ 2002 h 2002"/>
              <a:gd name="T16" fmla="*/ 2129 w 3756"/>
              <a:gd name="T17" fmla="*/ 1251 h 2002"/>
              <a:gd name="T18" fmla="*/ 1880 w 3756"/>
              <a:gd name="T19" fmla="*/ 1002 h 2002"/>
              <a:gd name="T20" fmla="*/ 1882 w 3756"/>
              <a:gd name="T21" fmla="*/ 1002 h 2002"/>
              <a:gd name="T22" fmla="*/ 2131 w 3756"/>
              <a:gd name="T23" fmla="*/ 876 h 2002"/>
              <a:gd name="T24" fmla="*/ 2382 w 3756"/>
              <a:gd name="T25" fmla="*/ 750 h 2002"/>
              <a:gd name="T26" fmla="*/ 2482 w 3756"/>
              <a:gd name="T27" fmla="*/ 750 h 2002"/>
              <a:gd name="T28" fmla="*/ 3702 w 3756"/>
              <a:gd name="T29" fmla="*/ 748 h 2002"/>
              <a:gd name="T30" fmla="*/ 2505 w 3756"/>
              <a:gd name="T31" fmla="*/ 748 h 2002"/>
              <a:gd name="T32" fmla="*/ 2131 w 3756"/>
              <a:gd name="T33" fmla="*/ 1122 h 2002"/>
              <a:gd name="T34" fmla="*/ 2131 w 3756"/>
              <a:gd name="T35" fmla="*/ 1247 h 2002"/>
              <a:gd name="T36" fmla="*/ 1876 w 3756"/>
              <a:gd name="T37" fmla="*/ 1002 h 2002"/>
              <a:gd name="T38" fmla="*/ 1627 w 3756"/>
              <a:gd name="T39" fmla="*/ 1251 h 2002"/>
              <a:gd name="T40" fmla="*/ 876 w 3756"/>
              <a:gd name="T41" fmla="*/ 2002 h 2002"/>
              <a:gd name="T42" fmla="*/ 125 w 3756"/>
              <a:gd name="T43" fmla="*/ 1251 h 2002"/>
              <a:gd name="T44" fmla="*/ 125 w 3756"/>
              <a:gd name="T45" fmla="*/ 1001 h 2002"/>
              <a:gd name="T46" fmla="*/ 0 w 3756"/>
              <a:gd name="T47" fmla="*/ 785 h 2002"/>
              <a:gd name="T48" fmla="*/ 0 w 3756"/>
              <a:gd name="T49" fmla="*/ 688 h 2002"/>
              <a:gd name="T50" fmla="*/ 1376 w 3756"/>
              <a:gd name="T51" fmla="*/ 0 h 2002"/>
              <a:gd name="T52" fmla="*/ 1377 w 3756"/>
              <a:gd name="T53" fmla="*/ 0 h 2002"/>
              <a:gd name="T54" fmla="*/ 1502 w 3756"/>
              <a:gd name="T55" fmla="*/ 125 h 2002"/>
              <a:gd name="T56" fmla="*/ 1274 w 3756"/>
              <a:gd name="T57" fmla="*/ 750 h 2002"/>
              <a:gd name="T58" fmla="*/ 1374 w 3756"/>
              <a:gd name="T59" fmla="*/ 750 h 2002"/>
              <a:gd name="T60" fmla="*/ 1625 w 3756"/>
              <a:gd name="T61" fmla="*/ 876 h 2002"/>
              <a:gd name="T62" fmla="*/ 1874 w 3756"/>
              <a:gd name="T63" fmla="*/ 1002 h 2002"/>
              <a:gd name="T64" fmla="*/ 1625 w 3756"/>
              <a:gd name="T65" fmla="*/ 1247 h 2002"/>
              <a:gd name="T66" fmla="*/ 1625 w 3756"/>
              <a:gd name="T67" fmla="*/ 1122 h 2002"/>
              <a:gd name="T68" fmla="*/ 1251 w 3756"/>
              <a:gd name="T69" fmla="*/ 748 h 2002"/>
              <a:gd name="T70" fmla="*/ 54 w 3756"/>
              <a:gd name="T71" fmla="*/ 748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56" h="2002">
                <a:moveTo>
                  <a:pt x="2254" y="125"/>
                </a:moveTo>
                <a:cubicBezTo>
                  <a:pt x="2379" y="0"/>
                  <a:pt x="2379" y="0"/>
                  <a:pt x="2379" y="0"/>
                </a:cubicBezTo>
                <a:cubicBezTo>
                  <a:pt x="2380" y="0"/>
                  <a:pt x="2380" y="0"/>
                  <a:pt x="2380" y="0"/>
                </a:cubicBezTo>
                <a:cubicBezTo>
                  <a:pt x="3756" y="688"/>
                  <a:pt x="3756" y="688"/>
                  <a:pt x="3756" y="688"/>
                </a:cubicBezTo>
                <a:cubicBezTo>
                  <a:pt x="3756" y="785"/>
                  <a:pt x="3756" y="785"/>
                  <a:pt x="3756" y="785"/>
                </a:cubicBezTo>
                <a:cubicBezTo>
                  <a:pt x="3681" y="828"/>
                  <a:pt x="3631" y="909"/>
                  <a:pt x="3631" y="1001"/>
                </a:cubicBezTo>
                <a:cubicBezTo>
                  <a:pt x="3631" y="1251"/>
                  <a:pt x="3631" y="1251"/>
                  <a:pt x="3631" y="1251"/>
                </a:cubicBezTo>
                <a:cubicBezTo>
                  <a:pt x="3631" y="1665"/>
                  <a:pt x="3294" y="2002"/>
                  <a:pt x="2880" y="2002"/>
                </a:cubicBezTo>
                <a:cubicBezTo>
                  <a:pt x="2466" y="2002"/>
                  <a:pt x="2129" y="1665"/>
                  <a:pt x="2129" y="1251"/>
                </a:cubicBezTo>
                <a:cubicBezTo>
                  <a:pt x="2129" y="1114"/>
                  <a:pt x="2017" y="1002"/>
                  <a:pt x="1880" y="1002"/>
                </a:cubicBezTo>
                <a:moveTo>
                  <a:pt x="1882" y="1002"/>
                </a:moveTo>
                <a:cubicBezTo>
                  <a:pt x="1976" y="1002"/>
                  <a:pt x="2065" y="957"/>
                  <a:pt x="2131" y="876"/>
                </a:cubicBezTo>
                <a:cubicBezTo>
                  <a:pt x="2198" y="795"/>
                  <a:pt x="2287" y="750"/>
                  <a:pt x="2382" y="750"/>
                </a:cubicBezTo>
                <a:cubicBezTo>
                  <a:pt x="2482" y="750"/>
                  <a:pt x="2482" y="750"/>
                  <a:pt x="2482" y="750"/>
                </a:cubicBezTo>
                <a:moveTo>
                  <a:pt x="3702" y="748"/>
                </a:moveTo>
                <a:cubicBezTo>
                  <a:pt x="2505" y="748"/>
                  <a:pt x="2505" y="748"/>
                  <a:pt x="2505" y="748"/>
                </a:cubicBezTo>
                <a:cubicBezTo>
                  <a:pt x="2299" y="748"/>
                  <a:pt x="2131" y="916"/>
                  <a:pt x="2131" y="1122"/>
                </a:cubicBezTo>
                <a:cubicBezTo>
                  <a:pt x="2131" y="1247"/>
                  <a:pt x="2131" y="1247"/>
                  <a:pt x="2131" y="1247"/>
                </a:cubicBezTo>
                <a:moveTo>
                  <a:pt x="1876" y="1002"/>
                </a:moveTo>
                <a:cubicBezTo>
                  <a:pt x="1739" y="1002"/>
                  <a:pt x="1627" y="1114"/>
                  <a:pt x="1627" y="1251"/>
                </a:cubicBezTo>
                <a:cubicBezTo>
                  <a:pt x="1627" y="1665"/>
                  <a:pt x="1290" y="2002"/>
                  <a:pt x="876" y="2002"/>
                </a:cubicBezTo>
                <a:cubicBezTo>
                  <a:pt x="462" y="2002"/>
                  <a:pt x="125" y="1665"/>
                  <a:pt x="125" y="1251"/>
                </a:cubicBezTo>
                <a:cubicBezTo>
                  <a:pt x="125" y="1001"/>
                  <a:pt x="125" y="1001"/>
                  <a:pt x="125" y="1001"/>
                </a:cubicBezTo>
                <a:cubicBezTo>
                  <a:pt x="125" y="909"/>
                  <a:pt x="75" y="828"/>
                  <a:pt x="0" y="785"/>
                </a:cubicBezTo>
                <a:cubicBezTo>
                  <a:pt x="0" y="688"/>
                  <a:pt x="0" y="688"/>
                  <a:pt x="0" y="688"/>
                </a:cubicBezTo>
                <a:cubicBezTo>
                  <a:pt x="1376" y="0"/>
                  <a:pt x="1376" y="0"/>
                  <a:pt x="1376" y="0"/>
                </a:cubicBezTo>
                <a:cubicBezTo>
                  <a:pt x="1376" y="0"/>
                  <a:pt x="1376" y="0"/>
                  <a:pt x="1377" y="0"/>
                </a:cubicBezTo>
                <a:cubicBezTo>
                  <a:pt x="1502" y="125"/>
                  <a:pt x="1502" y="125"/>
                  <a:pt x="1502" y="125"/>
                </a:cubicBezTo>
                <a:moveTo>
                  <a:pt x="1274" y="750"/>
                </a:moveTo>
                <a:cubicBezTo>
                  <a:pt x="1374" y="750"/>
                  <a:pt x="1374" y="750"/>
                  <a:pt x="1374" y="750"/>
                </a:cubicBezTo>
                <a:cubicBezTo>
                  <a:pt x="1469" y="750"/>
                  <a:pt x="1558" y="795"/>
                  <a:pt x="1625" y="876"/>
                </a:cubicBezTo>
                <a:cubicBezTo>
                  <a:pt x="1691" y="957"/>
                  <a:pt x="1780" y="1002"/>
                  <a:pt x="1874" y="1002"/>
                </a:cubicBezTo>
                <a:moveTo>
                  <a:pt x="1625" y="1247"/>
                </a:moveTo>
                <a:cubicBezTo>
                  <a:pt x="1625" y="1122"/>
                  <a:pt x="1625" y="1122"/>
                  <a:pt x="1625" y="1122"/>
                </a:cubicBezTo>
                <a:cubicBezTo>
                  <a:pt x="1625" y="916"/>
                  <a:pt x="1457" y="748"/>
                  <a:pt x="1251" y="748"/>
                </a:cubicBezTo>
                <a:cubicBezTo>
                  <a:pt x="54" y="748"/>
                  <a:pt x="54" y="748"/>
                  <a:pt x="54" y="748"/>
                </a:cubicBezTo>
              </a:path>
            </a:pathLst>
          </a:custGeom>
          <a:noFill/>
          <a:ln w="15875"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1" name="Rectangle 190">
            <a:extLst>
              <a:ext uri="{FF2B5EF4-FFF2-40B4-BE49-F238E27FC236}">
                <a16:creationId xmlns:a16="http://schemas.microsoft.com/office/drawing/2014/main" id="{85140B01-DD0E-45AA-B474-CF29DC8B2220}"/>
              </a:ext>
            </a:extLst>
          </p:cNvPr>
          <p:cNvSpPr/>
          <p:nvPr/>
        </p:nvSpPr>
        <p:spPr>
          <a:xfrm>
            <a:off x="6039237" y="2380335"/>
            <a:ext cx="1378452" cy="246221"/>
          </a:xfrm>
          <a:prstGeom prst="rect">
            <a:avLst/>
          </a:prstGeom>
        </p:spPr>
        <p:txBody>
          <a:bodyPr wrap="square" lIns="0" tIns="0" rIns="0" bIns="0">
            <a:spAutoFit/>
          </a:bodyPr>
          <a:lstStyle/>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What are my cloud options</a:t>
            </a:r>
          </a:p>
          <a:p>
            <a:pPr marL="0" marR="0" lvl="0" indent="0" algn="l" defTabSz="1087618"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Output: </a:t>
            </a:r>
            <a:r>
              <a:rPr kumimoji="0" lang="en-US" sz="800" b="0" i="0" u="none" strike="noStrike" kern="0" cap="none" spc="0" normalizeH="0" baseline="0" noProof="0">
                <a:ln>
                  <a:noFill/>
                </a:ln>
                <a:solidFill>
                  <a:srgbClr val="1A1A1A"/>
                </a:solidFill>
                <a:effectLst/>
                <a:uLnTx/>
                <a:uFillTx/>
                <a:latin typeface="Segoe UI"/>
                <a:ea typeface="Roboto" panose="02000000000000000000" pitchFamily="2" charset="0"/>
                <a:cs typeface="Arial" panose="020B0604020202020204" pitchFamily="34" charset="0"/>
              </a:rPr>
              <a:t>Defined Milestones</a:t>
            </a:r>
          </a:p>
        </p:txBody>
      </p:sp>
      <p:sp>
        <p:nvSpPr>
          <p:cNvPr id="192" name="TextBox 191">
            <a:extLst>
              <a:ext uri="{FF2B5EF4-FFF2-40B4-BE49-F238E27FC236}">
                <a16:creationId xmlns:a16="http://schemas.microsoft.com/office/drawing/2014/main" id="{818B65B7-7F3A-42EB-AB53-CBBADF716552}"/>
              </a:ext>
            </a:extLst>
          </p:cNvPr>
          <p:cNvSpPr txBox="1"/>
          <p:nvPr/>
        </p:nvSpPr>
        <p:spPr>
          <a:xfrm>
            <a:off x="9561907" y="4258851"/>
            <a:ext cx="825322" cy="194669"/>
          </a:xfrm>
          <a:prstGeom prst="rect">
            <a:avLst/>
          </a:prstGeom>
          <a:noFill/>
        </p:spPr>
        <p:txBody>
          <a:bodyPr wrap="square" rtlCol="0">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7030A0"/>
                </a:solidFill>
                <a:effectLst/>
                <a:uLnTx/>
                <a:uFillTx/>
                <a:latin typeface="Segoe UI"/>
                <a:ea typeface="+mn-ea"/>
                <a:cs typeface="+mn-cs"/>
              </a:rPr>
              <a:t>Cloud Factory</a:t>
            </a:r>
          </a:p>
        </p:txBody>
      </p:sp>
      <p:sp>
        <p:nvSpPr>
          <p:cNvPr id="193" name="cloud" title="Icon of a cloud">
            <a:extLst>
              <a:ext uri="{FF2B5EF4-FFF2-40B4-BE49-F238E27FC236}">
                <a16:creationId xmlns:a16="http://schemas.microsoft.com/office/drawing/2014/main" id="{06FB97F8-CB26-4374-9130-B75860B93BD8}"/>
              </a:ext>
            </a:extLst>
          </p:cNvPr>
          <p:cNvSpPr>
            <a:spLocks noChangeAspect="1"/>
          </p:cNvSpPr>
          <p:nvPr/>
        </p:nvSpPr>
        <p:spPr bwMode="auto">
          <a:xfrm>
            <a:off x="9252608" y="4256247"/>
            <a:ext cx="298848" cy="19039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4" name="TextBox 193">
            <a:extLst>
              <a:ext uri="{FF2B5EF4-FFF2-40B4-BE49-F238E27FC236}">
                <a16:creationId xmlns:a16="http://schemas.microsoft.com/office/drawing/2014/main" id="{ED0C8B1F-0689-4A0E-9AE5-07E3587C469A}"/>
              </a:ext>
            </a:extLst>
          </p:cNvPr>
          <p:cNvSpPr txBox="1"/>
          <p:nvPr/>
        </p:nvSpPr>
        <p:spPr>
          <a:xfrm>
            <a:off x="3485726" y="4076543"/>
            <a:ext cx="1134101"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FF0000"/>
                </a:solidFill>
                <a:effectLst/>
                <a:uLnTx/>
                <a:uFillTx/>
                <a:latin typeface="Segoe UI"/>
                <a:ea typeface="+mn-ea"/>
                <a:cs typeface="+mn-cs"/>
              </a:rPr>
              <a:t>VT: Modern Data Warehouse</a:t>
            </a:r>
            <a:endParaRPr kumimoji="0" lang="en-US" sz="700" b="0" i="0" u="none" strike="noStrike" kern="0" cap="none" spc="0" normalizeH="0" baseline="0" noProof="0">
              <a:ln>
                <a:noFill/>
              </a:ln>
              <a:solidFill>
                <a:srgbClr val="FF0000"/>
              </a:solidFill>
              <a:effectLst/>
              <a:uLnTx/>
              <a:uFillTx/>
              <a:latin typeface="Segoe UI"/>
              <a:ea typeface="+mn-ea"/>
              <a:cs typeface="+mn-cs"/>
            </a:endParaRPr>
          </a:p>
        </p:txBody>
      </p:sp>
      <p:pic>
        <p:nvPicPr>
          <p:cNvPr id="195" name="Graphic 194" descr="Teacher">
            <a:extLst>
              <a:ext uri="{FF2B5EF4-FFF2-40B4-BE49-F238E27FC236}">
                <a16:creationId xmlns:a16="http://schemas.microsoft.com/office/drawing/2014/main" id="{84DFFB12-AEAE-4E1F-AF2D-BD55E1E6600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80784" y="4057881"/>
            <a:ext cx="296315" cy="296315"/>
          </a:xfrm>
          <a:prstGeom prst="rect">
            <a:avLst/>
          </a:prstGeom>
        </p:spPr>
      </p:pic>
      <p:sp>
        <p:nvSpPr>
          <p:cNvPr id="196" name="TextBox 62">
            <a:extLst>
              <a:ext uri="{FF2B5EF4-FFF2-40B4-BE49-F238E27FC236}">
                <a16:creationId xmlns:a16="http://schemas.microsoft.com/office/drawing/2014/main" id="{46BC8F61-316C-40DA-B176-C1A6E1C73A7B}"/>
              </a:ext>
            </a:extLst>
          </p:cNvPr>
          <p:cNvSpPr txBox="1"/>
          <p:nvPr/>
        </p:nvSpPr>
        <p:spPr>
          <a:xfrm>
            <a:off x="3485731" y="2907835"/>
            <a:ext cx="1134101"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FF0000"/>
                </a:solidFill>
                <a:effectLst/>
                <a:uLnTx/>
                <a:uFillTx/>
                <a:latin typeface="Segoe UI"/>
                <a:ea typeface="+mn-ea"/>
                <a:cs typeface="+mn-cs"/>
              </a:rPr>
              <a:t>VT: Modernizing Web Applications and Data </a:t>
            </a:r>
            <a:endParaRPr kumimoji="0" lang="en-US" sz="700" b="0" i="0" u="none" strike="noStrike" kern="0" cap="none" spc="0" normalizeH="0" baseline="0" noProof="0">
              <a:ln>
                <a:noFill/>
              </a:ln>
              <a:solidFill>
                <a:srgbClr val="FF0000"/>
              </a:solidFill>
              <a:effectLst/>
              <a:uLnTx/>
              <a:uFillTx/>
              <a:latin typeface="Segoe UI"/>
              <a:ea typeface="+mn-ea"/>
              <a:cs typeface="+mn-cs"/>
            </a:endParaRPr>
          </a:p>
        </p:txBody>
      </p:sp>
      <p:pic>
        <p:nvPicPr>
          <p:cNvPr id="197" name="Graphic 69" descr="Teacher">
            <a:extLst>
              <a:ext uri="{FF2B5EF4-FFF2-40B4-BE49-F238E27FC236}">
                <a16:creationId xmlns:a16="http://schemas.microsoft.com/office/drawing/2014/main" id="{CB516EB0-4954-4614-8944-327CB1F979C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97456" y="2894739"/>
            <a:ext cx="296315" cy="296315"/>
          </a:xfrm>
          <a:prstGeom prst="rect">
            <a:avLst/>
          </a:prstGeom>
        </p:spPr>
      </p:pic>
      <p:sp>
        <p:nvSpPr>
          <p:cNvPr id="198" name="TextBox 42">
            <a:extLst>
              <a:ext uri="{FF2B5EF4-FFF2-40B4-BE49-F238E27FC236}">
                <a16:creationId xmlns:a16="http://schemas.microsoft.com/office/drawing/2014/main" id="{6E4571CD-14A9-4951-A8BD-39683F7A457B}"/>
              </a:ext>
            </a:extLst>
          </p:cNvPr>
          <p:cNvSpPr txBox="1"/>
          <p:nvPr/>
        </p:nvSpPr>
        <p:spPr>
          <a:xfrm>
            <a:off x="7844689" y="3061195"/>
            <a:ext cx="992979"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pl-PL" sz="700" b="1" i="0" u="none" strike="noStrike" kern="0" cap="none" spc="0" normalizeH="0" baseline="0" noProof="0">
                <a:ln>
                  <a:noFill/>
                </a:ln>
                <a:solidFill>
                  <a:srgbClr val="243A5E"/>
                </a:solidFill>
                <a:effectLst/>
                <a:uLnTx/>
                <a:uFillTx/>
                <a:latin typeface="Segoe UI"/>
                <a:ea typeface="+mn-ea"/>
                <a:cs typeface="+mn-cs"/>
              </a:rPr>
              <a:t>AMP for .NET Apps</a:t>
            </a:r>
            <a:br>
              <a:rPr kumimoji="0" lang="pl-PL" sz="700" b="1" i="0" u="none" strike="noStrike" kern="0" cap="none" spc="0" normalizeH="0" baseline="0" noProof="0">
                <a:ln>
                  <a:noFill/>
                </a:ln>
                <a:solidFill>
                  <a:srgbClr val="243A5E"/>
                </a:solidFill>
                <a:effectLst/>
                <a:uLnTx/>
                <a:uFillTx/>
                <a:latin typeface="Segoe UI"/>
                <a:ea typeface="+mn-ea"/>
                <a:cs typeface="+mn-cs"/>
              </a:rPr>
            </a:br>
            <a:r>
              <a:rPr kumimoji="0" lang="pl-PL" sz="700" b="0" i="0" u="none" strike="noStrike" kern="0" cap="none" spc="0" normalizeH="0" baseline="0" noProof="0">
                <a:ln>
                  <a:noFill/>
                </a:ln>
                <a:solidFill>
                  <a:srgbClr val="243A5E"/>
                </a:solidFill>
                <a:effectLst/>
                <a:uLnTx/>
                <a:uFillTx/>
                <a:latin typeface="Segoe UI"/>
                <a:ea typeface="+mn-ea"/>
                <a:cs typeface="+mn-cs"/>
              </a:rPr>
              <a:t>(coming soon)</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pic>
        <p:nvPicPr>
          <p:cNvPr id="199" name="Grafika 32" descr="Koła zębate">
            <a:extLst>
              <a:ext uri="{FF2B5EF4-FFF2-40B4-BE49-F238E27FC236}">
                <a16:creationId xmlns:a16="http://schemas.microsoft.com/office/drawing/2014/main" id="{118BF71E-2FA6-4914-B4BD-0F5B96C4A9B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36147" y="3035276"/>
            <a:ext cx="317266" cy="317266"/>
          </a:xfrm>
          <a:prstGeom prst="rect">
            <a:avLst/>
          </a:prstGeom>
        </p:spPr>
      </p:pic>
      <p:grpSp>
        <p:nvGrpSpPr>
          <p:cNvPr id="200" name="Group 199">
            <a:extLst>
              <a:ext uri="{FF2B5EF4-FFF2-40B4-BE49-F238E27FC236}">
                <a16:creationId xmlns:a16="http://schemas.microsoft.com/office/drawing/2014/main" id="{28701BE8-8157-4073-BB91-7B617864A066}"/>
              </a:ext>
            </a:extLst>
          </p:cNvPr>
          <p:cNvGrpSpPr/>
          <p:nvPr/>
        </p:nvGrpSpPr>
        <p:grpSpPr>
          <a:xfrm>
            <a:off x="8673979" y="2935593"/>
            <a:ext cx="825322" cy="2492378"/>
            <a:chOff x="10517721" y="2663055"/>
            <a:chExt cx="825322" cy="2492378"/>
          </a:xfrm>
        </p:grpSpPr>
        <p:sp>
          <p:nvSpPr>
            <p:cNvPr id="201" name="Rectangle 200">
              <a:extLst>
                <a:ext uri="{FF2B5EF4-FFF2-40B4-BE49-F238E27FC236}">
                  <a16:creationId xmlns:a16="http://schemas.microsoft.com/office/drawing/2014/main" id="{4276FFD8-688B-4609-B5CF-581CB38D7D07}"/>
                </a:ext>
              </a:extLst>
            </p:cNvPr>
            <p:cNvSpPr/>
            <p:nvPr/>
          </p:nvSpPr>
          <p:spPr bwMode="auto">
            <a:xfrm>
              <a:off x="10597632" y="2663055"/>
              <a:ext cx="447818" cy="2492378"/>
            </a:xfrm>
            <a:prstGeom prst="rect">
              <a:avLst/>
            </a:prstGeom>
            <a:solidFill>
              <a:srgbClr val="0078D4">
                <a:alpha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TextBox 36">
              <a:extLst>
                <a:ext uri="{FF2B5EF4-FFF2-40B4-BE49-F238E27FC236}">
                  <a16:creationId xmlns:a16="http://schemas.microsoft.com/office/drawing/2014/main" id="{814E8F04-F8B8-41FE-9E3E-524A487E81F4}"/>
                </a:ext>
              </a:extLst>
            </p:cNvPr>
            <p:cNvSpPr txBox="1"/>
            <p:nvPr/>
          </p:nvSpPr>
          <p:spPr>
            <a:xfrm>
              <a:off x="10517721" y="3596300"/>
              <a:ext cx="825322" cy="194669"/>
            </a:xfrm>
            <a:prstGeom prst="rect">
              <a:avLst/>
            </a:prstGeom>
            <a:noFill/>
          </p:spPr>
          <p:txBody>
            <a:bodyPr wrap="square" rtlCol="0">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7030A0"/>
                  </a:solidFill>
                  <a:effectLst/>
                  <a:uLnTx/>
                  <a:uFillTx/>
                  <a:latin typeface="Segoe UI"/>
                  <a:ea typeface="+mn-ea"/>
                  <a:cs typeface="+mn-cs"/>
                </a:rPr>
                <a:t>Fast Track</a:t>
              </a:r>
            </a:p>
          </p:txBody>
        </p:sp>
        <p:pic>
          <p:nvPicPr>
            <p:cNvPr id="203" name="Graphic 202" descr="Race Car">
              <a:extLst>
                <a:ext uri="{FF2B5EF4-FFF2-40B4-BE49-F238E27FC236}">
                  <a16:creationId xmlns:a16="http://schemas.microsoft.com/office/drawing/2014/main" id="{8475AD51-33C8-4C99-BFA7-D8A32DE348D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616100" y="3278692"/>
              <a:ext cx="408977" cy="408977"/>
            </a:xfrm>
            <a:prstGeom prst="rect">
              <a:avLst/>
            </a:prstGeom>
          </p:spPr>
        </p:pic>
      </p:grpSp>
      <p:sp>
        <p:nvSpPr>
          <p:cNvPr id="204" name="TextBox 203">
            <a:extLst>
              <a:ext uri="{FF2B5EF4-FFF2-40B4-BE49-F238E27FC236}">
                <a16:creationId xmlns:a16="http://schemas.microsoft.com/office/drawing/2014/main" id="{499F08A3-5F08-4B87-B7A1-89173603C68F}"/>
              </a:ext>
            </a:extLst>
          </p:cNvPr>
          <p:cNvSpPr txBox="1"/>
          <p:nvPr/>
        </p:nvSpPr>
        <p:spPr>
          <a:xfrm>
            <a:off x="153206" y="4414709"/>
            <a:ext cx="1340258" cy="430887"/>
          </a:xfrm>
          <a:prstGeom prst="rect">
            <a:avLst/>
          </a:prstGeom>
          <a:solidFill>
            <a:srgbClr val="FFFFFF"/>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0000"/>
                </a:solidFill>
                <a:effectLst/>
                <a:uLnTx/>
                <a:uFillTx/>
                <a:latin typeface="Segoe UI"/>
                <a:ea typeface="+mn-ea"/>
                <a:cs typeface="+mn-cs"/>
              </a:rPr>
              <a:t>Red Text = Area Execu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0078D4"/>
                </a:solidFill>
                <a:effectLst/>
                <a:uLnTx/>
                <a:uFillTx/>
                <a:latin typeface="Segoe UI"/>
                <a:ea typeface="+mn-ea"/>
                <a:cs typeface="+mn-cs"/>
              </a:rPr>
              <a:t>Blue Text = Locally Execu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7030A0"/>
                </a:solidFill>
                <a:effectLst/>
                <a:uLnTx/>
                <a:uFillTx/>
                <a:latin typeface="Segoe UI"/>
                <a:ea typeface="+mn-ea"/>
                <a:cs typeface="+mn-cs"/>
              </a:rPr>
              <a:t>Purple Text = Corp Progr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1A1A1A"/>
                </a:solidFill>
                <a:effectLst/>
                <a:uLnTx/>
                <a:uFillTx/>
                <a:latin typeface="Segoe UI"/>
                <a:ea typeface="+mn-ea"/>
                <a:cs typeface="+mn-cs"/>
              </a:rPr>
              <a:t>Black Text = CEE Program</a:t>
            </a:r>
          </a:p>
        </p:txBody>
      </p:sp>
      <p:sp>
        <p:nvSpPr>
          <p:cNvPr id="205" name="Rectangle 204">
            <a:extLst>
              <a:ext uri="{FF2B5EF4-FFF2-40B4-BE49-F238E27FC236}">
                <a16:creationId xmlns:a16="http://schemas.microsoft.com/office/drawing/2014/main" id="{C50B8F6A-9EE8-40ED-B102-B13344DFE5DE}"/>
              </a:ext>
            </a:extLst>
          </p:cNvPr>
          <p:cNvSpPr/>
          <p:nvPr/>
        </p:nvSpPr>
        <p:spPr bwMode="auto">
          <a:xfrm rot="16200000">
            <a:off x="7904909" y="1630273"/>
            <a:ext cx="297004" cy="6871937"/>
          </a:xfrm>
          <a:prstGeom prst="rect">
            <a:avLst/>
          </a:prstGeom>
          <a:solidFill>
            <a:srgbClr val="50E6FF">
              <a:lumMod val="75000"/>
              <a:alpha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TextBox 36">
            <a:extLst>
              <a:ext uri="{FF2B5EF4-FFF2-40B4-BE49-F238E27FC236}">
                <a16:creationId xmlns:a16="http://schemas.microsoft.com/office/drawing/2014/main" id="{A4C9194B-273E-4488-A186-FF59A58FD251}"/>
              </a:ext>
            </a:extLst>
          </p:cNvPr>
          <p:cNvSpPr txBox="1"/>
          <p:nvPr/>
        </p:nvSpPr>
        <p:spPr>
          <a:xfrm>
            <a:off x="9718015" y="4975404"/>
            <a:ext cx="1723737" cy="194669"/>
          </a:xfrm>
          <a:prstGeom prst="rect">
            <a:avLst/>
          </a:prstGeom>
          <a:noFill/>
        </p:spPr>
        <p:txBody>
          <a:bodyPr wrap="square" rtlCol="0">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7030A0"/>
                </a:solidFill>
                <a:effectLst/>
                <a:uLnTx/>
                <a:uFillTx/>
                <a:latin typeface="Segoe UI"/>
                <a:ea typeface="+mn-ea"/>
                <a:cs typeface="+mn-cs"/>
              </a:rPr>
              <a:t>Analytics and AI Accelerate Program</a:t>
            </a:r>
          </a:p>
        </p:txBody>
      </p:sp>
      <p:pic>
        <p:nvPicPr>
          <p:cNvPr id="207" name="Graphic 206" descr="Speedometer Low">
            <a:extLst>
              <a:ext uri="{FF2B5EF4-FFF2-40B4-BE49-F238E27FC236}">
                <a16:creationId xmlns:a16="http://schemas.microsoft.com/office/drawing/2014/main" id="{B496CA99-035C-49EC-9F99-1D9B53E11FFA}"/>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36503" y="4886552"/>
            <a:ext cx="376289" cy="376289"/>
          </a:xfrm>
          <a:prstGeom prst="rect">
            <a:avLst/>
          </a:prstGeom>
        </p:spPr>
      </p:pic>
      <p:sp>
        <p:nvSpPr>
          <p:cNvPr id="208" name="Rectangle 207">
            <a:extLst>
              <a:ext uri="{FF2B5EF4-FFF2-40B4-BE49-F238E27FC236}">
                <a16:creationId xmlns:a16="http://schemas.microsoft.com/office/drawing/2014/main" id="{EA9F575F-C35D-40C6-9B91-8E41A836FDE0}"/>
              </a:ext>
            </a:extLst>
          </p:cNvPr>
          <p:cNvSpPr/>
          <p:nvPr/>
        </p:nvSpPr>
        <p:spPr bwMode="auto">
          <a:xfrm>
            <a:off x="5799203" y="2942642"/>
            <a:ext cx="447818" cy="2492378"/>
          </a:xfrm>
          <a:prstGeom prst="rect">
            <a:avLst/>
          </a:prstGeom>
          <a:solidFill>
            <a:srgbClr val="0078D4">
              <a:alpha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bank" title="Icon of a piggy bank">
            <a:extLst>
              <a:ext uri="{FF2B5EF4-FFF2-40B4-BE49-F238E27FC236}">
                <a16:creationId xmlns:a16="http://schemas.microsoft.com/office/drawing/2014/main" id="{4FD199F1-26A3-485D-85EB-5E1C3E90C117}"/>
              </a:ext>
            </a:extLst>
          </p:cNvPr>
          <p:cNvSpPr>
            <a:spLocks noChangeAspect="1" noEditPoints="1"/>
          </p:cNvSpPr>
          <p:nvPr/>
        </p:nvSpPr>
        <p:spPr bwMode="auto">
          <a:xfrm>
            <a:off x="5887862" y="3634982"/>
            <a:ext cx="245045" cy="226744"/>
          </a:xfrm>
          <a:custGeom>
            <a:avLst/>
            <a:gdLst>
              <a:gd name="T0" fmla="*/ 181 w 335"/>
              <a:gd name="T1" fmla="*/ 59 h 309"/>
              <a:gd name="T2" fmla="*/ 180 w 335"/>
              <a:gd name="T3" fmla="*/ 47 h 309"/>
              <a:gd name="T4" fmla="*/ 227 w 335"/>
              <a:gd name="T5" fmla="*/ 0 h 309"/>
              <a:gd name="T6" fmla="*/ 274 w 335"/>
              <a:gd name="T7" fmla="*/ 47 h 309"/>
              <a:gd name="T8" fmla="*/ 259 w 335"/>
              <a:gd name="T9" fmla="*/ 81 h 309"/>
              <a:gd name="T10" fmla="*/ 181 w 335"/>
              <a:gd name="T11" fmla="*/ 59 h 309"/>
              <a:gd name="T12" fmla="*/ 180 w 335"/>
              <a:gd name="T13" fmla="*/ 45 h 309"/>
              <a:gd name="T14" fmla="*/ 145 w 335"/>
              <a:gd name="T15" fmla="*/ 44 h 309"/>
              <a:gd name="T16" fmla="*/ 92 w 335"/>
              <a:gd name="T17" fmla="*/ 11 h 309"/>
              <a:gd name="T18" fmla="*/ 92 w 335"/>
              <a:gd name="T19" fmla="*/ 62 h 309"/>
              <a:gd name="T20" fmla="*/ 89 w 335"/>
              <a:gd name="T21" fmla="*/ 66 h 309"/>
              <a:gd name="T22" fmla="*/ 56 w 335"/>
              <a:gd name="T23" fmla="*/ 92 h 309"/>
              <a:gd name="T24" fmla="*/ 19 w 335"/>
              <a:gd name="T25" fmla="*/ 134 h 309"/>
              <a:gd name="T26" fmla="*/ 0 w 335"/>
              <a:gd name="T27" fmla="*/ 154 h 309"/>
              <a:gd name="T28" fmla="*/ 0 w 335"/>
              <a:gd name="T29" fmla="*/ 178 h 309"/>
              <a:gd name="T30" fmla="*/ 19 w 335"/>
              <a:gd name="T31" fmla="*/ 198 h 309"/>
              <a:gd name="T32" fmla="*/ 28 w 335"/>
              <a:gd name="T33" fmla="*/ 198 h 309"/>
              <a:gd name="T34" fmla="*/ 89 w 335"/>
              <a:gd name="T35" fmla="*/ 264 h 309"/>
              <a:gd name="T36" fmla="*/ 89 w 335"/>
              <a:gd name="T37" fmla="*/ 289 h 309"/>
              <a:gd name="T38" fmla="*/ 108 w 335"/>
              <a:gd name="T39" fmla="*/ 309 h 309"/>
              <a:gd name="T40" fmla="*/ 133 w 335"/>
              <a:gd name="T41" fmla="*/ 309 h 309"/>
              <a:gd name="T42" fmla="*/ 152 w 335"/>
              <a:gd name="T43" fmla="*/ 289 h 309"/>
              <a:gd name="T44" fmla="*/ 226 w 335"/>
              <a:gd name="T45" fmla="*/ 289 h 309"/>
              <a:gd name="T46" fmla="*/ 245 w 335"/>
              <a:gd name="T47" fmla="*/ 309 h 309"/>
              <a:gd name="T48" fmla="*/ 270 w 335"/>
              <a:gd name="T49" fmla="*/ 309 h 309"/>
              <a:gd name="T50" fmla="*/ 289 w 335"/>
              <a:gd name="T51" fmla="*/ 289 h 309"/>
              <a:gd name="T52" fmla="*/ 289 w 335"/>
              <a:gd name="T53" fmla="*/ 251 h 309"/>
              <a:gd name="T54" fmla="*/ 335 w 335"/>
              <a:gd name="T55" fmla="*/ 167 h 309"/>
              <a:gd name="T56" fmla="*/ 268 w 335"/>
              <a:gd name="T57" fmla="*/ 70 h 309"/>
              <a:gd name="T58" fmla="*/ 89 w 335"/>
              <a:gd name="T59" fmla="*/ 137 h 309"/>
              <a:gd name="T60" fmla="*/ 94 w 335"/>
              <a:gd name="T61" fmla="*/ 132 h 309"/>
              <a:gd name="T62" fmla="*/ 89 w 335"/>
              <a:gd name="T63" fmla="*/ 127 h 309"/>
              <a:gd name="T64" fmla="*/ 84 w 335"/>
              <a:gd name="T65" fmla="*/ 132 h 309"/>
              <a:gd name="T66" fmla="*/ 89 w 335"/>
              <a:gd name="T67" fmla="*/ 13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5" h="309">
                <a:moveTo>
                  <a:pt x="181" y="59"/>
                </a:moveTo>
                <a:cubicBezTo>
                  <a:pt x="180" y="55"/>
                  <a:pt x="180" y="51"/>
                  <a:pt x="180" y="47"/>
                </a:cubicBezTo>
                <a:cubicBezTo>
                  <a:pt x="180" y="21"/>
                  <a:pt x="201" y="0"/>
                  <a:pt x="227" y="0"/>
                </a:cubicBezTo>
                <a:cubicBezTo>
                  <a:pt x="253" y="0"/>
                  <a:pt x="274" y="21"/>
                  <a:pt x="274" y="47"/>
                </a:cubicBezTo>
                <a:cubicBezTo>
                  <a:pt x="274" y="60"/>
                  <a:pt x="268" y="73"/>
                  <a:pt x="259" y="81"/>
                </a:cubicBezTo>
                <a:lnTo>
                  <a:pt x="181" y="59"/>
                </a:lnTo>
                <a:close/>
                <a:moveTo>
                  <a:pt x="180" y="45"/>
                </a:moveTo>
                <a:cubicBezTo>
                  <a:pt x="145" y="44"/>
                  <a:pt x="145" y="44"/>
                  <a:pt x="145" y="44"/>
                </a:cubicBezTo>
                <a:cubicBezTo>
                  <a:pt x="92" y="11"/>
                  <a:pt x="92" y="11"/>
                  <a:pt x="92" y="11"/>
                </a:cubicBezTo>
                <a:cubicBezTo>
                  <a:pt x="92" y="62"/>
                  <a:pt x="92" y="62"/>
                  <a:pt x="92" y="62"/>
                </a:cubicBezTo>
                <a:cubicBezTo>
                  <a:pt x="92" y="64"/>
                  <a:pt x="91" y="66"/>
                  <a:pt x="89" y="66"/>
                </a:cubicBezTo>
                <a:cubicBezTo>
                  <a:pt x="85" y="68"/>
                  <a:pt x="76" y="74"/>
                  <a:pt x="56" y="92"/>
                </a:cubicBezTo>
                <a:cubicBezTo>
                  <a:pt x="24" y="120"/>
                  <a:pt x="19" y="134"/>
                  <a:pt x="19" y="134"/>
                </a:cubicBezTo>
                <a:cubicBezTo>
                  <a:pt x="8" y="134"/>
                  <a:pt x="0" y="143"/>
                  <a:pt x="0" y="154"/>
                </a:cubicBezTo>
                <a:cubicBezTo>
                  <a:pt x="0" y="178"/>
                  <a:pt x="0" y="178"/>
                  <a:pt x="0" y="178"/>
                </a:cubicBezTo>
                <a:cubicBezTo>
                  <a:pt x="0" y="189"/>
                  <a:pt x="8" y="198"/>
                  <a:pt x="19" y="198"/>
                </a:cubicBezTo>
                <a:cubicBezTo>
                  <a:pt x="28" y="198"/>
                  <a:pt x="28" y="198"/>
                  <a:pt x="28" y="198"/>
                </a:cubicBezTo>
                <a:cubicBezTo>
                  <a:pt x="28" y="237"/>
                  <a:pt x="62" y="264"/>
                  <a:pt x="89" y="264"/>
                </a:cubicBezTo>
                <a:cubicBezTo>
                  <a:pt x="89" y="289"/>
                  <a:pt x="89" y="289"/>
                  <a:pt x="89" y="289"/>
                </a:cubicBezTo>
                <a:cubicBezTo>
                  <a:pt x="89" y="300"/>
                  <a:pt x="98" y="309"/>
                  <a:pt x="108" y="309"/>
                </a:cubicBezTo>
                <a:cubicBezTo>
                  <a:pt x="133" y="309"/>
                  <a:pt x="133" y="309"/>
                  <a:pt x="133" y="309"/>
                </a:cubicBezTo>
                <a:cubicBezTo>
                  <a:pt x="144" y="309"/>
                  <a:pt x="152" y="300"/>
                  <a:pt x="152" y="289"/>
                </a:cubicBezTo>
                <a:cubicBezTo>
                  <a:pt x="226" y="289"/>
                  <a:pt x="226" y="289"/>
                  <a:pt x="226" y="289"/>
                </a:cubicBezTo>
                <a:cubicBezTo>
                  <a:pt x="226" y="300"/>
                  <a:pt x="235" y="309"/>
                  <a:pt x="245" y="309"/>
                </a:cubicBezTo>
                <a:cubicBezTo>
                  <a:pt x="270" y="309"/>
                  <a:pt x="270" y="309"/>
                  <a:pt x="270" y="309"/>
                </a:cubicBezTo>
                <a:cubicBezTo>
                  <a:pt x="281" y="309"/>
                  <a:pt x="289" y="300"/>
                  <a:pt x="289" y="289"/>
                </a:cubicBezTo>
                <a:cubicBezTo>
                  <a:pt x="289" y="251"/>
                  <a:pt x="289" y="251"/>
                  <a:pt x="289" y="251"/>
                </a:cubicBezTo>
                <a:cubicBezTo>
                  <a:pt x="317" y="233"/>
                  <a:pt x="335" y="202"/>
                  <a:pt x="335" y="167"/>
                </a:cubicBezTo>
                <a:cubicBezTo>
                  <a:pt x="335" y="123"/>
                  <a:pt x="306" y="85"/>
                  <a:pt x="268" y="70"/>
                </a:cubicBezTo>
                <a:moveTo>
                  <a:pt x="89" y="137"/>
                </a:moveTo>
                <a:cubicBezTo>
                  <a:pt x="92" y="137"/>
                  <a:pt x="94" y="135"/>
                  <a:pt x="94" y="132"/>
                </a:cubicBezTo>
                <a:cubicBezTo>
                  <a:pt x="94" y="129"/>
                  <a:pt x="92" y="127"/>
                  <a:pt x="89" y="127"/>
                </a:cubicBezTo>
                <a:cubicBezTo>
                  <a:pt x="86" y="127"/>
                  <a:pt x="84" y="129"/>
                  <a:pt x="84" y="132"/>
                </a:cubicBezTo>
                <a:cubicBezTo>
                  <a:pt x="84" y="135"/>
                  <a:pt x="86" y="137"/>
                  <a:pt x="89" y="137"/>
                </a:cubicBezTo>
                <a:close/>
              </a:path>
            </a:pathLst>
          </a:custGeom>
          <a:noFill/>
          <a:ln w="15875" cap="sq">
            <a:solidFill>
              <a:srgbClr val="1A1A1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a:ea typeface="+mn-ea"/>
              <a:cs typeface="+mn-cs"/>
            </a:endParaRPr>
          </a:p>
        </p:txBody>
      </p:sp>
      <p:sp>
        <p:nvSpPr>
          <p:cNvPr id="210" name="TextBox 209">
            <a:extLst>
              <a:ext uri="{FF2B5EF4-FFF2-40B4-BE49-F238E27FC236}">
                <a16:creationId xmlns:a16="http://schemas.microsoft.com/office/drawing/2014/main" id="{D8D359D9-6298-48BF-B5ED-23B1800CF7E3}"/>
              </a:ext>
            </a:extLst>
          </p:cNvPr>
          <p:cNvSpPr txBox="1"/>
          <p:nvPr/>
        </p:nvSpPr>
        <p:spPr>
          <a:xfrm>
            <a:off x="5624296" y="3880128"/>
            <a:ext cx="799310" cy="399340"/>
          </a:xfrm>
          <a:prstGeom prst="rect">
            <a:avLst/>
          </a:prstGeom>
          <a:noFill/>
        </p:spPr>
        <p:txBody>
          <a:bodyPr wrap="square" rtlCol="0">
            <a:spAutoFit/>
          </a:bodyPr>
          <a:lstStyle/>
          <a:p>
            <a:pPr marL="0" marR="0" lvl="0" indent="0" algn="ctr"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1A1A1A"/>
                </a:solidFill>
                <a:effectLst/>
                <a:uLnTx/>
                <a:uFillTx/>
                <a:latin typeface="Segoe UI"/>
                <a:ea typeface="+mn-ea"/>
                <a:cs typeface="+mn-cs"/>
              </a:rPr>
              <a:t>CEE </a:t>
            </a:r>
            <a:br>
              <a:rPr kumimoji="0" lang="en-US" sz="700" b="1" i="0" u="none" strike="noStrike" kern="0" cap="none" spc="0" normalizeH="0" baseline="0" noProof="0">
                <a:ln>
                  <a:noFill/>
                </a:ln>
                <a:solidFill>
                  <a:srgbClr val="1A1A1A"/>
                </a:solidFill>
                <a:effectLst/>
                <a:uLnTx/>
                <a:uFillTx/>
                <a:latin typeface="Segoe UI"/>
                <a:ea typeface="+mn-ea"/>
                <a:cs typeface="+mn-cs"/>
              </a:rPr>
            </a:br>
            <a:r>
              <a:rPr kumimoji="0" lang="en-US" sz="700" b="1" i="0" u="none" strike="noStrike" kern="0" cap="none" spc="0" normalizeH="0" baseline="0" noProof="0">
                <a:ln>
                  <a:noFill/>
                </a:ln>
                <a:solidFill>
                  <a:srgbClr val="1A1A1A"/>
                </a:solidFill>
                <a:effectLst/>
                <a:uLnTx/>
                <a:uFillTx/>
                <a:latin typeface="Segoe UI"/>
                <a:ea typeface="+mn-ea"/>
                <a:cs typeface="+mn-cs"/>
              </a:rPr>
              <a:t>ECIF</a:t>
            </a:r>
            <a:br>
              <a:rPr kumimoji="0" lang="en-US" sz="700" b="1" i="0" u="none" strike="noStrike" kern="0" cap="none" spc="0" normalizeH="0" baseline="0" noProof="0">
                <a:ln>
                  <a:noFill/>
                </a:ln>
                <a:solidFill>
                  <a:srgbClr val="1A1A1A"/>
                </a:solidFill>
                <a:effectLst/>
                <a:uLnTx/>
                <a:uFillTx/>
                <a:latin typeface="Segoe UI"/>
                <a:ea typeface="+mn-ea"/>
                <a:cs typeface="+mn-cs"/>
              </a:rPr>
            </a:br>
            <a:r>
              <a:rPr kumimoji="0" lang="en-US" sz="700" b="1" i="0" u="none" strike="noStrike" kern="0" cap="none" spc="0" normalizeH="0" baseline="0" noProof="0">
                <a:ln>
                  <a:noFill/>
                </a:ln>
                <a:solidFill>
                  <a:srgbClr val="1A1A1A"/>
                </a:solidFill>
                <a:effectLst/>
                <a:uLnTx/>
                <a:uFillTx/>
                <a:latin typeface="Segoe UI"/>
                <a:ea typeface="+mn-ea"/>
                <a:cs typeface="+mn-cs"/>
              </a:rPr>
              <a:t>Funds</a:t>
            </a:r>
          </a:p>
        </p:txBody>
      </p:sp>
      <p:sp>
        <p:nvSpPr>
          <p:cNvPr id="211" name="TextBox 210">
            <a:extLst>
              <a:ext uri="{FF2B5EF4-FFF2-40B4-BE49-F238E27FC236}">
                <a16:creationId xmlns:a16="http://schemas.microsoft.com/office/drawing/2014/main" id="{7679AB62-53CB-48BB-B0E0-9B4F00BAEF74}"/>
              </a:ext>
            </a:extLst>
          </p:cNvPr>
          <p:cNvSpPr txBox="1"/>
          <p:nvPr/>
        </p:nvSpPr>
        <p:spPr>
          <a:xfrm>
            <a:off x="3504704" y="4334274"/>
            <a:ext cx="1134101" cy="808683"/>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FF0000"/>
                </a:solidFill>
                <a:effectLst/>
                <a:uLnTx/>
                <a:uFillTx/>
                <a:latin typeface="Segoe UI"/>
                <a:ea typeface="+mn-ea"/>
                <a:cs typeface="+mn-cs"/>
              </a:rPr>
              <a:t>Azure Training Days</a:t>
            </a:r>
            <a:br>
              <a:rPr kumimoji="0" lang="en-US" sz="700" b="1" i="0" u="none" strike="noStrike" kern="0" cap="none" spc="0" normalizeH="0" baseline="0" noProof="0">
                <a:ln>
                  <a:noFill/>
                </a:ln>
                <a:solidFill>
                  <a:srgbClr val="FF0000"/>
                </a:solidFill>
                <a:effectLst/>
                <a:uLnTx/>
                <a:uFillTx/>
                <a:latin typeface="Segoe UI"/>
                <a:ea typeface="+mn-ea"/>
                <a:cs typeface="+mn-cs"/>
              </a:rPr>
            </a:br>
            <a:r>
              <a:rPr kumimoji="0" lang="en-US" sz="700" b="1" i="0" u="none" strike="noStrike" kern="0" cap="none" spc="0" normalizeH="0" baseline="0" noProof="0">
                <a:ln>
                  <a:noFill/>
                </a:ln>
                <a:solidFill>
                  <a:srgbClr val="FF0000"/>
                </a:solidFill>
                <a:effectLst/>
                <a:uLnTx/>
                <a:uFillTx/>
                <a:latin typeface="Segoe UI"/>
                <a:ea typeface="+mn-ea"/>
                <a:cs typeface="+mn-cs"/>
              </a:rPr>
              <a:t>Modernizing Web Applications Data</a:t>
            </a:r>
            <a:br>
              <a:rPr kumimoji="0" lang="en-US" sz="700" b="1" i="0" u="none" strike="noStrike" kern="0" cap="none" spc="0" normalizeH="0" baseline="0" noProof="0">
                <a:ln>
                  <a:noFill/>
                </a:ln>
                <a:solidFill>
                  <a:srgbClr val="FF0000"/>
                </a:solidFill>
                <a:effectLst/>
                <a:uLnTx/>
                <a:uFillTx/>
                <a:latin typeface="Segoe UI"/>
                <a:ea typeface="+mn-ea"/>
                <a:cs typeface="+mn-cs"/>
              </a:rPr>
            </a:br>
            <a:r>
              <a:rPr kumimoji="0" lang="en-US" sz="700" b="1" i="0" u="none" strike="noStrike" kern="0" cap="none" spc="0" normalizeH="0" baseline="0" noProof="0">
                <a:ln>
                  <a:noFill/>
                </a:ln>
                <a:solidFill>
                  <a:srgbClr val="FF0000"/>
                </a:solidFill>
                <a:effectLst/>
                <a:uLnTx/>
                <a:uFillTx/>
                <a:latin typeface="Segoe UI"/>
                <a:ea typeface="+mn-ea"/>
                <a:cs typeface="+mn-cs"/>
              </a:rPr>
              <a:t>Intelligent Decision Making Through Modern Data Warehousing</a:t>
            </a:r>
            <a:endParaRPr kumimoji="0" lang="en-US" sz="700" b="0" i="0" u="none" strike="noStrike" kern="0" cap="none" spc="0" normalizeH="0" baseline="0" noProof="0">
              <a:ln>
                <a:noFill/>
              </a:ln>
              <a:solidFill>
                <a:srgbClr val="FF0000"/>
              </a:solidFill>
              <a:effectLst/>
              <a:uLnTx/>
              <a:uFillTx/>
              <a:latin typeface="Segoe UI"/>
              <a:ea typeface="+mn-ea"/>
              <a:cs typeface="+mn-cs"/>
            </a:endParaRPr>
          </a:p>
        </p:txBody>
      </p:sp>
      <p:pic>
        <p:nvPicPr>
          <p:cNvPr id="212" name="Graphic 211" descr="Internet">
            <a:extLst>
              <a:ext uri="{FF2B5EF4-FFF2-40B4-BE49-F238E27FC236}">
                <a16:creationId xmlns:a16="http://schemas.microsoft.com/office/drawing/2014/main" id="{827D6EA8-999A-40E6-946B-07002BA237E4}"/>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167545" y="4526537"/>
            <a:ext cx="319907" cy="319907"/>
          </a:xfrm>
          <a:prstGeom prst="rect">
            <a:avLst/>
          </a:prstGeom>
        </p:spPr>
      </p:pic>
      <p:pic>
        <p:nvPicPr>
          <p:cNvPr id="213" name="Graphic 212" descr="Internet">
            <a:extLst>
              <a:ext uri="{FF2B5EF4-FFF2-40B4-BE49-F238E27FC236}">
                <a16:creationId xmlns:a16="http://schemas.microsoft.com/office/drawing/2014/main" id="{62D60CD0-2AA6-4D52-A6DF-CFA3EC1E173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177845" y="5049456"/>
            <a:ext cx="319907" cy="319907"/>
          </a:xfrm>
          <a:prstGeom prst="rect">
            <a:avLst/>
          </a:prstGeom>
        </p:spPr>
      </p:pic>
      <p:sp>
        <p:nvSpPr>
          <p:cNvPr id="214" name="TextBox 213">
            <a:extLst>
              <a:ext uri="{FF2B5EF4-FFF2-40B4-BE49-F238E27FC236}">
                <a16:creationId xmlns:a16="http://schemas.microsoft.com/office/drawing/2014/main" id="{96B9915F-1A1D-42FC-ACB6-0F4BF35CC077}"/>
              </a:ext>
            </a:extLst>
          </p:cNvPr>
          <p:cNvSpPr txBox="1"/>
          <p:nvPr/>
        </p:nvSpPr>
        <p:spPr>
          <a:xfrm>
            <a:off x="3485731" y="3611333"/>
            <a:ext cx="1134101" cy="194669"/>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FF0000"/>
                </a:solidFill>
                <a:effectLst/>
                <a:uLnTx/>
                <a:uFillTx/>
                <a:latin typeface="Segoe UI"/>
                <a:ea typeface="+mn-ea"/>
                <a:cs typeface="+mn-cs"/>
              </a:rPr>
              <a:t>Digital Campaign</a:t>
            </a:r>
            <a:endParaRPr kumimoji="0" lang="en-US" sz="700" b="0" i="0" u="none" strike="noStrike" kern="0" cap="none" spc="0" normalizeH="0" baseline="0" noProof="0">
              <a:ln>
                <a:noFill/>
              </a:ln>
              <a:solidFill>
                <a:srgbClr val="FF0000"/>
              </a:solidFill>
              <a:effectLst/>
              <a:uLnTx/>
              <a:uFillTx/>
              <a:latin typeface="Segoe UI"/>
              <a:ea typeface="+mn-ea"/>
              <a:cs typeface="+mn-cs"/>
            </a:endParaRPr>
          </a:p>
        </p:txBody>
      </p:sp>
      <p:pic>
        <p:nvPicPr>
          <p:cNvPr id="215" name="Graphic 214" descr="Internet">
            <a:extLst>
              <a:ext uri="{FF2B5EF4-FFF2-40B4-BE49-F238E27FC236}">
                <a16:creationId xmlns:a16="http://schemas.microsoft.com/office/drawing/2014/main" id="{AF371FFE-AAFF-440E-B340-14B1AD07E2D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185660" y="3543149"/>
            <a:ext cx="319907" cy="319907"/>
          </a:xfrm>
          <a:prstGeom prst="rect">
            <a:avLst/>
          </a:prstGeom>
        </p:spPr>
      </p:pic>
      <p:sp>
        <p:nvSpPr>
          <p:cNvPr id="216" name="TextBox 215">
            <a:extLst>
              <a:ext uri="{FF2B5EF4-FFF2-40B4-BE49-F238E27FC236}">
                <a16:creationId xmlns:a16="http://schemas.microsoft.com/office/drawing/2014/main" id="{A9D55105-D94E-4803-9017-058F30AB944D}"/>
              </a:ext>
            </a:extLst>
          </p:cNvPr>
          <p:cNvSpPr txBox="1"/>
          <p:nvPr/>
        </p:nvSpPr>
        <p:spPr>
          <a:xfrm>
            <a:off x="4631843" y="3877638"/>
            <a:ext cx="621695"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4"/>
                </a:solidFill>
                <a:effectLst>
                  <a:outerShdw blurRad="38100" dist="38100" dir="2700000" algn="tl">
                    <a:srgbClr val="000000">
                      <a:alpha val="43137"/>
                    </a:srgbClr>
                  </a:outerShdw>
                </a:effectLst>
                <a:uLnTx/>
                <a:uFillTx/>
                <a:latin typeface="Segoe UI"/>
                <a:ea typeface="+mn-ea"/>
                <a:cs typeface="+mn-cs"/>
              </a:rPr>
              <a:t>GBB</a:t>
            </a:r>
          </a:p>
        </p:txBody>
      </p:sp>
      <p:sp>
        <p:nvSpPr>
          <p:cNvPr id="217" name="TextBox 1">
            <a:extLst>
              <a:ext uri="{FF2B5EF4-FFF2-40B4-BE49-F238E27FC236}">
                <a16:creationId xmlns:a16="http://schemas.microsoft.com/office/drawing/2014/main" id="{1EA2EBDC-AE2D-4DC7-B6B2-B6DDB6289673}"/>
              </a:ext>
            </a:extLst>
          </p:cNvPr>
          <p:cNvSpPr txBox="1"/>
          <p:nvPr/>
        </p:nvSpPr>
        <p:spPr>
          <a:xfrm>
            <a:off x="4888409" y="3842383"/>
            <a:ext cx="1134101"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243A5E"/>
                </a:solidFill>
                <a:effectLst/>
                <a:uLnTx/>
                <a:uFillTx/>
                <a:latin typeface="Segoe UI"/>
                <a:ea typeface="+mn-ea"/>
                <a:cs typeface="+mn-cs"/>
              </a:rPr>
              <a:t>GBB  CosmosDB WKSHP (PL/CZSK)</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sp>
        <p:nvSpPr>
          <p:cNvPr id="218" name="TextBox 217">
            <a:extLst>
              <a:ext uri="{FF2B5EF4-FFF2-40B4-BE49-F238E27FC236}">
                <a16:creationId xmlns:a16="http://schemas.microsoft.com/office/drawing/2014/main" id="{1CE307F4-459A-482D-BD29-8179F88714DE}"/>
              </a:ext>
            </a:extLst>
          </p:cNvPr>
          <p:cNvSpPr txBox="1"/>
          <p:nvPr/>
        </p:nvSpPr>
        <p:spPr>
          <a:xfrm>
            <a:off x="3495380" y="5080733"/>
            <a:ext cx="1134101"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FF0000"/>
                </a:solidFill>
                <a:effectLst/>
                <a:uLnTx/>
                <a:uFillTx/>
                <a:latin typeface="Segoe UI"/>
                <a:ea typeface="+mn-ea"/>
                <a:cs typeface="+mn-cs"/>
              </a:rPr>
              <a:t>Online Synapse Event (Sept &amp; Feb)</a:t>
            </a:r>
            <a:endParaRPr kumimoji="0" lang="en-US" sz="700" b="0" i="0" u="none" strike="noStrike" kern="0" cap="none" spc="0" normalizeH="0" baseline="0" noProof="0">
              <a:ln>
                <a:noFill/>
              </a:ln>
              <a:solidFill>
                <a:srgbClr val="FF0000"/>
              </a:solidFill>
              <a:effectLst/>
              <a:uLnTx/>
              <a:uFillTx/>
              <a:latin typeface="Segoe UI"/>
              <a:ea typeface="+mn-ea"/>
              <a:cs typeface="+mn-cs"/>
            </a:endParaRPr>
          </a:p>
        </p:txBody>
      </p:sp>
      <p:sp>
        <p:nvSpPr>
          <p:cNvPr id="219" name="TextBox 218">
            <a:extLst>
              <a:ext uri="{FF2B5EF4-FFF2-40B4-BE49-F238E27FC236}">
                <a16:creationId xmlns:a16="http://schemas.microsoft.com/office/drawing/2014/main" id="{290EC440-E6BC-4E4D-B07D-2F8C63E9CD2B}"/>
              </a:ext>
            </a:extLst>
          </p:cNvPr>
          <p:cNvSpPr txBox="1"/>
          <p:nvPr/>
        </p:nvSpPr>
        <p:spPr>
          <a:xfrm>
            <a:off x="3485731" y="3235261"/>
            <a:ext cx="1134101"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FF0000"/>
                </a:solidFill>
                <a:effectLst/>
                <a:uLnTx/>
                <a:uFillTx/>
                <a:latin typeface="Segoe UI"/>
                <a:ea typeface="+mn-ea"/>
                <a:cs typeface="+mn-cs"/>
              </a:rPr>
              <a:t>.NET Modernization Webinar (Nov)</a:t>
            </a:r>
            <a:endParaRPr kumimoji="0" lang="en-US" sz="700" b="0" i="0" u="none" strike="noStrike" kern="0" cap="none" spc="0" normalizeH="0" baseline="0" noProof="0">
              <a:ln>
                <a:noFill/>
              </a:ln>
              <a:solidFill>
                <a:srgbClr val="FF0000"/>
              </a:solidFill>
              <a:effectLst/>
              <a:uLnTx/>
              <a:uFillTx/>
              <a:latin typeface="Segoe UI"/>
              <a:ea typeface="+mn-ea"/>
              <a:cs typeface="+mn-cs"/>
            </a:endParaRPr>
          </a:p>
        </p:txBody>
      </p:sp>
      <p:pic>
        <p:nvPicPr>
          <p:cNvPr id="220" name="Graphic 219" descr="Meeting">
            <a:extLst>
              <a:ext uri="{FF2B5EF4-FFF2-40B4-BE49-F238E27FC236}">
                <a16:creationId xmlns:a16="http://schemas.microsoft.com/office/drawing/2014/main" id="{29FDD212-9EBD-4EF9-9C94-78C112E5AF6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159620" y="3179656"/>
            <a:ext cx="371987" cy="371987"/>
          </a:xfrm>
          <a:prstGeom prst="rect">
            <a:avLst/>
          </a:prstGeom>
        </p:spPr>
      </p:pic>
      <p:sp>
        <p:nvSpPr>
          <p:cNvPr id="221" name="TextBox 220">
            <a:extLst>
              <a:ext uri="{FF2B5EF4-FFF2-40B4-BE49-F238E27FC236}">
                <a16:creationId xmlns:a16="http://schemas.microsoft.com/office/drawing/2014/main" id="{E17A061E-9A81-449A-ADE0-C03356A7D0A2}"/>
              </a:ext>
            </a:extLst>
          </p:cNvPr>
          <p:cNvSpPr txBox="1"/>
          <p:nvPr/>
        </p:nvSpPr>
        <p:spPr>
          <a:xfrm>
            <a:off x="3485731" y="3825212"/>
            <a:ext cx="1134101" cy="297004"/>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FF0000"/>
                </a:solidFill>
                <a:effectLst/>
                <a:uLnTx/>
                <a:uFillTx/>
                <a:latin typeface="Segoe UI"/>
                <a:ea typeface="+mn-ea"/>
                <a:cs typeface="+mn-cs"/>
              </a:rPr>
              <a:t>Cloud Native Virtual Event (</a:t>
            </a:r>
            <a:r>
              <a:rPr kumimoji="0" lang="pl-PL" sz="700" b="1" i="0" u="none" strike="noStrike" kern="0" cap="none" spc="0" normalizeH="0" baseline="0" noProof="0">
                <a:ln>
                  <a:noFill/>
                </a:ln>
                <a:solidFill>
                  <a:srgbClr val="FF0000"/>
                </a:solidFill>
                <a:effectLst/>
                <a:uLnTx/>
                <a:uFillTx/>
                <a:latin typeface="Segoe UI"/>
                <a:ea typeface="+mn-ea"/>
                <a:cs typeface="+mn-cs"/>
              </a:rPr>
              <a:t>Jan</a:t>
            </a:r>
            <a:r>
              <a:rPr kumimoji="0" lang="en-US" sz="700" b="1" i="0" u="none" strike="noStrike" kern="0" cap="none" spc="0" normalizeH="0" baseline="0" noProof="0">
                <a:ln>
                  <a:noFill/>
                </a:ln>
                <a:solidFill>
                  <a:srgbClr val="FF0000"/>
                </a:solidFill>
                <a:effectLst/>
                <a:uLnTx/>
                <a:uFillTx/>
                <a:latin typeface="Segoe UI"/>
                <a:ea typeface="+mn-ea"/>
                <a:cs typeface="+mn-cs"/>
              </a:rPr>
              <a:t>)</a:t>
            </a:r>
            <a:endParaRPr kumimoji="0" lang="en-US" sz="700" b="0" i="0" u="none" strike="noStrike" kern="0" cap="none" spc="0" normalizeH="0" baseline="0" noProof="0">
              <a:ln>
                <a:noFill/>
              </a:ln>
              <a:solidFill>
                <a:srgbClr val="FF0000"/>
              </a:solidFill>
              <a:effectLst/>
              <a:uLnTx/>
              <a:uFillTx/>
              <a:latin typeface="Segoe UI"/>
              <a:ea typeface="+mn-ea"/>
              <a:cs typeface="+mn-cs"/>
            </a:endParaRPr>
          </a:p>
        </p:txBody>
      </p:sp>
      <p:pic>
        <p:nvPicPr>
          <p:cNvPr id="222" name="Graphic 221" descr="Meeting">
            <a:extLst>
              <a:ext uri="{FF2B5EF4-FFF2-40B4-BE49-F238E27FC236}">
                <a16:creationId xmlns:a16="http://schemas.microsoft.com/office/drawing/2014/main" id="{BB7E0D6A-275F-4029-AA7A-B6601BD5F30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159620" y="3769607"/>
            <a:ext cx="371987" cy="371987"/>
          </a:xfrm>
          <a:prstGeom prst="rect">
            <a:avLst/>
          </a:prstGeom>
        </p:spPr>
      </p:pic>
      <p:sp>
        <p:nvSpPr>
          <p:cNvPr id="223" name="TextBox 222">
            <a:extLst>
              <a:ext uri="{FF2B5EF4-FFF2-40B4-BE49-F238E27FC236}">
                <a16:creationId xmlns:a16="http://schemas.microsoft.com/office/drawing/2014/main" id="{7582CA1D-8027-4019-B061-BC2559030A0C}"/>
              </a:ext>
            </a:extLst>
          </p:cNvPr>
          <p:cNvSpPr txBox="1"/>
          <p:nvPr/>
        </p:nvSpPr>
        <p:spPr>
          <a:xfrm>
            <a:off x="3484181" y="5351168"/>
            <a:ext cx="1134101" cy="399340"/>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FF0000"/>
                </a:solidFill>
                <a:effectLst/>
                <a:uLnTx/>
                <a:uFillTx/>
                <a:latin typeface="Segoe UI"/>
                <a:ea typeface="+mn-ea"/>
                <a:cs typeface="+mn-cs"/>
              </a:rPr>
              <a:t>AI Virtual Training Day (Q3/Q4) + GBB AML VT</a:t>
            </a:r>
            <a:endParaRPr kumimoji="0" lang="en-US" sz="700" b="0" i="0" u="none" strike="noStrike" kern="0" cap="none" spc="0" normalizeH="0" baseline="0" noProof="0">
              <a:ln>
                <a:noFill/>
              </a:ln>
              <a:solidFill>
                <a:srgbClr val="FF0000"/>
              </a:solidFill>
              <a:effectLst/>
              <a:uLnTx/>
              <a:uFillTx/>
              <a:latin typeface="Segoe UI"/>
              <a:ea typeface="+mn-ea"/>
              <a:cs typeface="+mn-cs"/>
            </a:endParaRPr>
          </a:p>
        </p:txBody>
      </p:sp>
      <p:pic>
        <p:nvPicPr>
          <p:cNvPr id="224" name="Graphic 223" descr="Meeting">
            <a:extLst>
              <a:ext uri="{FF2B5EF4-FFF2-40B4-BE49-F238E27FC236}">
                <a16:creationId xmlns:a16="http://schemas.microsoft.com/office/drawing/2014/main" id="{AB9623A2-EDCA-4421-A547-FA7FB5E2AC7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141506" y="5395195"/>
            <a:ext cx="371987" cy="371987"/>
          </a:xfrm>
          <a:prstGeom prst="rect">
            <a:avLst/>
          </a:prstGeom>
        </p:spPr>
      </p:pic>
      <p:sp>
        <p:nvSpPr>
          <p:cNvPr id="225" name="TextBox 224">
            <a:extLst>
              <a:ext uri="{FF2B5EF4-FFF2-40B4-BE49-F238E27FC236}">
                <a16:creationId xmlns:a16="http://schemas.microsoft.com/office/drawing/2014/main" id="{695BD1B8-5024-4E35-B1D4-9B699F5E37B0}"/>
              </a:ext>
            </a:extLst>
          </p:cNvPr>
          <p:cNvSpPr txBox="1"/>
          <p:nvPr/>
        </p:nvSpPr>
        <p:spPr>
          <a:xfrm>
            <a:off x="4611478" y="5456369"/>
            <a:ext cx="621695"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4"/>
                </a:solidFill>
                <a:effectLst>
                  <a:outerShdw blurRad="38100" dist="38100" dir="2700000" algn="tl">
                    <a:srgbClr val="000000">
                      <a:alpha val="43137"/>
                    </a:srgbClr>
                  </a:outerShdw>
                </a:effectLst>
                <a:uLnTx/>
                <a:uFillTx/>
                <a:latin typeface="Segoe UI"/>
                <a:ea typeface="+mn-ea"/>
                <a:cs typeface="+mn-cs"/>
              </a:rPr>
              <a:t>MCS</a:t>
            </a:r>
          </a:p>
        </p:txBody>
      </p:sp>
      <p:sp>
        <p:nvSpPr>
          <p:cNvPr id="226" name="TextBox 225">
            <a:extLst>
              <a:ext uri="{FF2B5EF4-FFF2-40B4-BE49-F238E27FC236}">
                <a16:creationId xmlns:a16="http://schemas.microsoft.com/office/drawing/2014/main" id="{F34F03F1-F970-4F27-B78F-7D7F711B5AFC}"/>
              </a:ext>
            </a:extLst>
          </p:cNvPr>
          <p:cNvSpPr txBox="1"/>
          <p:nvPr/>
        </p:nvSpPr>
        <p:spPr>
          <a:xfrm>
            <a:off x="4898252" y="5262841"/>
            <a:ext cx="1134101" cy="194669"/>
          </a:xfrm>
          <a:prstGeom prst="rect">
            <a:avLst/>
          </a:prstGeom>
          <a:noFill/>
        </p:spPr>
        <p:txBody>
          <a:bodyPr wrap="square" rtlCol="0" anchor="t">
            <a:spAutoFit/>
          </a:bodyPr>
          <a:lstStyle/>
          <a:p>
            <a:pPr marL="0" marR="0" lvl="0" indent="0" algn="l" defTabSz="914367" rtl="0" eaLnBrk="1" fontAlgn="auto" latinLnBrk="0" hangingPunct="1">
              <a:lnSpc>
                <a:spcPct val="95000"/>
              </a:lnSpc>
              <a:spcBef>
                <a:spcPts val="0"/>
              </a:spcBef>
              <a:spcAft>
                <a:spcPts val="0"/>
              </a:spcAft>
              <a:buClrTx/>
              <a:buSzTx/>
              <a:buFontTx/>
              <a:buNone/>
              <a:tabLst/>
              <a:defRPr/>
            </a:pPr>
            <a:r>
              <a:rPr kumimoji="0" lang="en-US" sz="700" b="1" i="0" u="none" strike="noStrike" kern="0" cap="none" spc="0" normalizeH="0" baseline="0" noProof="0">
                <a:ln>
                  <a:noFill/>
                </a:ln>
                <a:solidFill>
                  <a:srgbClr val="243A5E"/>
                </a:solidFill>
                <a:effectLst/>
                <a:uLnTx/>
                <a:uFillTx/>
                <a:latin typeface="Segoe UI"/>
                <a:ea typeface="+mn-ea"/>
                <a:cs typeface="+mn-cs"/>
              </a:rPr>
              <a:t>AI In a Day</a:t>
            </a:r>
            <a:endParaRPr kumimoji="0" lang="en-US" sz="700" b="0" i="0" u="none" strike="noStrike" kern="0" cap="none" spc="0" normalizeH="0" baseline="0" noProof="0">
              <a:ln>
                <a:noFill/>
              </a:ln>
              <a:solidFill>
                <a:srgbClr val="243A5E"/>
              </a:solidFill>
              <a:effectLst/>
              <a:uLnTx/>
              <a:uFillTx/>
              <a:latin typeface="Segoe UI"/>
              <a:ea typeface="+mn-ea"/>
              <a:cs typeface="+mn-cs"/>
            </a:endParaRPr>
          </a:p>
        </p:txBody>
      </p:sp>
      <p:sp>
        <p:nvSpPr>
          <p:cNvPr id="227" name="speech_5" title="Icon of two overlapping chat bubbles">
            <a:extLst>
              <a:ext uri="{FF2B5EF4-FFF2-40B4-BE49-F238E27FC236}">
                <a16:creationId xmlns:a16="http://schemas.microsoft.com/office/drawing/2014/main" id="{C7C2AD67-E089-4594-891F-15C7F48A53C0}"/>
              </a:ext>
            </a:extLst>
          </p:cNvPr>
          <p:cNvSpPr>
            <a:spLocks noChangeAspect="1" noEditPoints="1"/>
          </p:cNvSpPr>
          <p:nvPr/>
        </p:nvSpPr>
        <p:spPr bwMode="auto">
          <a:xfrm>
            <a:off x="4634799" y="5256181"/>
            <a:ext cx="248972" cy="194669"/>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3368615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8705E-50E1-40B1-BE92-C72EF8917031}"/>
              </a:ext>
            </a:extLst>
          </p:cNvPr>
          <p:cNvSpPr>
            <a:spLocks noGrp="1"/>
          </p:cNvSpPr>
          <p:nvPr>
            <p:ph type="title"/>
          </p:nvPr>
        </p:nvSpPr>
        <p:spPr/>
        <p:txBody>
          <a:bodyPr/>
          <a:lstStyle/>
          <a:p>
            <a:r>
              <a:rPr lang="en-US"/>
              <a:t>Today we will talk about </a:t>
            </a:r>
          </a:p>
        </p:txBody>
      </p:sp>
      <p:sp>
        <p:nvSpPr>
          <p:cNvPr id="3" name="Text Placeholder 2">
            <a:extLst>
              <a:ext uri="{FF2B5EF4-FFF2-40B4-BE49-F238E27FC236}">
                <a16:creationId xmlns:a16="http://schemas.microsoft.com/office/drawing/2014/main" id="{59B37F65-A65B-4C39-AC76-75D5E701E696}"/>
              </a:ext>
            </a:extLst>
          </p:cNvPr>
          <p:cNvSpPr>
            <a:spLocks noGrp="1"/>
          </p:cNvSpPr>
          <p:nvPr>
            <p:ph type="body" sz="quarter" idx="10"/>
          </p:nvPr>
        </p:nvSpPr>
        <p:spPr>
          <a:xfrm>
            <a:off x="270002" y="1494624"/>
            <a:ext cx="11655078" cy="3868751"/>
          </a:xfrm>
        </p:spPr>
        <p:txBody>
          <a:bodyPr vert="horz" wrap="square" lIns="146304" tIns="91440" rIns="146304" bIns="91440" rtlCol="0" anchor="t">
            <a:spAutoFit/>
          </a:bodyPr>
          <a:lstStyle/>
          <a:p>
            <a:pPr marL="0" indent="0">
              <a:buNone/>
            </a:pPr>
            <a:r>
              <a:rPr lang="hu-HU" sz="2400">
                <a:cs typeface="Segoe UI Light"/>
              </a:rPr>
              <a:t>How we drive </a:t>
            </a:r>
            <a:r>
              <a:rPr lang="en-US" sz="2400">
                <a:cs typeface="Segoe UI Light"/>
              </a:rPr>
              <a:t>Go</a:t>
            </a:r>
            <a:r>
              <a:rPr lang="hu-HU" sz="2400">
                <a:cs typeface="Segoe UI Light"/>
              </a:rPr>
              <a:t>-</a:t>
            </a:r>
            <a:r>
              <a:rPr lang="en-US" sz="2400">
                <a:cs typeface="Segoe UI Light"/>
              </a:rPr>
              <a:t>To</a:t>
            </a:r>
            <a:r>
              <a:rPr lang="hu-HU" sz="2400">
                <a:cs typeface="Segoe UI Light"/>
              </a:rPr>
              <a:t>-</a:t>
            </a:r>
            <a:r>
              <a:rPr lang="en-US" sz="2400">
                <a:cs typeface="Segoe UI Light"/>
              </a:rPr>
              <a:t>Market with </a:t>
            </a:r>
            <a:r>
              <a:rPr lang="hu-HU" sz="2400">
                <a:cs typeface="Segoe UI Light"/>
              </a:rPr>
              <a:t>you </a:t>
            </a:r>
            <a:endParaRPr lang="en-US" sz="2400">
              <a:cs typeface="Segoe UI Light"/>
            </a:endParaRPr>
          </a:p>
          <a:p>
            <a:pPr marL="0" indent="0">
              <a:buNone/>
            </a:pPr>
            <a:endParaRPr lang="en-US" sz="2400"/>
          </a:p>
          <a:p>
            <a:pPr marL="0" indent="0">
              <a:buNone/>
            </a:pPr>
            <a:r>
              <a:rPr lang="hu-HU" sz="2400">
                <a:cs typeface="Segoe UI Light"/>
              </a:rPr>
              <a:t>Programs</a:t>
            </a:r>
            <a:r>
              <a:rPr lang="en-US" sz="2400">
                <a:cs typeface="Segoe UI Light"/>
              </a:rPr>
              <a:t> that will help your business </a:t>
            </a:r>
          </a:p>
          <a:p>
            <a:pPr marL="567055" lvl="1" indent="-342900">
              <a:buFont typeface="Arial" panose="020B0604020202020204" pitchFamily="34" charset="0"/>
              <a:buChar char="•"/>
            </a:pPr>
            <a:r>
              <a:rPr lang="en-US" sz="1800">
                <a:latin typeface="+mj-lt"/>
                <a:cs typeface="Segoe UI Light"/>
              </a:rPr>
              <a:t>Modern Work</a:t>
            </a:r>
          </a:p>
          <a:p>
            <a:pPr marL="567055" lvl="1" indent="-342900">
              <a:buFont typeface="Arial" panose="020B0604020202020204" pitchFamily="34" charset="0"/>
              <a:buChar char="•"/>
            </a:pPr>
            <a:r>
              <a:rPr lang="en-US" sz="1800">
                <a:latin typeface="+mj-lt"/>
                <a:cs typeface="Segoe UI Light"/>
              </a:rPr>
              <a:t>Business Applications</a:t>
            </a:r>
          </a:p>
          <a:p>
            <a:pPr marL="567055" lvl="1" indent="-342900">
              <a:buFont typeface="Arial" panose="020B0604020202020204" pitchFamily="34" charset="0"/>
              <a:buChar char="•"/>
            </a:pPr>
            <a:r>
              <a:rPr lang="en-US" sz="1800">
                <a:latin typeface="+mj-lt"/>
                <a:cs typeface="Segoe UI Light"/>
              </a:rPr>
              <a:t>Azure</a:t>
            </a:r>
            <a:endParaRPr lang="hu-HU" sz="1800">
              <a:latin typeface="+mj-lt"/>
              <a:cs typeface="Segoe UI Light"/>
            </a:endParaRPr>
          </a:p>
          <a:p>
            <a:pPr marL="448209" lvl="2" indent="0">
              <a:buNone/>
            </a:pPr>
            <a:endParaRPr lang="hu-HU" sz="1800">
              <a:latin typeface="+mj-lt"/>
              <a:cs typeface="Segoe UI Light"/>
            </a:endParaRPr>
          </a:p>
          <a:p>
            <a:pPr marL="224155" lvl="1" indent="0">
              <a:buNone/>
            </a:pPr>
            <a:r>
              <a:rPr lang="hu-HU" sz="2400">
                <a:latin typeface="+mj-lt"/>
                <a:cs typeface="Segoe UI Light"/>
              </a:rPr>
              <a:t>In case you see this is valuable for you, please: </a:t>
            </a:r>
          </a:p>
          <a:p>
            <a:pPr marL="567055" lvl="1" indent="-342900">
              <a:buFont typeface="Arial" panose="020B0604020202020204" pitchFamily="34" charset="0"/>
              <a:buChar char="•"/>
            </a:pPr>
            <a:r>
              <a:rPr lang="hu-HU" sz="1800">
                <a:latin typeface="+mj-lt"/>
                <a:cs typeface="Segoe UI Light"/>
              </a:rPr>
              <a:t>Add your feedback / comment / topic you would like to hear about in IM</a:t>
            </a:r>
          </a:p>
          <a:p>
            <a:pPr marL="567055" lvl="1" indent="-342900">
              <a:buFont typeface="Arial" panose="020B0604020202020204" pitchFamily="34" charset="0"/>
              <a:buChar char="•"/>
            </a:pPr>
            <a:r>
              <a:rPr lang="hu-HU" sz="1800">
                <a:latin typeface="+mj-lt"/>
                <a:cs typeface="Segoe UI Light"/>
              </a:rPr>
              <a:t>Access recording and deck on </a:t>
            </a:r>
            <a:r>
              <a:rPr lang="hu-HU" sz="1800">
                <a:latin typeface="+mj-lt"/>
                <a:cs typeface="Segoe UI Light"/>
                <a:hlinkClick r:id="rId2"/>
              </a:rPr>
              <a:t>aka.ms/AA8t54z</a:t>
            </a:r>
            <a:endParaRPr lang="hu-HU" sz="1800">
              <a:latin typeface="+mj-lt"/>
              <a:cs typeface="Segoe UI Light"/>
            </a:endParaRPr>
          </a:p>
          <a:p>
            <a:pPr marL="567055" lvl="1" indent="-342900">
              <a:buFont typeface="Arial" panose="020B0604020202020204" pitchFamily="34" charset="0"/>
              <a:buChar char="•"/>
            </a:pPr>
            <a:r>
              <a:rPr lang="hu-HU" sz="1800">
                <a:latin typeface="+mj-lt"/>
                <a:cs typeface="Segoe UI Light"/>
              </a:rPr>
              <a:t>Subscribe to our monthly communication</a:t>
            </a:r>
            <a:r>
              <a:rPr lang="en-US" sz="1800">
                <a:latin typeface="+mj-lt"/>
                <a:cs typeface="Segoe UI Light"/>
              </a:rPr>
              <a:t> here:</a:t>
            </a:r>
            <a:r>
              <a:rPr lang="hu-HU" sz="1800">
                <a:latin typeface="+mj-lt"/>
                <a:cs typeface="Segoe UI Light"/>
              </a:rPr>
              <a:t> </a:t>
            </a:r>
            <a:r>
              <a:rPr lang="en-US" sz="1800">
                <a:latin typeface="+mj-lt"/>
                <a:cs typeface="Segoe UI Light"/>
                <a:hlinkClick r:id="rId3"/>
              </a:rPr>
              <a:t>aka.ms/AA8t56p</a:t>
            </a:r>
            <a:endParaRPr lang="hu-HU" sz="1800">
              <a:latin typeface="+mj-lt"/>
              <a:cs typeface="Segoe UI Light"/>
            </a:endParaRPr>
          </a:p>
        </p:txBody>
      </p:sp>
    </p:spTree>
    <p:extLst>
      <p:ext uri="{BB962C8B-B14F-4D97-AF65-F5344CB8AC3E}">
        <p14:creationId xmlns:p14="http://schemas.microsoft.com/office/powerpoint/2010/main" val="48494735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62D53E9-5C04-42A3-BF4B-769321AB6500}"/>
              </a:ext>
            </a:extLst>
          </p:cNvPr>
          <p:cNvSpPr/>
          <p:nvPr/>
        </p:nvSpPr>
        <p:spPr bwMode="auto">
          <a:xfrm>
            <a:off x="135887" y="558727"/>
            <a:ext cx="11956863" cy="2499774"/>
          </a:xfrm>
          <a:prstGeom prst="rect">
            <a:avLst/>
          </a:prstGeom>
          <a:solidFill>
            <a:srgbClr val="FFFFFF">
              <a:lumMod val="95000"/>
              <a:alpha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Rectangle 93">
            <a:extLst>
              <a:ext uri="{FF2B5EF4-FFF2-40B4-BE49-F238E27FC236}">
                <a16:creationId xmlns:a16="http://schemas.microsoft.com/office/drawing/2014/main" id="{A4C5E18F-5B01-4D97-89FF-8A4FD8AE70D2}"/>
              </a:ext>
            </a:extLst>
          </p:cNvPr>
          <p:cNvSpPr/>
          <p:nvPr/>
        </p:nvSpPr>
        <p:spPr>
          <a:xfrm>
            <a:off x="68903" y="558725"/>
            <a:ext cx="1465823" cy="2499776"/>
          </a:xfrm>
          <a:prstGeom prst="rect">
            <a:avLst/>
          </a:prstGeom>
          <a:solidFill>
            <a:srgbClr val="0078D4"/>
          </a:solidFill>
          <a:ln w="10795" cap="flat" cmpd="sng" algn="ctr">
            <a:noFill/>
            <a:prstDash val="solid"/>
          </a:ln>
          <a:effectLst/>
        </p:spPr>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white"/>
              </a:solidFill>
              <a:effectLst/>
              <a:uLnTx/>
              <a:uFillTx/>
              <a:latin typeface="Roboto Light"/>
              <a:ea typeface="+mn-ea"/>
              <a:cs typeface="+mn-cs"/>
            </a:endParaRPr>
          </a:p>
        </p:txBody>
      </p:sp>
      <p:sp>
        <p:nvSpPr>
          <p:cNvPr id="6" name="Title 3">
            <a:extLst>
              <a:ext uri="{FF2B5EF4-FFF2-40B4-BE49-F238E27FC236}">
                <a16:creationId xmlns:a16="http://schemas.microsoft.com/office/drawing/2014/main" id="{8B676000-A100-4CDB-B964-AF17121DD1BB}"/>
              </a:ext>
            </a:extLst>
          </p:cNvPr>
          <p:cNvSpPr txBox="1">
            <a:spLocks/>
          </p:cNvSpPr>
          <p:nvPr/>
        </p:nvSpPr>
        <p:spPr>
          <a:xfrm>
            <a:off x="188838" y="91440"/>
            <a:ext cx="11756571" cy="484094"/>
          </a:xfrm>
          <a:prstGeom prst="rect">
            <a:avLst/>
          </a:prstGeom>
        </p:spPr>
        <p:txBody>
          <a:bodyPr/>
          <a:lst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cs-CZ" sz="2400" b="1"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rPr>
              <a:t>In-A-Day Motion </a:t>
            </a:r>
            <a:endParaRPr kumimoji="0" lang="en-US" sz="2400" b="0"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endParaRPr>
          </a:p>
        </p:txBody>
      </p:sp>
      <p:pic>
        <p:nvPicPr>
          <p:cNvPr id="2" name="Picture 1" descr="A picture containing game, drawing&#10;&#10;Description automatically generated">
            <a:extLst>
              <a:ext uri="{FF2B5EF4-FFF2-40B4-BE49-F238E27FC236}">
                <a16:creationId xmlns:a16="http://schemas.microsoft.com/office/drawing/2014/main" id="{EB1A1C1B-07CD-493D-BC64-A5F23803A9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83710" y="31421"/>
            <a:ext cx="1209040" cy="643563"/>
          </a:xfrm>
          <a:prstGeom prst="rect">
            <a:avLst/>
          </a:prstGeom>
        </p:spPr>
      </p:pic>
      <p:grpSp>
        <p:nvGrpSpPr>
          <p:cNvPr id="95" name="Group 94">
            <a:extLst>
              <a:ext uri="{FF2B5EF4-FFF2-40B4-BE49-F238E27FC236}">
                <a16:creationId xmlns:a16="http://schemas.microsoft.com/office/drawing/2014/main" id="{1D24CCB9-DA15-4245-8898-D8ADC3500D49}"/>
              </a:ext>
            </a:extLst>
          </p:cNvPr>
          <p:cNvGrpSpPr/>
          <p:nvPr/>
        </p:nvGrpSpPr>
        <p:grpSpPr>
          <a:xfrm>
            <a:off x="1534726" y="674984"/>
            <a:ext cx="5381305" cy="2266481"/>
            <a:chOff x="1514729" y="193787"/>
            <a:chExt cx="5840699" cy="1784744"/>
          </a:xfrm>
        </p:grpSpPr>
        <p:sp>
          <p:nvSpPr>
            <p:cNvPr id="96" name="Rectangle 95">
              <a:extLst>
                <a:ext uri="{FF2B5EF4-FFF2-40B4-BE49-F238E27FC236}">
                  <a16:creationId xmlns:a16="http://schemas.microsoft.com/office/drawing/2014/main" id="{90C45E81-E71C-4D96-8054-B2A15CFCFF2A}"/>
                </a:ext>
              </a:extLst>
            </p:cNvPr>
            <p:cNvSpPr/>
            <p:nvPr/>
          </p:nvSpPr>
          <p:spPr>
            <a:xfrm>
              <a:off x="1704966" y="193787"/>
              <a:ext cx="673261" cy="138499"/>
            </a:xfrm>
            <a:prstGeom prst="rect">
              <a:avLst/>
            </a:prstGeom>
          </p:spPr>
          <p:txBody>
            <a:bodyPr wrap="none" lIns="0" tIns="0" rIns="0" bIns="0">
              <a:spAutoFit/>
            </a:bodyPr>
            <a:lstStyle/>
            <a:p>
              <a:pPr marL="0" marR="0" lvl="0" indent="0" algn="l" defTabSz="1087618" rtl="0" eaLnBrk="1" fontAlgn="auto" latinLnBrk="0" hangingPunct="1">
                <a:lnSpc>
                  <a:spcPct val="100000"/>
                </a:lnSpc>
                <a:spcBef>
                  <a:spcPts val="0"/>
                </a:spcBef>
                <a:spcAft>
                  <a:spcPts val="667"/>
                </a:spcAft>
                <a:buClrTx/>
                <a:buSzTx/>
                <a:buFontTx/>
                <a:buNone/>
                <a:tabLst/>
                <a:defRPr/>
              </a:pPr>
              <a:r>
                <a:rPr kumimoji="0" lang="en-US" sz="900" b="1" i="0" u="none" strike="noStrike" kern="0" cap="none" spc="0" normalizeH="0" baseline="0" noProof="0">
                  <a:ln>
                    <a:noFill/>
                  </a:ln>
                  <a:solidFill>
                    <a:srgbClr val="1A1A1A"/>
                  </a:solidFill>
                  <a:effectLst/>
                  <a:uLnTx/>
                  <a:uFillTx/>
                  <a:latin typeface="Segoe UI"/>
                  <a:ea typeface="+mn-ea"/>
                  <a:cs typeface="+mn-cs"/>
                </a:rPr>
                <a:t>WHAT IS IT?</a:t>
              </a:r>
            </a:p>
          </p:txBody>
        </p:sp>
        <p:sp>
          <p:nvSpPr>
            <p:cNvPr id="97" name="Rectangle 96">
              <a:extLst>
                <a:ext uri="{FF2B5EF4-FFF2-40B4-BE49-F238E27FC236}">
                  <a16:creationId xmlns:a16="http://schemas.microsoft.com/office/drawing/2014/main" id="{9FA29632-816F-467E-97AD-2B21101C2CF4}"/>
                </a:ext>
              </a:extLst>
            </p:cNvPr>
            <p:cNvSpPr/>
            <p:nvPr/>
          </p:nvSpPr>
          <p:spPr bwMode="auto">
            <a:xfrm>
              <a:off x="1514729" y="565352"/>
              <a:ext cx="5840699" cy="141317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76200" tIns="0" rIns="0" bIns="0" numCol="1" spcCol="0" rtlCol="0" fromWordArt="0" anchor="ctr" anchorCtr="0" forceAA="0" compatLnSpc="1">
              <a:prstTxWarp prst="textNoShape">
                <a:avLst/>
              </a:prstTxWarp>
              <a:noAutofit/>
            </a:bodyPr>
            <a:lstStyle/>
            <a:p>
              <a:pPr marL="171450" marR="0" lvl="0" indent="-171450" algn="l" defTabSz="76171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cs-CZ"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A</a:t>
              </a:r>
              <a:r>
                <a:rPr kumimoji="0" lang="en-US"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 cross segment, </a:t>
              </a:r>
              <a:r>
                <a:rPr kumimoji="0" lang="en-US" sz="1000" b="1" i="0" u="none" strike="noStrike" kern="0" cap="none" spc="42" normalizeH="0" baseline="0" noProof="0">
                  <a:ln>
                    <a:noFill/>
                  </a:ln>
                  <a:solidFill>
                    <a:srgbClr val="282828"/>
                  </a:solidFill>
                  <a:effectLst/>
                  <a:uLnTx/>
                  <a:uFillTx/>
                  <a:latin typeface="Segoe UI"/>
                  <a:ea typeface="Roboto" panose="02000000000000000000" pitchFamily="2" charset="0"/>
                  <a:cs typeface="+mn-cs"/>
                </a:rPr>
                <a:t>pre-sales motion </a:t>
              </a:r>
              <a:r>
                <a:rPr kumimoji="0" lang="en-US"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that includes a set of </a:t>
              </a:r>
              <a:r>
                <a:rPr kumimoji="0" lang="en-US" sz="1000" b="1" i="0" u="none" strike="noStrike" kern="0" cap="none" spc="42" normalizeH="0" baseline="0" noProof="0">
                  <a:ln>
                    <a:noFill/>
                  </a:ln>
                  <a:solidFill>
                    <a:srgbClr val="282828"/>
                  </a:solidFill>
                  <a:effectLst/>
                  <a:uLnTx/>
                  <a:uFillTx/>
                  <a:latin typeface="Segoe UI"/>
                  <a:ea typeface="Roboto" panose="02000000000000000000" pitchFamily="2" charset="0"/>
                  <a:cs typeface="+mn-cs"/>
                </a:rPr>
                <a:t>one-day, partner-delivered customer workshops </a:t>
              </a:r>
              <a:r>
                <a:rPr kumimoji="0" lang="en-US"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on specific Azure priority scenarios, designed</a:t>
              </a:r>
              <a:r>
                <a:rPr kumimoji="0" lang="en-US" sz="1000" b="1" i="0" u="none" strike="noStrike" kern="0" cap="none" spc="42" normalizeH="0" baseline="0" noProof="0">
                  <a:ln>
                    <a:noFill/>
                  </a:ln>
                  <a:solidFill>
                    <a:srgbClr val="282828"/>
                  </a:solidFill>
                  <a:effectLst/>
                  <a:uLnTx/>
                  <a:uFillTx/>
                  <a:latin typeface="Segoe UI"/>
                  <a:ea typeface="Roboto" panose="02000000000000000000" pitchFamily="2" charset="0"/>
                  <a:cs typeface="+mn-cs"/>
                </a:rPr>
                <a:t> to accelerate the sales</a:t>
              </a:r>
              <a:r>
                <a:rPr kumimoji="0" lang="en-US"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 process by pulling in </a:t>
              </a:r>
              <a:r>
                <a:rPr kumimoji="0" lang="en-US" sz="1000" b="1" i="0" u="none" strike="noStrike" kern="0" cap="none" spc="42" normalizeH="0" baseline="0" noProof="0">
                  <a:ln>
                    <a:noFill/>
                  </a:ln>
                  <a:solidFill>
                    <a:srgbClr val="282828"/>
                  </a:solidFill>
                  <a:effectLst/>
                  <a:uLnTx/>
                  <a:uFillTx/>
                  <a:latin typeface="Segoe UI"/>
                  <a:ea typeface="Roboto" panose="02000000000000000000" pitchFamily="2" charset="0"/>
                  <a:cs typeface="+mn-cs"/>
                </a:rPr>
                <a:t>partner on earlier stages </a:t>
              </a:r>
              <a:r>
                <a:rPr kumimoji="0" lang="en-US"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of the sales cycle and scaling out capabilities of our field. </a:t>
              </a:r>
              <a:endParaRPr kumimoji="0" lang="cs-CZ"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endParaRPr>
            </a:p>
            <a:p>
              <a:pPr marL="171450" marR="0" lvl="0" indent="-171450" algn="l" defTabSz="76171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endParaRPr>
            </a:p>
            <a:p>
              <a:pPr marL="171450" marR="0" lvl="0" indent="-171450" algn="l" defTabSz="76171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1" i="0" u="none" strike="noStrike" kern="0" cap="none" spc="42" normalizeH="0" baseline="0" noProof="0">
                  <a:ln>
                    <a:noFill/>
                  </a:ln>
                  <a:solidFill>
                    <a:srgbClr val="282828"/>
                  </a:solidFill>
                  <a:effectLst/>
                  <a:uLnTx/>
                  <a:uFillTx/>
                  <a:latin typeface="Segoe UI"/>
                  <a:ea typeface="Roboto" panose="02000000000000000000" pitchFamily="2" charset="0"/>
                  <a:cs typeface="+mn-cs"/>
                </a:rPr>
                <a:t>7 types of In a Day workshops </a:t>
              </a:r>
              <a:r>
                <a:rPr kumimoji="0" lang="en-US"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with pre-built presales and lab content for partners to leverage to conduct consistent workshop execution across Azure solution priorities </a:t>
              </a:r>
              <a:endParaRPr kumimoji="0" lang="cs-CZ"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endParaRPr>
            </a:p>
            <a:p>
              <a:pPr marL="171450" marR="0" lvl="0" indent="-171450" algn="l" defTabSz="76171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endParaRPr>
            </a:p>
            <a:p>
              <a:pPr marL="171450" marR="0" lvl="0" indent="-171450" algn="l" defTabSz="76171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1" i="0" u="none" strike="noStrike" kern="0" cap="none" spc="42" normalizeH="0" baseline="0" noProof="0">
                  <a:ln>
                    <a:noFill/>
                  </a:ln>
                  <a:solidFill>
                    <a:srgbClr val="282828"/>
                  </a:solidFill>
                  <a:effectLst/>
                  <a:uLnTx/>
                  <a:uFillTx/>
                  <a:latin typeface="Segoe UI"/>
                  <a:ea typeface="Roboto" panose="02000000000000000000" pitchFamily="2" charset="0"/>
                  <a:cs typeface="+mn-cs"/>
                </a:rPr>
                <a:t>P</a:t>
              </a:r>
              <a:r>
                <a:rPr kumimoji="0" lang="cs-CZ" sz="1000" b="1" i="0" u="none" strike="noStrike" kern="0" cap="none" spc="42" normalizeH="0" baseline="0" noProof="0">
                  <a:ln>
                    <a:noFill/>
                  </a:ln>
                  <a:solidFill>
                    <a:srgbClr val="282828"/>
                  </a:solidFill>
                  <a:effectLst/>
                  <a:uLnTx/>
                  <a:uFillTx/>
                  <a:latin typeface="Segoe UI"/>
                  <a:ea typeface="Roboto" panose="02000000000000000000" pitchFamily="2" charset="0"/>
                  <a:cs typeface="+mn-cs"/>
                </a:rPr>
                <a:t>re-packed content </a:t>
              </a:r>
              <a:r>
                <a:rPr kumimoji="0" lang="cs-CZ"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f</a:t>
              </a:r>
              <a:r>
                <a:rPr kumimoji="0" lang="en-US"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or partners to deliver workshops </a:t>
              </a:r>
              <a:r>
                <a:rPr kumimoji="0" lang="cs-CZ"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1:few, 1:many)</a:t>
              </a:r>
            </a:p>
            <a:p>
              <a:pPr marL="171450" marR="0" lvl="0" indent="-171450" algn="l" defTabSz="76171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cs-CZ"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endParaRPr>
            </a:p>
            <a:p>
              <a:pPr marL="171450" marR="0" lvl="0" indent="-171450" algn="l" defTabSz="76171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1" i="0" u="none" strike="noStrike" kern="0" cap="none" spc="42" normalizeH="0" baseline="0" noProof="0">
                  <a:ln>
                    <a:noFill/>
                  </a:ln>
                  <a:solidFill>
                    <a:srgbClr val="282828"/>
                  </a:solidFill>
                  <a:effectLst/>
                  <a:uLnTx/>
                  <a:uFillTx/>
                  <a:latin typeface="Segoe UI"/>
                  <a:ea typeface="Roboto" panose="02000000000000000000" pitchFamily="2" charset="0"/>
                  <a:cs typeface="+mn-cs"/>
                </a:rPr>
                <a:t>Each workshop </a:t>
              </a:r>
              <a:r>
                <a:rPr kumimoji="0" lang="en-US"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includes topical scenario-based</a:t>
              </a:r>
              <a:r>
                <a:rPr kumimoji="0" lang="en-US" sz="1000" b="1" i="0" u="none" strike="noStrike" kern="0" cap="none" spc="42" normalizeH="0" baseline="0" noProof="0">
                  <a:ln>
                    <a:noFill/>
                  </a:ln>
                  <a:solidFill>
                    <a:srgbClr val="282828"/>
                  </a:solidFill>
                  <a:effectLst/>
                  <a:uLnTx/>
                  <a:uFillTx/>
                  <a:latin typeface="Segoe UI"/>
                  <a:ea typeface="Roboto" panose="02000000000000000000" pitchFamily="2" charset="0"/>
                  <a:cs typeface="+mn-cs"/>
                </a:rPr>
                <a:t> content</a:t>
              </a:r>
              <a:r>
                <a:rPr kumimoji="0" lang="en-US" sz="1000" b="0" i="0" u="none" strike="noStrike" kern="0" cap="none" spc="42" normalizeH="0" baseline="0" noProof="0">
                  <a:ln>
                    <a:noFill/>
                  </a:ln>
                  <a:solidFill>
                    <a:srgbClr val="282828"/>
                  </a:solidFill>
                  <a:effectLst/>
                  <a:uLnTx/>
                  <a:uFillTx/>
                  <a:latin typeface="Segoe UI"/>
                  <a:ea typeface="Roboto" panose="02000000000000000000" pitchFamily="2" charset="0"/>
                  <a:cs typeface="+mn-cs"/>
                </a:rPr>
                <a:t>, followed by a whiteboard design session, and concluding with hands-on lab(s). Workshops are designed to be delivered digital/in-person.</a:t>
              </a:r>
            </a:p>
            <a:p>
              <a:pPr marL="171450" marR="0" lvl="0" indent="-171450" algn="l" defTabSz="76171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0" cap="none" spc="42" normalizeH="0" baseline="0" noProof="0">
                <a:ln>
                  <a:noFill/>
                </a:ln>
                <a:solidFill>
                  <a:srgbClr val="282828"/>
                </a:solidFill>
                <a:effectLst/>
                <a:uLnTx/>
                <a:uFillTx/>
                <a:latin typeface="Segoe UI"/>
                <a:ea typeface="Roboto" panose="02000000000000000000" pitchFamily="2" charset="0"/>
                <a:cs typeface="+mn-cs"/>
              </a:endParaRPr>
            </a:p>
          </p:txBody>
        </p:sp>
      </p:grpSp>
      <p:graphicFrame>
        <p:nvGraphicFramePr>
          <p:cNvPr id="98" name="Table 26">
            <a:extLst>
              <a:ext uri="{FF2B5EF4-FFF2-40B4-BE49-F238E27FC236}">
                <a16:creationId xmlns:a16="http://schemas.microsoft.com/office/drawing/2014/main" id="{FF037729-F7A4-40FB-9BE9-B6A2CB686E70}"/>
              </a:ext>
            </a:extLst>
          </p:cNvPr>
          <p:cNvGraphicFramePr>
            <a:graphicFrameLocks noGrp="1"/>
          </p:cNvGraphicFramePr>
          <p:nvPr/>
        </p:nvGraphicFramePr>
        <p:xfrm>
          <a:off x="68901" y="3314533"/>
          <a:ext cx="11956865" cy="3145125"/>
        </p:xfrm>
        <a:graphic>
          <a:graphicData uri="http://schemas.openxmlformats.org/drawingml/2006/table">
            <a:tbl>
              <a:tblPr firstCol="1" bandRow="1"/>
              <a:tblGrid>
                <a:gridCol w="1441888">
                  <a:extLst>
                    <a:ext uri="{9D8B030D-6E8A-4147-A177-3AD203B41FA5}">
                      <a16:colId xmlns:a16="http://schemas.microsoft.com/office/drawing/2014/main" val="3089257245"/>
                    </a:ext>
                  </a:extLst>
                </a:gridCol>
                <a:gridCol w="1469175">
                  <a:extLst>
                    <a:ext uri="{9D8B030D-6E8A-4147-A177-3AD203B41FA5}">
                      <a16:colId xmlns:a16="http://schemas.microsoft.com/office/drawing/2014/main" val="4018887713"/>
                    </a:ext>
                  </a:extLst>
                </a:gridCol>
                <a:gridCol w="1453243">
                  <a:extLst>
                    <a:ext uri="{9D8B030D-6E8A-4147-A177-3AD203B41FA5}">
                      <a16:colId xmlns:a16="http://schemas.microsoft.com/office/drawing/2014/main" val="2575706661"/>
                    </a:ext>
                  </a:extLst>
                </a:gridCol>
                <a:gridCol w="1473855">
                  <a:extLst>
                    <a:ext uri="{9D8B030D-6E8A-4147-A177-3AD203B41FA5}">
                      <a16:colId xmlns:a16="http://schemas.microsoft.com/office/drawing/2014/main" val="696727002"/>
                    </a:ext>
                  </a:extLst>
                </a:gridCol>
                <a:gridCol w="1529676">
                  <a:extLst>
                    <a:ext uri="{9D8B030D-6E8A-4147-A177-3AD203B41FA5}">
                      <a16:colId xmlns:a16="http://schemas.microsoft.com/office/drawing/2014/main" val="2153416823"/>
                    </a:ext>
                  </a:extLst>
                </a:gridCol>
                <a:gridCol w="1529676">
                  <a:extLst>
                    <a:ext uri="{9D8B030D-6E8A-4147-A177-3AD203B41FA5}">
                      <a16:colId xmlns:a16="http://schemas.microsoft.com/office/drawing/2014/main" val="2566580403"/>
                    </a:ext>
                  </a:extLst>
                </a:gridCol>
                <a:gridCol w="1529676">
                  <a:extLst>
                    <a:ext uri="{9D8B030D-6E8A-4147-A177-3AD203B41FA5}">
                      <a16:colId xmlns:a16="http://schemas.microsoft.com/office/drawing/2014/main" val="57146848"/>
                    </a:ext>
                  </a:extLst>
                </a:gridCol>
                <a:gridCol w="1529676">
                  <a:extLst>
                    <a:ext uri="{9D8B030D-6E8A-4147-A177-3AD203B41FA5}">
                      <a16:colId xmlns:a16="http://schemas.microsoft.com/office/drawing/2014/main" val="1519034224"/>
                    </a:ext>
                  </a:extLst>
                </a:gridCol>
              </a:tblGrid>
              <a:tr h="276219">
                <a:tc>
                  <a:txBody>
                    <a:bodyPr/>
                    <a:lstStyle>
                      <a:lvl1pPr marL="0" algn="l" defTabSz="914367" rtl="0" eaLnBrk="1" latinLnBrk="0" hangingPunct="1">
                        <a:defRPr sz="1765" b="1" kern="1200">
                          <a:solidFill>
                            <a:schemeClr val="lt1"/>
                          </a:solidFill>
                          <a:latin typeface="Segoe UI Semilight"/>
                        </a:defRPr>
                      </a:lvl1pPr>
                      <a:lvl2pPr marL="457183" algn="l" defTabSz="914367" rtl="0" eaLnBrk="1" latinLnBrk="0" hangingPunct="1">
                        <a:defRPr sz="1765" b="1" kern="1200">
                          <a:solidFill>
                            <a:schemeClr val="lt1"/>
                          </a:solidFill>
                          <a:latin typeface="Segoe UI Semilight"/>
                        </a:defRPr>
                      </a:lvl2pPr>
                      <a:lvl3pPr marL="914367" algn="l" defTabSz="914367" rtl="0" eaLnBrk="1" latinLnBrk="0" hangingPunct="1">
                        <a:defRPr sz="1765" b="1" kern="1200">
                          <a:solidFill>
                            <a:schemeClr val="lt1"/>
                          </a:solidFill>
                          <a:latin typeface="Segoe UI Semilight"/>
                        </a:defRPr>
                      </a:lvl3pPr>
                      <a:lvl4pPr marL="1371550" algn="l" defTabSz="914367" rtl="0" eaLnBrk="1" latinLnBrk="0" hangingPunct="1">
                        <a:defRPr sz="1765" b="1" kern="1200">
                          <a:solidFill>
                            <a:schemeClr val="lt1"/>
                          </a:solidFill>
                          <a:latin typeface="Segoe UI Semilight"/>
                        </a:defRPr>
                      </a:lvl4pPr>
                      <a:lvl5pPr marL="1828734" algn="l" defTabSz="914367" rtl="0" eaLnBrk="1" latinLnBrk="0" hangingPunct="1">
                        <a:defRPr sz="1765" b="1" kern="1200">
                          <a:solidFill>
                            <a:schemeClr val="lt1"/>
                          </a:solidFill>
                          <a:latin typeface="Segoe UI Semilight"/>
                        </a:defRPr>
                      </a:lvl5pPr>
                      <a:lvl6pPr marL="2285918" algn="l" defTabSz="914367" rtl="0" eaLnBrk="1" latinLnBrk="0" hangingPunct="1">
                        <a:defRPr sz="1765" b="1" kern="1200">
                          <a:solidFill>
                            <a:schemeClr val="lt1"/>
                          </a:solidFill>
                          <a:latin typeface="Segoe UI Semilight"/>
                        </a:defRPr>
                      </a:lvl6pPr>
                      <a:lvl7pPr marL="2743101" algn="l" defTabSz="914367" rtl="0" eaLnBrk="1" latinLnBrk="0" hangingPunct="1">
                        <a:defRPr sz="1765" b="1" kern="1200">
                          <a:solidFill>
                            <a:schemeClr val="lt1"/>
                          </a:solidFill>
                          <a:latin typeface="Segoe UI Semilight"/>
                        </a:defRPr>
                      </a:lvl7pPr>
                      <a:lvl8pPr marL="3200284" algn="l" defTabSz="914367" rtl="0" eaLnBrk="1" latinLnBrk="0" hangingPunct="1">
                        <a:defRPr sz="1765" b="1" kern="1200">
                          <a:solidFill>
                            <a:schemeClr val="lt1"/>
                          </a:solidFill>
                          <a:latin typeface="Segoe UI Semilight"/>
                        </a:defRPr>
                      </a:lvl8pPr>
                      <a:lvl9pPr marL="3657469" algn="l" defTabSz="914367" rtl="0" eaLnBrk="1" latinLnBrk="0" hangingPunct="1">
                        <a:defRPr sz="1765" b="1" kern="1200">
                          <a:solidFill>
                            <a:schemeClr val="lt1"/>
                          </a:solidFill>
                          <a:latin typeface="Segoe UI Semilight"/>
                        </a:defRPr>
                      </a:lvl9pPr>
                    </a:lstStyle>
                    <a:p>
                      <a:endParaRPr lang="cs-CZ" sz="1000">
                        <a:latin typeface="Segoe UI (Body)"/>
                        <a:cs typeface="Segoe UI" panose="020B0502040204020203" pitchFamily="34" charset="0"/>
                      </a:endParaRPr>
                    </a:p>
                    <a:p>
                      <a:r>
                        <a:rPr lang="en-US" sz="1000">
                          <a:latin typeface="Segoe UI (Body)"/>
                          <a:cs typeface="Segoe UI" panose="020B0502040204020203" pitchFamily="34" charset="0"/>
                        </a:rPr>
                        <a:t>Pain point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VM security, compliance, cost. incl Linux</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Security, compliance, scale, cos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Remote work, VDI,  security, Citrix/VMW</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Business insights, time to market, digital transformation</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Standard tools/frameworks, time to build models</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Microservices, Kubernetes, DevOps w/GitHub</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Sustain vs new, adopting, integrating new tech</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extLst>
                  <a:ext uri="{0D108BD9-81ED-4DB2-BD59-A6C34878D82A}">
                    <a16:rowId xmlns:a16="http://schemas.microsoft.com/office/drawing/2014/main" val="1023767905"/>
                  </a:ext>
                </a:extLst>
              </a:tr>
              <a:tr h="601038">
                <a:tc>
                  <a:txBody>
                    <a:bodyPr/>
                    <a:lstStyle>
                      <a:lvl1pPr marL="0" algn="l" defTabSz="914367" rtl="0" eaLnBrk="1" latinLnBrk="0" hangingPunct="1">
                        <a:defRPr sz="1765" b="1" kern="1200">
                          <a:solidFill>
                            <a:schemeClr val="lt1"/>
                          </a:solidFill>
                          <a:latin typeface="Segoe UI Semilight"/>
                        </a:defRPr>
                      </a:lvl1pPr>
                      <a:lvl2pPr marL="457183" algn="l" defTabSz="914367" rtl="0" eaLnBrk="1" latinLnBrk="0" hangingPunct="1">
                        <a:defRPr sz="1765" b="1" kern="1200">
                          <a:solidFill>
                            <a:schemeClr val="lt1"/>
                          </a:solidFill>
                          <a:latin typeface="Segoe UI Semilight"/>
                        </a:defRPr>
                      </a:lvl2pPr>
                      <a:lvl3pPr marL="914367" algn="l" defTabSz="914367" rtl="0" eaLnBrk="1" latinLnBrk="0" hangingPunct="1">
                        <a:defRPr sz="1765" b="1" kern="1200">
                          <a:solidFill>
                            <a:schemeClr val="lt1"/>
                          </a:solidFill>
                          <a:latin typeface="Segoe UI Semilight"/>
                        </a:defRPr>
                      </a:lvl3pPr>
                      <a:lvl4pPr marL="1371550" algn="l" defTabSz="914367" rtl="0" eaLnBrk="1" latinLnBrk="0" hangingPunct="1">
                        <a:defRPr sz="1765" b="1" kern="1200">
                          <a:solidFill>
                            <a:schemeClr val="lt1"/>
                          </a:solidFill>
                          <a:latin typeface="Segoe UI Semilight"/>
                        </a:defRPr>
                      </a:lvl4pPr>
                      <a:lvl5pPr marL="1828734" algn="l" defTabSz="914367" rtl="0" eaLnBrk="1" latinLnBrk="0" hangingPunct="1">
                        <a:defRPr sz="1765" b="1" kern="1200">
                          <a:solidFill>
                            <a:schemeClr val="lt1"/>
                          </a:solidFill>
                          <a:latin typeface="Segoe UI Semilight"/>
                        </a:defRPr>
                      </a:lvl5pPr>
                      <a:lvl6pPr marL="2285918" algn="l" defTabSz="914367" rtl="0" eaLnBrk="1" latinLnBrk="0" hangingPunct="1">
                        <a:defRPr sz="1765" b="1" kern="1200">
                          <a:solidFill>
                            <a:schemeClr val="lt1"/>
                          </a:solidFill>
                          <a:latin typeface="Segoe UI Semilight"/>
                        </a:defRPr>
                      </a:lvl6pPr>
                      <a:lvl7pPr marL="2743101" algn="l" defTabSz="914367" rtl="0" eaLnBrk="1" latinLnBrk="0" hangingPunct="1">
                        <a:defRPr sz="1765" b="1" kern="1200">
                          <a:solidFill>
                            <a:schemeClr val="lt1"/>
                          </a:solidFill>
                          <a:latin typeface="Segoe UI Semilight"/>
                        </a:defRPr>
                      </a:lvl7pPr>
                      <a:lvl8pPr marL="3200284" algn="l" defTabSz="914367" rtl="0" eaLnBrk="1" latinLnBrk="0" hangingPunct="1">
                        <a:defRPr sz="1765" b="1" kern="1200">
                          <a:solidFill>
                            <a:schemeClr val="lt1"/>
                          </a:solidFill>
                          <a:latin typeface="Segoe UI Semilight"/>
                        </a:defRPr>
                      </a:lvl8pPr>
                      <a:lvl9pPr marL="3657469" algn="l" defTabSz="914367" rtl="0" eaLnBrk="1" latinLnBrk="0" hangingPunct="1">
                        <a:defRPr sz="1765" b="1" kern="1200">
                          <a:solidFill>
                            <a:schemeClr val="lt1"/>
                          </a:solidFill>
                          <a:latin typeface="Segoe UI Semilight"/>
                        </a:defRPr>
                      </a:lvl9pPr>
                    </a:lstStyle>
                    <a:p>
                      <a:r>
                        <a:rPr lang="en-US" sz="1000">
                          <a:latin typeface="Segoe UI (Body)"/>
                          <a:cs typeface="Segoe UI" panose="020B0502040204020203" pitchFamily="34" charset="0"/>
                        </a:rPr>
                        <a:t>“In a Day” motion</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cs-CZ" sz="1000" b="1">
                          <a:latin typeface="Segoe UI (Body)"/>
                          <a:cs typeface="Segoe UI" panose="020B0502040204020203" pitchFamily="34" charset="0"/>
                        </a:rPr>
                        <a:t>Server Migration in a Day</a:t>
                      </a:r>
                      <a:endParaRPr lang="en-US" sz="1000" b="1">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b="1">
                          <a:latin typeface="Segoe UI (Body)"/>
                          <a:cs typeface="Segoe UI" panose="020B0502040204020203" pitchFamily="34" charset="0"/>
                        </a:rPr>
                        <a:t>Data Modernization in a Day</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cs-CZ" sz="1000" b="1">
                          <a:latin typeface="Segoe UI (Body)"/>
                          <a:cs typeface="Segoe UI" panose="020B0502040204020203" pitchFamily="34" charset="0"/>
                        </a:rPr>
                        <a:t>WVD in a Day</a:t>
                      </a:r>
                      <a:endParaRPr lang="en-US" sz="1000" b="1">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b="1">
                          <a:latin typeface="Segoe UI (Body)"/>
                          <a:cs typeface="Segoe UI" panose="020B0502040204020203" pitchFamily="34" charset="0"/>
                        </a:rPr>
                        <a:t>Analytics in a Day</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1">
                          <a:latin typeface="Segoe UI (Body)"/>
                          <a:cs typeface="Segoe UI" panose="020B0502040204020203" pitchFamily="34" charset="0"/>
                        </a:rPr>
                        <a:t>AI in a Day</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b="1">
                          <a:latin typeface="Segoe UI (Body)"/>
                          <a:cs typeface="Segoe UI" panose="020B0502040204020203" pitchFamily="34" charset="0"/>
                        </a:rPr>
                        <a:t>Cloud Native in a Day</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cs-CZ" sz="1000" b="1">
                          <a:latin typeface="Segoe UI (Body)"/>
                          <a:cs typeface="Segoe UI" panose="020B0502040204020203" pitchFamily="34" charset="0"/>
                        </a:rPr>
                        <a:t>.NET APP Mod in a Day</a:t>
                      </a:r>
                      <a:endParaRPr lang="en-US" sz="1000" b="1">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extLst>
                  <a:ext uri="{0D108BD9-81ED-4DB2-BD59-A6C34878D82A}">
                    <a16:rowId xmlns:a16="http://schemas.microsoft.com/office/drawing/2014/main" val="3515930238"/>
                  </a:ext>
                </a:extLst>
              </a:tr>
              <a:tr h="264457">
                <a:tc>
                  <a:txBody>
                    <a:bodyPr/>
                    <a:lstStyle>
                      <a:lvl1pPr marL="0" algn="l" defTabSz="914367" rtl="0" eaLnBrk="1" latinLnBrk="0" hangingPunct="1">
                        <a:defRPr sz="1765" b="1" kern="1200">
                          <a:solidFill>
                            <a:schemeClr val="lt1"/>
                          </a:solidFill>
                          <a:latin typeface="Segoe UI Semilight"/>
                        </a:defRPr>
                      </a:lvl1pPr>
                      <a:lvl2pPr marL="457183" algn="l" defTabSz="914367" rtl="0" eaLnBrk="1" latinLnBrk="0" hangingPunct="1">
                        <a:defRPr sz="1765" b="1" kern="1200">
                          <a:solidFill>
                            <a:schemeClr val="lt1"/>
                          </a:solidFill>
                          <a:latin typeface="Segoe UI Semilight"/>
                        </a:defRPr>
                      </a:lvl2pPr>
                      <a:lvl3pPr marL="914367" algn="l" defTabSz="914367" rtl="0" eaLnBrk="1" latinLnBrk="0" hangingPunct="1">
                        <a:defRPr sz="1765" b="1" kern="1200">
                          <a:solidFill>
                            <a:schemeClr val="lt1"/>
                          </a:solidFill>
                          <a:latin typeface="Segoe UI Semilight"/>
                        </a:defRPr>
                      </a:lvl3pPr>
                      <a:lvl4pPr marL="1371550" algn="l" defTabSz="914367" rtl="0" eaLnBrk="1" latinLnBrk="0" hangingPunct="1">
                        <a:defRPr sz="1765" b="1" kern="1200">
                          <a:solidFill>
                            <a:schemeClr val="lt1"/>
                          </a:solidFill>
                          <a:latin typeface="Segoe UI Semilight"/>
                        </a:defRPr>
                      </a:lvl4pPr>
                      <a:lvl5pPr marL="1828734" algn="l" defTabSz="914367" rtl="0" eaLnBrk="1" latinLnBrk="0" hangingPunct="1">
                        <a:defRPr sz="1765" b="1" kern="1200">
                          <a:solidFill>
                            <a:schemeClr val="lt1"/>
                          </a:solidFill>
                          <a:latin typeface="Segoe UI Semilight"/>
                        </a:defRPr>
                      </a:lvl5pPr>
                      <a:lvl6pPr marL="2285918" algn="l" defTabSz="914367" rtl="0" eaLnBrk="1" latinLnBrk="0" hangingPunct="1">
                        <a:defRPr sz="1765" b="1" kern="1200">
                          <a:solidFill>
                            <a:schemeClr val="lt1"/>
                          </a:solidFill>
                          <a:latin typeface="Segoe UI Semilight"/>
                        </a:defRPr>
                      </a:lvl6pPr>
                      <a:lvl7pPr marL="2743101" algn="l" defTabSz="914367" rtl="0" eaLnBrk="1" latinLnBrk="0" hangingPunct="1">
                        <a:defRPr sz="1765" b="1" kern="1200">
                          <a:solidFill>
                            <a:schemeClr val="lt1"/>
                          </a:solidFill>
                          <a:latin typeface="Segoe UI Semilight"/>
                        </a:defRPr>
                      </a:lvl7pPr>
                      <a:lvl8pPr marL="3200284" algn="l" defTabSz="914367" rtl="0" eaLnBrk="1" latinLnBrk="0" hangingPunct="1">
                        <a:defRPr sz="1765" b="1" kern="1200">
                          <a:solidFill>
                            <a:schemeClr val="lt1"/>
                          </a:solidFill>
                          <a:latin typeface="Segoe UI Semilight"/>
                        </a:defRPr>
                      </a:lvl8pPr>
                      <a:lvl9pPr marL="3657469" algn="l" defTabSz="914367" rtl="0" eaLnBrk="1" latinLnBrk="0" hangingPunct="1">
                        <a:defRPr sz="1765" b="1" kern="1200">
                          <a:solidFill>
                            <a:schemeClr val="lt1"/>
                          </a:solidFill>
                          <a:latin typeface="Segoe UI Semilight"/>
                        </a:defRPr>
                      </a:lvl9pPr>
                    </a:lstStyle>
                    <a:p>
                      <a:r>
                        <a:rPr lang="cs-CZ" sz="1000">
                          <a:latin typeface="Segoe UI (Body)"/>
                          <a:cs typeface="Segoe UI" panose="020B0502040204020203" pitchFamily="34" charset="0"/>
                        </a:rPr>
                        <a:t>Persona</a:t>
                      </a:r>
                      <a:endParaRPr lang="en-US" sz="1000">
                        <a:latin typeface="Segoe UI (Body)"/>
                        <a:cs typeface="Segoe UI" panose="020B0502040204020203"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IT Pro /TDM</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DBA/ TDM</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BDM/ CXO</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BDM/ CXO</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Data Scientis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Dev/TDM</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Dev/TDM</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extLst>
                  <a:ext uri="{0D108BD9-81ED-4DB2-BD59-A6C34878D82A}">
                    <a16:rowId xmlns:a16="http://schemas.microsoft.com/office/drawing/2014/main" val="3979842254"/>
                  </a:ext>
                </a:extLst>
              </a:tr>
              <a:tr h="264457">
                <a:tc>
                  <a:txBody>
                    <a:bodyPr/>
                    <a:lstStyle>
                      <a:lvl1pPr marL="0" algn="l" defTabSz="914367" rtl="0" eaLnBrk="1" latinLnBrk="0" hangingPunct="1">
                        <a:defRPr sz="1765" b="1" kern="1200">
                          <a:solidFill>
                            <a:schemeClr val="lt1"/>
                          </a:solidFill>
                          <a:latin typeface="Segoe UI Semilight"/>
                        </a:defRPr>
                      </a:lvl1pPr>
                      <a:lvl2pPr marL="457183" algn="l" defTabSz="914367" rtl="0" eaLnBrk="1" latinLnBrk="0" hangingPunct="1">
                        <a:defRPr sz="1765" b="1" kern="1200">
                          <a:solidFill>
                            <a:schemeClr val="lt1"/>
                          </a:solidFill>
                          <a:latin typeface="Segoe UI Semilight"/>
                        </a:defRPr>
                      </a:lvl2pPr>
                      <a:lvl3pPr marL="914367" algn="l" defTabSz="914367" rtl="0" eaLnBrk="1" latinLnBrk="0" hangingPunct="1">
                        <a:defRPr sz="1765" b="1" kern="1200">
                          <a:solidFill>
                            <a:schemeClr val="lt1"/>
                          </a:solidFill>
                          <a:latin typeface="Segoe UI Semilight"/>
                        </a:defRPr>
                      </a:lvl3pPr>
                      <a:lvl4pPr marL="1371550" algn="l" defTabSz="914367" rtl="0" eaLnBrk="1" latinLnBrk="0" hangingPunct="1">
                        <a:defRPr sz="1765" b="1" kern="1200">
                          <a:solidFill>
                            <a:schemeClr val="lt1"/>
                          </a:solidFill>
                          <a:latin typeface="Segoe UI Semilight"/>
                        </a:defRPr>
                      </a:lvl4pPr>
                      <a:lvl5pPr marL="1828734" algn="l" defTabSz="914367" rtl="0" eaLnBrk="1" latinLnBrk="0" hangingPunct="1">
                        <a:defRPr sz="1765" b="1" kern="1200">
                          <a:solidFill>
                            <a:schemeClr val="lt1"/>
                          </a:solidFill>
                          <a:latin typeface="Segoe UI Semilight"/>
                        </a:defRPr>
                      </a:lvl5pPr>
                      <a:lvl6pPr marL="2285918" algn="l" defTabSz="914367" rtl="0" eaLnBrk="1" latinLnBrk="0" hangingPunct="1">
                        <a:defRPr sz="1765" b="1" kern="1200">
                          <a:solidFill>
                            <a:schemeClr val="lt1"/>
                          </a:solidFill>
                          <a:latin typeface="Segoe UI Semilight"/>
                        </a:defRPr>
                      </a:lvl6pPr>
                      <a:lvl7pPr marL="2743101" algn="l" defTabSz="914367" rtl="0" eaLnBrk="1" latinLnBrk="0" hangingPunct="1">
                        <a:defRPr sz="1765" b="1" kern="1200">
                          <a:solidFill>
                            <a:schemeClr val="lt1"/>
                          </a:solidFill>
                          <a:latin typeface="Segoe UI Semilight"/>
                        </a:defRPr>
                      </a:lvl7pPr>
                      <a:lvl8pPr marL="3200284" algn="l" defTabSz="914367" rtl="0" eaLnBrk="1" latinLnBrk="0" hangingPunct="1">
                        <a:defRPr sz="1765" b="1" kern="1200">
                          <a:solidFill>
                            <a:schemeClr val="lt1"/>
                          </a:solidFill>
                          <a:latin typeface="Segoe UI Semilight"/>
                        </a:defRPr>
                      </a:lvl8pPr>
                      <a:lvl9pPr marL="3657469" algn="l" defTabSz="914367" rtl="0" eaLnBrk="1" latinLnBrk="0" hangingPunct="1">
                        <a:defRPr sz="1765" b="1" kern="1200">
                          <a:solidFill>
                            <a:schemeClr val="lt1"/>
                          </a:solidFill>
                          <a:latin typeface="Segoe UI Semilight"/>
                        </a:defRPr>
                      </a:lvl9pPr>
                    </a:lstStyle>
                    <a:p>
                      <a:r>
                        <a:rPr lang="en-US" sz="1000">
                          <a:latin typeface="Segoe UI (Body)"/>
                          <a:cs typeface="Segoe UI" panose="020B0502040204020203" pitchFamily="34" charset="0"/>
                        </a:rPr>
                        <a:t>Current statu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a:latin typeface="Segoe UI (Body)"/>
                          <a:cs typeface="Segoe UI" panose="020B0502040204020203" pitchFamily="34" charset="0"/>
                        </a:rPr>
                        <a:t>FY21 Q1</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a:latin typeface="Segoe UI (Body)"/>
                          <a:cs typeface="Segoe UI" panose="020B0502040204020203" pitchFamily="34" charset="0"/>
                        </a:rPr>
                        <a:t>CEE </a:t>
                      </a:r>
                      <a:r>
                        <a:rPr lang="en-US" sz="1000">
                          <a:latin typeface="Segoe UI (Body)"/>
                          <a:cs typeface="Segoe UI" panose="020B0502040204020203" pitchFamily="34" charset="0"/>
                        </a:rPr>
                        <a:t>Landed </a:t>
                      </a:r>
                      <a:r>
                        <a:rPr lang="cs-CZ" sz="1000">
                          <a:latin typeface="Segoe UI (Body)"/>
                          <a:cs typeface="Segoe UI" panose="020B0502040204020203" pitchFamily="34" charset="0"/>
                        </a:rPr>
                        <a:t> </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a:latin typeface="Segoe UI (Body)"/>
                          <a:cs typeface="Segoe UI" panose="020B0502040204020203" pitchFamily="34" charset="0"/>
                        </a:rPr>
                        <a:t>FY21 Q1</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a:latin typeface="Segoe UI (Body)"/>
                          <a:cs typeface="Segoe UI" panose="020B0502040204020203" pitchFamily="34" charset="0"/>
                        </a:rPr>
                        <a:t>CEE </a:t>
                      </a:r>
                      <a:r>
                        <a:rPr lang="en-US" sz="1000">
                          <a:latin typeface="Segoe UI (Body)"/>
                          <a:cs typeface="Segoe UI" panose="020B0502040204020203" pitchFamily="34" charset="0"/>
                        </a:rPr>
                        <a:t>Landed </a:t>
                      </a:r>
                      <a:r>
                        <a:rPr lang="cs-CZ" sz="1000">
                          <a:latin typeface="Segoe UI (Body)"/>
                          <a:cs typeface="Segoe UI" panose="020B0502040204020203" pitchFamily="34" charset="0"/>
                        </a:rPr>
                        <a:t> </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a:latin typeface="Segoe UI (Body)"/>
                          <a:cs typeface="Segoe UI" panose="020B0502040204020203" pitchFamily="34" charset="0"/>
                        </a:rPr>
                        <a:t>CEE Landed</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a:latin typeface="Segoe UI (Body)"/>
                          <a:cs typeface="Segoe UI" panose="020B0502040204020203" pitchFamily="34" charset="0"/>
                        </a:rPr>
                        <a:t>CEE </a:t>
                      </a:r>
                      <a:r>
                        <a:rPr lang="en-US" sz="1000">
                          <a:latin typeface="Segoe UI (Body)"/>
                          <a:cs typeface="Segoe UI" panose="020B0502040204020203" pitchFamily="34" charset="0"/>
                        </a:rPr>
                        <a:t>Landed </a:t>
                      </a:r>
                      <a:r>
                        <a:rPr lang="cs-CZ" sz="1000">
                          <a:latin typeface="Segoe UI (Body)"/>
                          <a:cs typeface="Segoe UI" panose="020B0502040204020203" pitchFamily="34" charset="0"/>
                        </a:rPr>
                        <a:t> </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a:latin typeface="Segoe UI (Body)"/>
                          <a:cs typeface="Segoe UI" panose="020B0502040204020203" pitchFamily="34" charset="0"/>
                        </a:rPr>
                        <a:t>CEE Landed </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extLst>
                  <a:ext uri="{0D108BD9-81ED-4DB2-BD59-A6C34878D82A}">
                    <a16:rowId xmlns:a16="http://schemas.microsoft.com/office/drawing/2014/main" val="3740739099"/>
                  </a:ext>
                </a:extLst>
              </a:tr>
              <a:tr h="601038">
                <a:tc>
                  <a:txBody>
                    <a:bodyPr/>
                    <a:lstStyle>
                      <a:lvl1pPr marL="0" algn="l" defTabSz="914367" rtl="0" eaLnBrk="1" latinLnBrk="0" hangingPunct="1">
                        <a:defRPr sz="1765" b="1" kern="1200">
                          <a:solidFill>
                            <a:schemeClr val="lt1"/>
                          </a:solidFill>
                          <a:latin typeface="Segoe UI Semilight"/>
                        </a:defRPr>
                      </a:lvl1pPr>
                      <a:lvl2pPr marL="457183" algn="l" defTabSz="914367" rtl="0" eaLnBrk="1" latinLnBrk="0" hangingPunct="1">
                        <a:defRPr sz="1765" b="1" kern="1200">
                          <a:solidFill>
                            <a:schemeClr val="lt1"/>
                          </a:solidFill>
                          <a:latin typeface="Segoe UI Semilight"/>
                        </a:defRPr>
                      </a:lvl2pPr>
                      <a:lvl3pPr marL="914367" algn="l" defTabSz="914367" rtl="0" eaLnBrk="1" latinLnBrk="0" hangingPunct="1">
                        <a:defRPr sz="1765" b="1" kern="1200">
                          <a:solidFill>
                            <a:schemeClr val="lt1"/>
                          </a:solidFill>
                          <a:latin typeface="Segoe UI Semilight"/>
                        </a:defRPr>
                      </a:lvl3pPr>
                      <a:lvl4pPr marL="1371550" algn="l" defTabSz="914367" rtl="0" eaLnBrk="1" latinLnBrk="0" hangingPunct="1">
                        <a:defRPr sz="1765" b="1" kern="1200">
                          <a:solidFill>
                            <a:schemeClr val="lt1"/>
                          </a:solidFill>
                          <a:latin typeface="Segoe UI Semilight"/>
                        </a:defRPr>
                      </a:lvl4pPr>
                      <a:lvl5pPr marL="1828734" algn="l" defTabSz="914367" rtl="0" eaLnBrk="1" latinLnBrk="0" hangingPunct="1">
                        <a:defRPr sz="1765" b="1" kern="1200">
                          <a:solidFill>
                            <a:schemeClr val="lt1"/>
                          </a:solidFill>
                          <a:latin typeface="Segoe UI Semilight"/>
                        </a:defRPr>
                      </a:lvl5pPr>
                      <a:lvl6pPr marL="2285918" algn="l" defTabSz="914367" rtl="0" eaLnBrk="1" latinLnBrk="0" hangingPunct="1">
                        <a:defRPr sz="1765" b="1" kern="1200">
                          <a:solidFill>
                            <a:schemeClr val="lt1"/>
                          </a:solidFill>
                          <a:latin typeface="Segoe UI Semilight"/>
                        </a:defRPr>
                      </a:lvl6pPr>
                      <a:lvl7pPr marL="2743101" algn="l" defTabSz="914367" rtl="0" eaLnBrk="1" latinLnBrk="0" hangingPunct="1">
                        <a:defRPr sz="1765" b="1" kern="1200">
                          <a:solidFill>
                            <a:schemeClr val="lt1"/>
                          </a:solidFill>
                          <a:latin typeface="Segoe UI Semilight"/>
                        </a:defRPr>
                      </a:lvl7pPr>
                      <a:lvl8pPr marL="3200284" algn="l" defTabSz="914367" rtl="0" eaLnBrk="1" latinLnBrk="0" hangingPunct="1">
                        <a:defRPr sz="1765" b="1" kern="1200">
                          <a:solidFill>
                            <a:schemeClr val="lt1"/>
                          </a:solidFill>
                          <a:latin typeface="Segoe UI Semilight"/>
                        </a:defRPr>
                      </a:lvl8pPr>
                      <a:lvl9pPr marL="3657469" algn="l" defTabSz="914367" rtl="0" eaLnBrk="1" latinLnBrk="0" hangingPunct="1">
                        <a:defRPr sz="1765" b="1" kern="1200">
                          <a:solidFill>
                            <a:schemeClr val="lt1"/>
                          </a:solidFill>
                          <a:latin typeface="Segoe UI Semilight"/>
                        </a:defRPr>
                      </a:lvl9pPr>
                    </a:lstStyle>
                    <a:p>
                      <a:r>
                        <a:rPr lang="en-US" sz="1000">
                          <a:latin typeface="Segoe UI (Body)"/>
                          <a:cs typeface="Segoe UI" panose="020B0502040204020203" pitchFamily="34" charset="0"/>
                        </a:rPr>
                        <a:t>Products/</a:t>
                      </a:r>
                      <a:r>
                        <a:rPr lang="cs-CZ" sz="1000">
                          <a:latin typeface="Segoe UI (Body)"/>
                          <a:cs typeface="Segoe UI" panose="020B0502040204020203" pitchFamily="34" charset="0"/>
                        </a:rPr>
                        <a:t> </a:t>
                      </a:r>
                      <a:r>
                        <a:rPr lang="en-US" sz="1000">
                          <a:latin typeface="Segoe UI (Body)"/>
                          <a:cs typeface="Segoe UI" panose="020B0502040204020203" pitchFamily="34" charset="0"/>
                        </a:rPr>
                        <a:t>Service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a:latin typeface="Segoe UI (Body)"/>
                          <a:cs typeface="Segoe UI" panose="020B0502040204020203" pitchFamily="34" charset="0"/>
                        </a:rPr>
                        <a:t>WS, Linux, SQL</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SQL DB, SQL IaaS</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a:latin typeface="Segoe UI (Body)"/>
                          <a:cs typeface="Segoe UI" panose="020B0502040204020203" pitchFamily="34" charset="0"/>
                        </a:rPr>
                        <a:t>WVD</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Analytics, </a:t>
                      </a:r>
                      <a:r>
                        <a:rPr lang="cs-CZ" sz="1000">
                          <a:latin typeface="Segoe UI (Body)"/>
                          <a:cs typeface="Segoe UI" panose="020B0502040204020203" pitchFamily="34" charset="0"/>
                        </a:rPr>
                        <a:t>Synapse, </a:t>
                      </a:r>
                      <a:r>
                        <a:rPr lang="en-US" sz="1000">
                          <a:latin typeface="Segoe UI (Body)"/>
                          <a:cs typeface="Segoe UI" panose="020B0502040204020203" pitchFamily="34" charset="0"/>
                        </a:rPr>
                        <a:t>AI</a:t>
                      </a:r>
                      <a:r>
                        <a:rPr lang="cs-CZ" sz="1000">
                          <a:latin typeface="Segoe UI (Body)"/>
                          <a:cs typeface="Segoe UI" panose="020B0502040204020203" pitchFamily="34" charset="0"/>
                        </a:rPr>
                        <a:t>, PBI</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rPr>
                        <a:t>Azure AI</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a:latin typeface="Segoe UI (Body)"/>
                          <a:cs typeface="Segoe UI" panose="020B0502040204020203" pitchFamily="34" charset="0"/>
                        </a:rPr>
                        <a:t>APS, </a:t>
                      </a:r>
                      <a:r>
                        <a:rPr lang="en-US" sz="1000">
                          <a:latin typeface="Segoe UI (Body)"/>
                          <a:cs typeface="Segoe UI" panose="020B0502040204020203" pitchFamily="34" charset="0"/>
                        </a:rPr>
                        <a:t>AKS, </a:t>
                      </a:r>
                      <a:r>
                        <a:rPr lang="cs-CZ" sz="1000">
                          <a:latin typeface="Segoe UI (Body)"/>
                          <a:cs typeface="Segoe UI" panose="020B0502040204020203" pitchFamily="34" charset="0"/>
                        </a:rPr>
                        <a:t>OSS DB, AI, </a:t>
                      </a:r>
                      <a:r>
                        <a:rPr lang="en-US" sz="1000">
                          <a:latin typeface="Segoe UI (Body)"/>
                          <a:cs typeface="Segoe UI" panose="020B0502040204020203" pitchFamily="34" charset="0"/>
                        </a:rPr>
                        <a:t>DevOps, Cosmos DB</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a:latin typeface="Segoe UI (Body)"/>
                          <a:cs typeface="Segoe UI" panose="020B0502040204020203" pitchFamily="34" charset="0"/>
                        </a:rPr>
                        <a:t>APS, AKS, SQL DB, AI</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extLst>
                  <a:ext uri="{0D108BD9-81ED-4DB2-BD59-A6C34878D82A}">
                    <a16:rowId xmlns:a16="http://schemas.microsoft.com/office/drawing/2014/main" val="2096562119"/>
                  </a:ext>
                </a:extLst>
              </a:tr>
              <a:tr h="601038">
                <a:tc>
                  <a:txBody>
                    <a:bodyPr/>
                    <a:lstStyle>
                      <a:lvl1pPr marL="0" algn="l" defTabSz="914367" rtl="0" eaLnBrk="1" latinLnBrk="0" hangingPunct="1">
                        <a:defRPr sz="1765" b="1" kern="1200">
                          <a:solidFill>
                            <a:schemeClr val="lt1"/>
                          </a:solidFill>
                          <a:latin typeface="Segoe UI Semilight"/>
                        </a:defRPr>
                      </a:lvl1pPr>
                      <a:lvl2pPr marL="457183" algn="l" defTabSz="914367" rtl="0" eaLnBrk="1" latinLnBrk="0" hangingPunct="1">
                        <a:defRPr sz="1765" b="1" kern="1200">
                          <a:solidFill>
                            <a:schemeClr val="lt1"/>
                          </a:solidFill>
                          <a:latin typeface="Segoe UI Semilight"/>
                        </a:defRPr>
                      </a:lvl2pPr>
                      <a:lvl3pPr marL="914367" algn="l" defTabSz="914367" rtl="0" eaLnBrk="1" latinLnBrk="0" hangingPunct="1">
                        <a:defRPr sz="1765" b="1" kern="1200">
                          <a:solidFill>
                            <a:schemeClr val="lt1"/>
                          </a:solidFill>
                          <a:latin typeface="Segoe UI Semilight"/>
                        </a:defRPr>
                      </a:lvl3pPr>
                      <a:lvl4pPr marL="1371550" algn="l" defTabSz="914367" rtl="0" eaLnBrk="1" latinLnBrk="0" hangingPunct="1">
                        <a:defRPr sz="1765" b="1" kern="1200">
                          <a:solidFill>
                            <a:schemeClr val="lt1"/>
                          </a:solidFill>
                          <a:latin typeface="Segoe UI Semilight"/>
                        </a:defRPr>
                      </a:lvl4pPr>
                      <a:lvl5pPr marL="1828734" algn="l" defTabSz="914367" rtl="0" eaLnBrk="1" latinLnBrk="0" hangingPunct="1">
                        <a:defRPr sz="1765" b="1" kern="1200">
                          <a:solidFill>
                            <a:schemeClr val="lt1"/>
                          </a:solidFill>
                          <a:latin typeface="Segoe UI Semilight"/>
                        </a:defRPr>
                      </a:lvl5pPr>
                      <a:lvl6pPr marL="2285918" algn="l" defTabSz="914367" rtl="0" eaLnBrk="1" latinLnBrk="0" hangingPunct="1">
                        <a:defRPr sz="1765" b="1" kern="1200">
                          <a:solidFill>
                            <a:schemeClr val="lt1"/>
                          </a:solidFill>
                          <a:latin typeface="Segoe UI Semilight"/>
                        </a:defRPr>
                      </a:lvl6pPr>
                      <a:lvl7pPr marL="2743101" algn="l" defTabSz="914367" rtl="0" eaLnBrk="1" latinLnBrk="0" hangingPunct="1">
                        <a:defRPr sz="1765" b="1" kern="1200">
                          <a:solidFill>
                            <a:schemeClr val="lt1"/>
                          </a:solidFill>
                          <a:latin typeface="Segoe UI Semilight"/>
                        </a:defRPr>
                      </a:lvl7pPr>
                      <a:lvl8pPr marL="3200284" algn="l" defTabSz="914367" rtl="0" eaLnBrk="1" latinLnBrk="0" hangingPunct="1">
                        <a:defRPr sz="1765" b="1" kern="1200">
                          <a:solidFill>
                            <a:schemeClr val="lt1"/>
                          </a:solidFill>
                          <a:latin typeface="Segoe UI Semilight"/>
                        </a:defRPr>
                      </a:lvl8pPr>
                      <a:lvl9pPr marL="3657469" algn="l" defTabSz="914367" rtl="0" eaLnBrk="1" latinLnBrk="0" hangingPunct="1">
                        <a:defRPr sz="1765" b="1" kern="1200">
                          <a:solidFill>
                            <a:schemeClr val="lt1"/>
                          </a:solidFill>
                          <a:latin typeface="Segoe UI Semilight"/>
                        </a:defRPr>
                      </a:lvl9pPr>
                    </a:lstStyle>
                    <a:p>
                      <a:r>
                        <a:rPr lang="en-US" sz="1000">
                          <a:latin typeface="Segoe UI (Body)"/>
                          <a:cs typeface="Segoe UI" panose="020B0502040204020203" pitchFamily="34" charset="0"/>
                        </a:rPr>
                        <a:t>Partner TTT Link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900" i="1">
                          <a:latin typeface="Segoe UI (Body)"/>
                          <a:cs typeface="Segoe UI" panose="020B0502040204020203" pitchFamily="34" charset="0"/>
                        </a:rPr>
                        <a:t>Coming soon</a:t>
                      </a:r>
                      <a:endParaRPr lang="en-US" sz="900" i="1">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hlinkClick r:id="rId4"/>
                        </a:rPr>
                        <a:t>DMIAD TTT Resources</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marL="0" marR="0" lvl="0" indent="0" algn="ctr" defTabSz="716351" rtl="0" eaLnBrk="1" fontAlgn="auto" latinLnBrk="0" hangingPunct="1">
                        <a:lnSpc>
                          <a:spcPct val="100000"/>
                        </a:lnSpc>
                        <a:spcBef>
                          <a:spcPts val="0"/>
                        </a:spcBef>
                        <a:spcAft>
                          <a:spcPts val="0"/>
                        </a:spcAft>
                        <a:buClrTx/>
                        <a:buSzTx/>
                        <a:buFontTx/>
                        <a:buNone/>
                        <a:tabLst/>
                        <a:defRPr/>
                      </a:pPr>
                      <a:r>
                        <a:rPr kumimoji="0" lang="cs-CZ" sz="900" b="0" i="1" u="none" strike="noStrike" kern="1200" cap="none" spc="0" normalizeH="0" baseline="0" noProof="0">
                          <a:ln>
                            <a:noFill/>
                          </a:ln>
                          <a:solidFill>
                            <a:srgbClr val="505050"/>
                          </a:solidFill>
                          <a:effectLst/>
                          <a:uLnTx/>
                          <a:uFillTx/>
                          <a:latin typeface="Segoe UI (Body)"/>
                          <a:ea typeface="+mn-ea"/>
                          <a:cs typeface="Segoe UI" panose="020B0502040204020203" pitchFamily="34" charset="0"/>
                        </a:rPr>
                        <a:t>Coming soon</a:t>
                      </a:r>
                      <a:endParaRPr kumimoji="0" lang="en-US" sz="900" b="0" i="1" u="none" strike="noStrike" kern="1200" cap="none" spc="0" normalizeH="0" baseline="0" noProof="0">
                        <a:ln>
                          <a:noFill/>
                        </a:ln>
                        <a:solidFill>
                          <a:srgbClr val="505050"/>
                        </a:solidFill>
                        <a:effectLst/>
                        <a:uLnTx/>
                        <a:uFillTx/>
                        <a:latin typeface="Segoe UI (Body)"/>
                        <a:ea typeface="+mn-ea"/>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hlinkClick r:id="rId5"/>
                        </a:rPr>
                        <a:t>Analytics in a Day TTT Resources</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accent1"/>
                          </a:solidFill>
                          <a:latin typeface="Segoe UI (Body)"/>
                          <a:cs typeface="Segoe UI" panose="020B0502040204020203" pitchFamily="34" charset="0"/>
                          <a:hlinkClick r:id="rId6">
                            <a:extLst>
                              <a:ext uri="{A12FA001-AC4F-418D-AE19-62706E023703}">
                                <ahyp:hlinkClr xmlns:ahyp="http://schemas.microsoft.com/office/drawing/2018/hyperlinkcolor" val="tx"/>
                              </a:ext>
                            </a:extLst>
                          </a:hlinkClick>
                        </a:rPr>
                        <a:t>AI in a Day TTT Resources</a:t>
                      </a:r>
                      <a:endParaRPr lang="en-US" sz="1000">
                        <a:solidFill>
                          <a:schemeClr val="accent1"/>
                        </a:solidFill>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en-US" sz="1000">
                          <a:latin typeface="Segoe UI (Body)"/>
                          <a:cs typeface="Segoe UI" panose="020B0502040204020203" pitchFamily="34" charset="0"/>
                          <a:hlinkClick r:id="rId7"/>
                        </a:rPr>
                        <a:t>Cloud Native in a Day TTT Resources</a:t>
                      </a:r>
                      <a:endParaRPr lang="en-US" sz="1000">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a:solidFill>
                            <a:schemeClr val="tx2"/>
                          </a:solidFill>
                          <a:latin typeface="Segoe UI (Body)"/>
                          <a:ea typeface="+mn-ea"/>
                          <a:cs typeface="Segoe UI" panose="020B0502040204020203" pitchFamily="34" charset="0"/>
                          <a:hlinkClick r:id="rId8">
                            <a:extLst>
                              <a:ext uri="{A12FA001-AC4F-418D-AE19-62706E023703}">
                                <ahyp:hlinkClr xmlns:ahyp="http://schemas.microsoft.com/office/drawing/2018/hyperlinkcolor" val="tx"/>
                              </a:ext>
                            </a:extLst>
                          </a:hlinkClick>
                        </a:rPr>
                        <a:t>.NET Modernization in a Day partner TTT resources</a:t>
                      </a:r>
                      <a:endParaRPr lang="en-US" sz="1000" kern="1200">
                        <a:solidFill>
                          <a:schemeClr val="tx2"/>
                        </a:solidFill>
                        <a:latin typeface="Segoe UI (Body)"/>
                        <a:ea typeface="+mn-ea"/>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20000"/>
                      </a:srgbClr>
                    </a:solidFill>
                  </a:tcPr>
                </a:tc>
                <a:extLst>
                  <a:ext uri="{0D108BD9-81ED-4DB2-BD59-A6C34878D82A}">
                    <a16:rowId xmlns:a16="http://schemas.microsoft.com/office/drawing/2014/main" val="785978628"/>
                  </a:ext>
                </a:extLst>
              </a:tr>
              <a:tr h="264457">
                <a:tc>
                  <a:txBody>
                    <a:bodyPr/>
                    <a:lstStyle>
                      <a:lvl1pPr marL="0" algn="l" defTabSz="914367" rtl="0" eaLnBrk="1" latinLnBrk="0" hangingPunct="1">
                        <a:defRPr sz="1765" b="1" kern="1200">
                          <a:solidFill>
                            <a:schemeClr val="lt1"/>
                          </a:solidFill>
                          <a:latin typeface="Segoe UI Semilight"/>
                        </a:defRPr>
                      </a:lvl1pPr>
                      <a:lvl2pPr marL="457183" algn="l" defTabSz="914367" rtl="0" eaLnBrk="1" latinLnBrk="0" hangingPunct="1">
                        <a:defRPr sz="1765" b="1" kern="1200">
                          <a:solidFill>
                            <a:schemeClr val="lt1"/>
                          </a:solidFill>
                          <a:latin typeface="Segoe UI Semilight"/>
                        </a:defRPr>
                      </a:lvl2pPr>
                      <a:lvl3pPr marL="914367" algn="l" defTabSz="914367" rtl="0" eaLnBrk="1" latinLnBrk="0" hangingPunct="1">
                        <a:defRPr sz="1765" b="1" kern="1200">
                          <a:solidFill>
                            <a:schemeClr val="lt1"/>
                          </a:solidFill>
                          <a:latin typeface="Segoe UI Semilight"/>
                        </a:defRPr>
                      </a:lvl3pPr>
                      <a:lvl4pPr marL="1371550" algn="l" defTabSz="914367" rtl="0" eaLnBrk="1" latinLnBrk="0" hangingPunct="1">
                        <a:defRPr sz="1765" b="1" kern="1200">
                          <a:solidFill>
                            <a:schemeClr val="lt1"/>
                          </a:solidFill>
                          <a:latin typeface="Segoe UI Semilight"/>
                        </a:defRPr>
                      </a:lvl4pPr>
                      <a:lvl5pPr marL="1828734" algn="l" defTabSz="914367" rtl="0" eaLnBrk="1" latinLnBrk="0" hangingPunct="1">
                        <a:defRPr sz="1765" b="1" kern="1200">
                          <a:solidFill>
                            <a:schemeClr val="lt1"/>
                          </a:solidFill>
                          <a:latin typeface="Segoe UI Semilight"/>
                        </a:defRPr>
                      </a:lvl5pPr>
                      <a:lvl6pPr marL="2285918" algn="l" defTabSz="914367" rtl="0" eaLnBrk="1" latinLnBrk="0" hangingPunct="1">
                        <a:defRPr sz="1765" b="1" kern="1200">
                          <a:solidFill>
                            <a:schemeClr val="lt1"/>
                          </a:solidFill>
                          <a:latin typeface="Segoe UI Semilight"/>
                        </a:defRPr>
                      </a:lvl6pPr>
                      <a:lvl7pPr marL="2743101" algn="l" defTabSz="914367" rtl="0" eaLnBrk="1" latinLnBrk="0" hangingPunct="1">
                        <a:defRPr sz="1765" b="1" kern="1200">
                          <a:solidFill>
                            <a:schemeClr val="lt1"/>
                          </a:solidFill>
                          <a:latin typeface="Segoe UI Semilight"/>
                        </a:defRPr>
                      </a:lvl7pPr>
                      <a:lvl8pPr marL="3200284" algn="l" defTabSz="914367" rtl="0" eaLnBrk="1" latinLnBrk="0" hangingPunct="1">
                        <a:defRPr sz="1765" b="1" kern="1200">
                          <a:solidFill>
                            <a:schemeClr val="lt1"/>
                          </a:solidFill>
                          <a:latin typeface="Segoe UI Semilight"/>
                        </a:defRPr>
                      </a:lvl8pPr>
                      <a:lvl9pPr marL="3657469" algn="l" defTabSz="914367" rtl="0" eaLnBrk="1" latinLnBrk="0" hangingPunct="1">
                        <a:defRPr sz="1765" b="1" kern="1200">
                          <a:solidFill>
                            <a:schemeClr val="lt1"/>
                          </a:solidFill>
                          <a:latin typeface="Segoe UI Semilight"/>
                        </a:defRPr>
                      </a:lvl9pPr>
                    </a:lstStyle>
                    <a:p>
                      <a:r>
                        <a:rPr lang="cs-CZ" sz="1000">
                          <a:latin typeface="Segoe UI (Body)"/>
                          <a:cs typeface="Segoe UI" panose="020B0502040204020203" pitchFamily="34" charset="0"/>
                        </a:rPr>
                        <a:t>Priority</a:t>
                      </a:r>
                      <a:endParaRPr lang="en-US" sz="1000">
                        <a:latin typeface="Segoe UI (Body)"/>
                        <a:cs typeface="Segoe UI" panose="020B0502040204020203"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a:solidFill>
                            <a:schemeClr val="dk1"/>
                          </a:solidFill>
                          <a:latin typeface="Segoe UI (Body)"/>
                          <a:ea typeface="+mn-ea"/>
                          <a:cs typeface="Segoe UI" panose="020B0502040204020203" pitchFamily="34" charset="0"/>
                        </a:rPr>
                        <a:t>MIGRATE </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b="1">
                          <a:latin typeface="Segoe UI (Body)"/>
                          <a:cs typeface="Segoe UI" panose="020B0502040204020203" pitchFamily="34" charset="0"/>
                        </a:rPr>
                        <a:t>MIGRATE</a:t>
                      </a:r>
                      <a:endParaRPr lang="en-US" sz="1000" b="1">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000" b="1">
                          <a:latin typeface="Segoe UI (Body)"/>
                          <a:cs typeface="Segoe UI" panose="020B0502040204020203" pitchFamily="34" charset="0"/>
                        </a:rPr>
                        <a:t>MIGRATE </a:t>
                      </a:r>
                      <a:endParaRPr lang="en-US" sz="1000" b="1">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b="1">
                          <a:latin typeface="Segoe UI (Body)"/>
                          <a:cs typeface="Segoe UI" panose="020B0502040204020203" pitchFamily="34" charset="0"/>
                        </a:rPr>
                        <a:t>INNOVATE</a:t>
                      </a:r>
                      <a:endParaRPr lang="en-US" sz="1000" b="1">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000" b="1">
                          <a:latin typeface="Segoe UI (Body)"/>
                          <a:cs typeface="Segoe UI" panose="020B0502040204020203" pitchFamily="34" charset="0"/>
                        </a:rPr>
                        <a:t>INNOVATE</a:t>
                      </a:r>
                      <a:endParaRPr lang="en-US" sz="1000" b="1">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algn="ctr"/>
                      <a:r>
                        <a:rPr lang="cs-CZ" sz="1000" b="1">
                          <a:latin typeface="Segoe UI (Body)"/>
                          <a:cs typeface="Segoe UI" panose="020B0502040204020203" pitchFamily="34" charset="0"/>
                        </a:rPr>
                        <a:t>INNOVATE</a:t>
                      </a:r>
                      <a:endParaRPr lang="en-US" sz="1000" b="1">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tc>
                  <a:txBody>
                    <a:bodyPr/>
                    <a:lstStyle>
                      <a:lvl1pPr marL="0" algn="l" defTabSz="914367" rtl="0" eaLnBrk="1" latinLnBrk="0" hangingPunct="1">
                        <a:defRPr sz="1765" kern="1200">
                          <a:solidFill>
                            <a:schemeClr val="dk1"/>
                          </a:solidFill>
                          <a:latin typeface="Segoe UI Semilight"/>
                        </a:defRPr>
                      </a:lvl1pPr>
                      <a:lvl2pPr marL="457183" algn="l" defTabSz="914367" rtl="0" eaLnBrk="1" latinLnBrk="0" hangingPunct="1">
                        <a:defRPr sz="1765" kern="1200">
                          <a:solidFill>
                            <a:schemeClr val="dk1"/>
                          </a:solidFill>
                          <a:latin typeface="Segoe UI Semilight"/>
                        </a:defRPr>
                      </a:lvl2pPr>
                      <a:lvl3pPr marL="914367" algn="l" defTabSz="914367" rtl="0" eaLnBrk="1" latinLnBrk="0" hangingPunct="1">
                        <a:defRPr sz="1765" kern="1200">
                          <a:solidFill>
                            <a:schemeClr val="dk1"/>
                          </a:solidFill>
                          <a:latin typeface="Segoe UI Semilight"/>
                        </a:defRPr>
                      </a:lvl3pPr>
                      <a:lvl4pPr marL="1371550" algn="l" defTabSz="914367" rtl="0" eaLnBrk="1" latinLnBrk="0" hangingPunct="1">
                        <a:defRPr sz="1765" kern="1200">
                          <a:solidFill>
                            <a:schemeClr val="dk1"/>
                          </a:solidFill>
                          <a:latin typeface="Segoe UI Semilight"/>
                        </a:defRPr>
                      </a:lvl4pPr>
                      <a:lvl5pPr marL="1828734" algn="l" defTabSz="914367" rtl="0" eaLnBrk="1" latinLnBrk="0" hangingPunct="1">
                        <a:defRPr sz="1765" kern="1200">
                          <a:solidFill>
                            <a:schemeClr val="dk1"/>
                          </a:solidFill>
                          <a:latin typeface="Segoe UI Semilight"/>
                        </a:defRPr>
                      </a:lvl5pPr>
                      <a:lvl6pPr marL="2285918" algn="l" defTabSz="914367" rtl="0" eaLnBrk="1" latinLnBrk="0" hangingPunct="1">
                        <a:defRPr sz="1765" kern="1200">
                          <a:solidFill>
                            <a:schemeClr val="dk1"/>
                          </a:solidFill>
                          <a:latin typeface="Segoe UI Semilight"/>
                        </a:defRPr>
                      </a:lvl6pPr>
                      <a:lvl7pPr marL="2743101" algn="l" defTabSz="914367" rtl="0" eaLnBrk="1" latinLnBrk="0" hangingPunct="1">
                        <a:defRPr sz="1765" kern="1200">
                          <a:solidFill>
                            <a:schemeClr val="dk1"/>
                          </a:solidFill>
                          <a:latin typeface="Segoe UI Semilight"/>
                        </a:defRPr>
                      </a:lvl7pPr>
                      <a:lvl8pPr marL="3200284" algn="l" defTabSz="914367" rtl="0" eaLnBrk="1" latinLnBrk="0" hangingPunct="1">
                        <a:defRPr sz="1765" kern="1200">
                          <a:solidFill>
                            <a:schemeClr val="dk1"/>
                          </a:solidFill>
                          <a:latin typeface="Segoe UI Semilight"/>
                        </a:defRPr>
                      </a:lvl8pPr>
                      <a:lvl9pPr marL="3657469" algn="l" defTabSz="914367" rtl="0" eaLnBrk="1" latinLnBrk="0" hangingPunct="1">
                        <a:defRPr sz="1765" kern="1200">
                          <a:solidFill>
                            <a:schemeClr val="dk1"/>
                          </a:solidFill>
                          <a:latin typeface="Segoe UI Semi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000" b="1">
                          <a:latin typeface="Segoe UI (Body)"/>
                          <a:cs typeface="Segoe UI" panose="020B0502040204020203" pitchFamily="34" charset="0"/>
                        </a:rPr>
                        <a:t>INNOVATE</a:t>
                      </a:r>
                      <a:endParaRPr lang="en-US" sz="1000" b="1">
                        <a:latin typeface="Segoe UI (Body)"/>
                        <a:cs typeface="Segoe UI" panose="020B0502040204020203" pitchFamily="34" charset="0"/>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177D6">
                        <a:tint val="40000"/>
                      </a:srgbClr>
                    </a:solidFill>
                  </a:tcPr>
                </a:tc>
                <a:extLst>
                  <a:ext uri="{0D108BD9-81ED-4DB2-BD59-A6C34878D82A}">
                    <a16:rowId xmlns:a16="http://schemas.microsoft.com/office/drawing/2014/main" val="3501444582"/>
                  </a:ext>
                </a:extLst>
              </a:tr>
            </a:tbl>
          </a:graphicData>
        </a:graphic>
      </p:graphicFrame>
      <p:sp>
        <p:nvSpPr>
          <p:cNvPr id="4" name="Text Placeholder 6">
            <a:extLst>
              <a:ext uri="{FF2B5EF4-FFF2-40B4-BE49-F238E27FC236}">
                <a16:creationId xmlns:a16="http://schemas.microsoft.com/office/drawing/2014/main" id="{5CE8E9E4-1582-4CFF-8A25-900EE1FE120A}"/>
              </a:ext>
            </a:extLst>
          </p:cNvPr>
          <p:cNvSpPr txBox="1">
            <a:spLocks/>
          </p:cNvSpPr>
          <p:nvPr/>
        </p:nvSpPr>
        <p:spPr>
          <a:xfrm>
            <a:off x="68901" y="1632351"/>
            <a:ext cx="1308212" cy="338554"/>
          </a:xfrm>
          <a:prstGeom prst="rect">
            <a:avLst/>
          </a:prstGeom>
        </p:spPr>
        <p:txBody>
          <a:bodyPr vert="horz" wrap="square" lIns="0" tIns="0" rIns="0" bIns="0" rtlCol="0">
            <a:spAutoFit/>
          </a:bodyPr>
          <a:lstStyle>
            <a:lvl1pPr marL="0" indent="0" algn="l" defTabSz="1036290" rtl="0" eaLnBrk="1" latinLnBrk="0" hangingPunct="1">
              <a:lnSpc>
                <a:spcPct val="90000"/>
              </a:lnSpc>
              <a:spcBef>
                <a:spcPts val="1133"/>
              </a:spcBef>
              <a:buFont typeface="Arial" panose="020B0604020202020204" pitchFamily="34" charset="0"/>
              <a:buNone/>
              <a:defRPr sz="2493" kern="1200">
                <a:solidFill>
                  <a:schemeClr val="bg2"/>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marL="0" marR="0" lvl="0" indent="0" algn="ctr" defTabSz="863505" rtl="0" eaLnBrk="1" fontAlgn="auto" latinLnBrk="0" hangingPunct="1">
              <a:lnSpc>
                <a:spcPct val="100000"/>
              </a:lnSpc>
              <a:spcBef>
                <a:spcPts val="500"/>
              </a:spcBef>
              <a:spcAft>
                <a:spcPts val="0"/>
              </a:spcAft>
              <a:buClrTx/>
              <a:buSzTx/>
              <a:buFont typeface="Arial" panose="020B0604020202020204" pitchFamily="34" charset="0"/>
              <a:buNone/>
              <a:tabLst/>
              <a:defRPr/>
            </a:pPr>
            <a:r>
              <a:rPr kumimoji="0" lang="cs-CZ" sz="11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IN-A-DAY</a:t>
            </a:r>
            <a:br>
              <a:rPr kumimoji="0" lang="en-US" sz="11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br>
            <a:r>
              <a:rPr kumimoji="0" lang="en-US" sz="1100" b="0" i="0" u="none" strike="noStrike" kern="1200" cap="none" spc="100" normalizeH="0" baseline="0" noProof="0">
                <a:ln>
                  <a:noFill/>
                </a:ln>
                <a:solidFill>
                  <a:prstClr val="white"/>
                </a:solidFill>
                <a:effectLst/>
                <a:uLnTx/>
                <a:uFillTx/>
                <a:latin typeface="Segoe UI Semibold"/>
                <a:ea typeface="Roboto Medium" panose="02000000000000000000" pitchFamily="2" charset="0"/>
                <a:cs typeface="+mn-cs"/>
              </a:rPr>
              <a:t>OVERVIEW</a:t>
            </a:r>
          </a:p>
        </p:txBody>
      </p:sp>
      <p:pic>
        <p:nvPicPr>
          <p:cNvPr id="7" name="Picture 6">
            <a:extLst>
              <a:ext uri="{FF2B5EF4-FFF2-40B4-BE49-F238E27FC236}">
                <a16:creationId xmlns:a16="http://schemas.microsoft.com/office/drawing/2014/main" id="{C8990307-1ED6-4E1F-BA01-CA8FBF0FE5D7}"/>
              </a:ext>
            </a:extLst>
          </p:cNvPr>
          <p:cNvPicPr>
            <a:picLocks noChangeAspect="1"/>
          </p:cNvPicPr>
          <p:nvPr/>
        </p:nvPicPr>
        <p:blipFill>
          <a:blip r:embed="rId9"/>
          <a:stretch>
            <a:fillRect/>
          </a:stretch>
        </p:blipFill>
        <p:spPr>
          <a:xfrm>
            <a:off x="463904" y="1017843"/>
            <a:ext cx="518205" cy="298730"/>
          </a:xfrm>
          <a:prstGeom prst="rect">
            <a:avLst/>
          </a:prstGeom>
        </p:spPr>
      </p:pic>
      <p:pic>
        <p:nvPicPr>
          <p:cNvPr id="9" name="Picture 8">
            <a:extLst>
              <a:ext uri="{FF2B5EF4-FFF2-40B4-BE49-F238E27FC236}">
                <a16:creationId xmlns:a16="http://schemas.microsoft.com/office/drawing/2014/main" id="{C6696681-5D5C-4C19-BEC1-6E35448415B4}"/>
              </a:ext>
            </a:extLst>
          </p:cNvPr>
          <p:cNvPicPr>
            <a:picLocks noChangeAspect="1"/>
          </p:cNvPicPr>
          <p:nvPr/>
        </p:nvPicPr>
        <p:blipFill>
          <a:blip r:embed="rId10"/>
          <a:stretch>
            <a:fillRect/>
          </a:stretch>
        </p:blipFill>
        <p:spPr>
          <a:xfrm>
            <a:off x="7037007" y="753954"/>
            <a:ext cx="5019106" cy="2242675"/>
          </a:xfrm>
          <a:prstGeom prst="rect">
            <a:avLst/>
          </a:prstGeom>
          <a:solidFill>
            <a:schemeClr val="bg2"/>
          </a:solidFill>
          <a:ln>
            <a:solidFill>
              <a:schemeClr val="tx1"/>
            </a:solidFill>
          </a:ln>
        </p:spPr>
      </p:pic>
    </p:spTree>
    <p:extLst>
      <p:ext uri="{BB962C8B-B14F-4D97-AF65-F5344CB8AC3E}">
        <p14:creationId xmlns:p14="http://schemas.microsoft.com/office/powerpoint/2010/main" val="31119154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29" name="think-cell Slide" r:id="rId5" imgW="270" imgH="270" progId="TCLayout.ActiveDocument.1">
                  <p:embed/>
                </p:oleObj>
              </mc:Choice>
              <mc:Fallback>
                <p:oleObj name="think-cell Slide" r:id="rId5" imgW="270" imgH="270" progId="TCLayout.ActiveDocument.1">
                  <p:embed/>
                  <p:pic>
                    <p:nvPicPr>
                      <p:cNvPr id="27" name="Object 2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9" name="Table 28">
            <a:extLst>
              <a:ext uri="{FF2B5EF4-FFF2-40B4-BE49-F238E27FC236}">
                <a16:creationId xmlns:a16="http://schemas.microsoft.com/office/drawing/2014/main" id="{21A9B9C7-3BC3-4110-B0F7-4F96C365F599}"/>
              </a:ext>
            </a:extLst>
          </p:cNvPr>
          <p:cNvGraphicFramePr>
            <a:graphicFrameLocks noGrp="1"/>
          </p:cNvGraphicFramePr>
          <p:nvPr/>
        </p:nvGraphicFramePr>
        <p:xfrm>
          <a:off x="6096000" y="720842"/>
          <a:ext cx="2539311" cy="1441791"/>
        </p:xfrm>
        <a:graphic>
          <a:graphicData uri="http://schemas.openxmlformats.org/drawingml/2006/table">
            <a:tbl>
              <a:tblPr firstRow="1" bandRow="1">
                <a:tableStyleId>{5C22544A-7EE6-4342-B048-85BDC9FD1C3A}</a:tableStyleId>
              </a:tblPr>
              <a:tblGrid>
                <a:gridCol w="2539311">
                  <a:extLst>
                    <a:ext uri="{9D8B030D-6E8A-4147-A177-3AD203B41FA5}">
                      <a16:colId xmlns:a16="http://schemas.microsoft.com/office/drawing/2014/main" val="2246076838"/>
                    </a:ext>
                  </a:extLst>
                </a:gridCol>
              </a:tblGrid>
              <a:tr h="0">
                <a:tc>
                  <a:txBody>
                    <a:bodyPr/>
                    <a:lstStyle/>
                    <a:p>
                      <a:pPr algn="ctr"/>
                      <a:r>
                        <a:rPr lang="en-US" sz="900" b="1" kern="1200" spc="50" baseline="0">
                          <a:solidFill>
                            <a:srgbClr val="FFFFFF"/>
                          </a:solidFill>
                          <a:latin typeface="Segoe UI   "/>
                          <a:ea typeface="+mn-ea"/>
                          <a:cs typeface="+mn-cs"/>
                        </a:rPr>
                        <a:t>Target audience</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03385533"/>
                  </a:ext>
                </a:extLst>
              </a:tr>
              <a:tr h="1121751">
                <a:tc>
                  <a:txBody>
                    <a:bodyPr/>
                    <a:lstStyle/>
                    <a:p>
                      <a:pPr lvl="0" defTabSz="932472" fontAlgn="base">
                        <a:spcBef>
                          <a:spcPct val="0"/>
                        </a:spcBef>
                        <a:spcAft>
                          <a:spcPct val="0"/>
                        </a:spcAft>
                        <a:defRPr/>
                      </a:pPr>
                      <a:r>
                        <a:rPr lang="en-US" sz="900" b="1" kern="0">
                          <a:solidFill>
                            <a:schemeClr val="tx1"/>
                          </a:solidFill>
                          <a:latin typeface="Segoe UI   "/>
                        </a:rPr>
                        <a:t>Target Audience Roles:</a:t>
                      </a:r>
                    </a:p>
                    <a:p>
                      <a:pPr marL="171450" lvl="0" indent="-171450" defTabSz="932472" fontAlgn="base">
                        <a:spcBef>
                          <a:spcPct val="0"/>
                        </a:spcBef>
                        <a:spcAft>
                          <a:spcPct val="0"/>
                        </a:spcAft>
                        <a:buFont typeface="Wingdings" panose="05000000000000000000" pitchFamily="2" charset="2"/>
                        <a:buChar char="§"/>
                        <a:defRPr/>
                      </a:pPr>
                      <a:r>
                        <a:rPr lang="en-US" sz="900" kern="0">
                          <a:solidFill>
                            <a:schemeClr val="tx1"/>
                          </a:solidFill>
                          <a:latin typeface="Segoe UI   "/>
                          <a:cs typeface="Segoe UI"/>
                        </a:rPr>
                        <a:t>All Data Professionals</a:t>
                      </a:r>
                    </a:p>
                    <a:p>
                      <a:pPr marL="0" lvl="0" indent="0">
                        <a:buFont typeface="Wingdings" panose="05000000000000000000" pitchFamily="2" charset="2"/>
                        <a:buNone/>
                        <a:defRPr/>
                      </a:pPr>
                      <a:endParaRPr lang="en-US" sz="900" kern="0">
                        <a:solidFill>
                          <a:schemeClr val="tx1"/>
                        </a:solidFill>
                        <a:latin typeface="Segoe UI   "/>
                        <a:cs typeface="Segoe UI"/>
                      </a:endParaRPr>
                    </a:p>
                    <a:p>
                      <a:pPr marL="0" lvl="0" indent="0">
                        <a:buFont typeface="Arial" panose="020B0604020202020204" pitchFamily="34" charset="0"/>
                        <a:buNone/>
                        <a:defRPr/>
                      </a:pPr>
                      <a:r>
                        <a:rPr lang="en-US" sz="900" b="1" kern="0">
                          <a:solidFill>
                            <a:schemeClr val="tx1"/>
                          </a:solidFill>
                          <a:latin typeface="Segoe UI   "/>
                          <a:cs typeface="Segoe UI"/>
                        </a:rPr>
                        <a:t>Format</a:t>
                      </a:r>
                    </a:p>
                    <a:p>
                      <a:pPr marL="171450" lvl="0" indent="-171450">
                        <a:buFont typeface="Arial" panose="020B0604020202020204" pitchFamily="34" charset="0"/>
                        <a:buChar char="•"/>
                        <a:defRPr/>
                      </a:pPr>
                      <a:r>
                        <a:rPr lang="en-US" sz="900" b="0" i="0" u="none" strike="noStrike" kern="1200">
                          <a:solidFill>
                            <a:schemeClr val="tx1"/>
                          </a:solidFill>
                          <a:latin typeface="+mn-lt"/>
                          <a:ea typeface="+mn-ea"/>
                          <a:cs typeface="+mn-cs"/>
                        </a:rPr>
                        <a:t>1:few – 20 attendees per event</a:t>
                      </a:r>
                    </a:p>
                    <a:p>
                      <a:endParaRPr lang="en-US" sz="900" kern="1200">
                        <a:solidFill>
                          <a:schemeClr val="dk1"/>
                        </a:solidFill>
                        <a:effectLst/>
                        <a:latin typeface="+mn-lt"/>
                        <a:ea typeface="+mn-ea"/>
                        <a:cs typeface="+mn-cs"/>
                      </a:endParaRPr>
                    </a:p>
                  </a:txBody>
                  <a:tcPr marT="18288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7667442"/>
                  </a:ext>
                </a:extLst>
              </a:tr>
            </a:tbl>
          </a:graphicData>
        </a:graphic>
      </p:graphicFrame>
      <p:graphicFrame>
        <p:nvGraphicFramePr>
          <p:cNvPr id="38" name="Table 37">
            <a:extLst>
              <a:ext uri="{FF2B5EF4-FFF2-40B4-BE49-F238E27FC236}">
                <a16:creationId xmlns:a16="http://schemas.microsoft.com/office/drawing/2014/main" id="{1840A480-1967-4A66-8E86-E99A3A750724}"/>
              </a:ext>
            </a:extLst>
          </p:cNvPr>
          <p:cNvGraphicFramePr>
            <a:graphicFrameLocks noGrp="1"/>
          </p:cNvGraphicFramePr>
          <p:nvPr/>
        </p:nvGraphicFramePr>
        <p:xfrm>
          <a:off x="8720847" y="720841"/>
          <a:ext cx="3156717" cy="853440"/>
        </p:xfrm>
        <a:graphic>
          <a:graphicData uri="http://schemas.openxmlformats.org/drawingml/2006/table">
            <a:tbl>
              <a:tblPr firstRow="1" bandRow="1">
                <a:tableStyleId>{5C22544A-7EE6-4342-B048-85BDC9FD1C3A}</a:tableStyleId>
              </a:tblPr>
              <a:tblGrid>
                <a:gridCol w="3156717">
                  <a:extLst>
                    <a:ext uri="{9D8B030D-6E8A-4147-A177-3AD203B41FA5}">
                      <a16:colId xmlns:a16="http://schemas.microsoft.com/office/drawing/2014/main" val="2246076838"/>
                    </a:ext>
                  </a:extLst>
                </a:gridCol>
              </a:tblGrid>
              <a:tr h="0">
                <a:tc>
                  <a:txBody>
                    <a:bodyPr/>
                    <a:lstStyle/>
                    <a:p>
                      <a:pPr marL="0" algn="ctr" defTabSz="914400" rtl="0" eaLnBrk="1" latinLnBrk="0" hangingPunct="1"/>
                      <a:r>
                        <a:rPr lang="en-US" sz="1100" b="1" kern="1200" spc="50" baseline="0">
                          <a:solidFill>
                            <a:schemeClr val="bg1"/>
                          </a:solidFill>
                          <a:latin typeface="+mn-lt"/>
                          <a:ea typeface="+mn-ea"/>
                          <a:cs typeface="+mn-cs"/>
                        </a:rPr>
                        <a:t>Solution area(s) alignment</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03385533"/>
                  </a:ext>
                </a:extLst>
              </a:tr>
              <a:tr h="300498">
                <a:tc>
                  <a:txBody>
                    <a:bodyPr/>
                    <a:lstStyle/>
                    <a:p>
                      <a:pPr marL="171450" marR="0" lvl="0" indent="-171450" algn="l" defTabSz="914400">
                        <a:lnSpc>
                          <a:spcPct val="100000"/>
                        </a:lnSpc>
                        <a:spcBef>
                          <a:spcPts val="0"/>
                        </a:spcBef>
                        <a:spcAft>
                          <a:spcPts val="0"/>
                        </a:spcAft>
                        <a:buClrTx/>
                        <a:buSzTx/>
                        <a:buFont typeface="Wingdings" panose="05000000000000000000" pitchFamily="2" charset="2"/>
                        <a:buChar char="§"/>
                        <a:tabLst/>
                        <a:defRPr/>
                      </a:pPr>
                      <a:r>
                        <a:rPr lang="en-US" sz="900" kern="0">
                          <a:solidFill>
                            <a:schemeClr val="tx1"/>
                          </a:solidFill>
                          <a:latin typeface="Segoe UI"/>
                          <a:cs typeface="Segoe UI"/>
                        </a:rPr>
                        <a:t>Data and AI</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kern="0">
                          <a:solidFill>
                            <a:schemeClr val="tx1"/>
                          </a:solidFill>
                          <a:latin typeface="Segoe UI"/>
                          <a:cs typeface="Segoe UI"/>
                        </a:rPr>
                        <a:t>Modern Workplace (Power BI)</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kern="0">
                          <a:solidFill>
                            <a:schemeClr val="tx1"/>
                          </a:solidFill>
                          <a:latin typeface="Segoe UI"/>
                          <a:cs typeface="Segoe UI"/>
                        </a:rPr>
                        <a:t>Business Apps (Customer Insigh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7667442"/>
                  </a:ext>
                </a:extLst>
              </a:tr>
            </a:tbl>
          </a:graphicData>
        </a:graphic>
      </p:graphicFrame>
      <p:graphicFrame>
        <p:nvGraphicFramePr>
          <p:cNvPr id="39" name="Table 38">
            <a:extLst>
              <a:ext uri="{FF2B5EF4-FFF2-40B4-BE49-F238E27FC236}">
                <a16:creationId xmlns:a16="http://schemas.microsoft.com/office/drawing/2014/main" id="{1638C3E1-6BE7-40B2-934B-34E1259BAEE8}"/>
              </a:ext>
            </a:extLst>
          </p:cNvPr>
          <p:cNvGraphicFramePr>
            <a:graphicFrameLocks noGrp="1"/>
          </p:cNvGraphicFramePr>
          <p:nvPr/>
        </p:nvGraphicFramePr>
        <p:xfrm>
          <a:off x="8712472" y="1677423"/>
          <a:ext cx="3156718" cy="787572"/>
        </p:xfrm>
        <a:graphic>
          <a:graphicData uri="http://schemas.openxmlformats.org/drawingml/2006/table">
            <a:tbl>
              <a:tblPr firstRow="1" bandRow="1">
                <a:tableStyleId>{5C22544A-7EE6-4342-B048-85BDC9FD1C3A}</a:tableStyleId>
              </a:tblPr>
              <a:tblGrid>
                <a:gridCol w="3156718">
                  <a:extLst>
                    <a:ext uri="{9D8B030D-6E8A-4147-A177-3AD203B41FA5}">
                      <a16:colId xmlns:a16="http://schemas.microsoft.com/office/drawing/2014/main" val="2246076838"/>
                    </a:ext>
                  </a:extLst>
                </a:gridCol>
              </a:tblGrid>
              <a:tr h="279228">
                <a:tc>
                  <a:txBody>
                    <a:bodyPr/>
                    <a:lstStyle/>
                    <a:p>
                      <a:pPr marL="0" algn="ctr" rtl="0" eaLnBrk="1" latinLnBrk="0" hangingPunct="1"/>
                      <a:r>
                        <a:rPr lang="en-US" sz="1100" b="0" kern="1200" spc="50" baseline="0">
                          <a:latin typeface="+mn-lt"/>
                          <a:ea typeface="+mn-ea"/>
                          <a:cs typeface="+mn-cs"/>
                        </a:rPr>
                        <a:t>Subsidiary alignment </a:t>
                      </a:r>
                      <a:endParaRPr lang="en-US" sz="1100" b="0" kern="1200" spc="50" baseline="0">
                        <a:gradFill>
                          <a:gsLst>
                            <a:gs pos="0">
                              <a:schemeClr val="bg1"/>
                            </a:gs>
                            <a:gs pos="100000">
                              <a:schemeClr val="bg1"/>
                            </a:gs>
                          </a:gsLst>
                          <a:lin ang="8100000" scaled="1"/>
                        </a:gradFill>
                        <a:latin typeface="+mn-lt"/>
                        <a:ea typeface="+mn-ea"/>
                        <a:cs typeface="+mn-cs"/>
                      </a:endParaRP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03385533"/>
                  </a:ext>
                </a:extLst>
              </a:tr>
              <a:tr h="437052">
                <a:tc>
                  <a:txBody>
                    <a:bodyPr/>
                    <a:lstStyle/>
                    <a:p>
                      <a:pPr marL="171450" marR="0" lvl="0" indent="-171450" algn="l">
                        <a:lnSpc>
                          <a:spcPct val="100000"/>
                        </a:lnSpc>
                        <a:spcBef>
                          <a:spcPts val="0"/>
                        </a:spcBef>
                        <a:spcAft>
                          <a:spcPts val="0"/>
                        </a:spcAft>
                        <a:buFont typeface="Wingdings" panose="05000000000000000000" pitchFamily="2" charset="2"/>
                        <a:buChar char="§"/>
                      </a:pPr>
                      <a:r>
                        <a:rPr lang="en-US" sz="900" b="0" i="0" u="none" strike="noStrike" kern="1200">
                          <a:solidFill>
                            <a:schemeClr val="dk1"/>
                          </a:solidFill>
                          <a:latin typeface="+mn-lt"/>
                          <a:ea typeface="+mn-ea"/>
                          <a:cs typeface="+mn-cs"/>
                        </a:rPr>
                        <a:t>Driving more ADS consumption</a:t>
                      </a:r>
                    </a:p>
                    <a:p>
                      <a:pPr marL="171450" marR="0" lvl="0" indent="-171450" algn="l" rtl="0" eaLnBrk="1" fontAlgn="auto" latinLnBrk="0" hangingPunct="1">
                        <a:lnSpc>
                          <a:spcPct val="100000"/>
                        </a:lnSpc>
                        <a:spcBef>
                          <a:spcPts val="0"/>
                        </a:spcBef>
                        <a:spcAft>
                          <a:spcPts val="0"/>
                        </a:spcAft>
                        <a:buFont typeface="Wingdings" panose="05000000000000000000" pitchFamily="2" charset="2"/>
                        <a:buChar char="§"/>
                      </a:pPr>
                      <a:r>
                        <a:rPr lang="en-US" sz="900" b="0" i="0" u="none" strike="noStrike" kern="1200">
                          <a:solidFill>
                            <a:schemeClr val="dk1"/>
                          </a:solidFill>
                          <a:latin typeface="+mn-lt"/>
                          <a:ea typeface="+mn-ea"/>
                          <a:cs typeface="+mn-cs"/>
                        </a:rPr>
                        <a:t>Power BI, SQL Server and Azure usage and adoption</a:t>
                      </a:r>
                      <a:endParaRPr lang="en-US" sz="900" i="1" kern="0">
                        <a:solidFill>
                          <a:schemeClr val="bg1">
                            <a:lumMod val="50000"/>
                          </a:schemeClr>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7667442"/>
                  </a:ext>
                </a:extLst>
              </a:tr>
            </a:tbl>
          </a:graphicData>
        </a:graphic>
      </p:graphicFrame>
      <p:graphicFrame>
        <p:nvGraphicFramePr>
          <p:cNvPr id="49" name="Table 48">
            <a:extLst>
              <a:ext uri="{FF2B5EF4-FFF2-40B4-BE49-F238E27FC236}">
                <a16:creationId xmlns:a16="http://schemas.microsoft.com/office/drawing/2014/main" id="{0EE78BB2-C942-4679-A54C-5364FE840FF9}"/>
              </a:ext>
            </a:extLst>
          </p:cNvPr>
          <p:cNvGraphicFramePr>
            <a:graphicFrameLocks noGrp="1"/>
          </p:cNvGraphicFramePr>
          <p:nvPr/>
        </p:nvGraphicFramePr>
        <p:xfrm>
          <a:off x="6096000" y="2247956"/>
          <a:ext cx="2539311" cy="1101578"/>
        </p:xfrm>
        <a:graphic>
          <a:graphicData uri="http://schemas.openxmlformats.org/drawingml/2006/table">
            <a:tbl>
              <a:tblPr firstRow="1" bandRow="1">
                <a:tableStyleId>{5C22544A-7EE6-4342-B048-85BDC9FD1C3A}</a:tableStyleId>
              </a:tblPr>
              <a:tblGrid>
                <a:gridCol w="2539311">
                  <a:extLst>
                    <a:ext uri="{9D8B030D-6E8A-4147-A177-3AD203B41FA5}">
                      <a16:colId xmlns:a16="http://schemas.microsoft.com/office/drawing/2014/main" val="2246076838"/>
                    </a:ext>
                  </a:extLst>
                </a:gridCol>
              </a:tblGrid>
              <a:tr h="228656">
                <a:tc>
                  <a:txBody>
                    <a:bodyPr/>
                    <a:lstStyle/>
                    <a:p>
                      <a:pPr marL="0" algn="ctr" defTabSz="914400" rtl="0" eaLnBrk="1" latinLnBrk="0" hangingPunct="1"/>
                      <a:r>
                        <a:rPr lang="en-US" sz="1100" b="0" kern="1200" spc="50" baseline="0">
                          <a:latin typeface="+mn-lt"/>
                          <a:ea typeface="+mn-ea"/>
                          <a:cs typeface="+mn-cs"/>
                        </a:rPr>
                        <a:t>KPIs</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03385533"/>
                  </a:ext>
                </a:extLst>
              </a:tr>
              <a:tr h="751058">
                <a:tc>
                  <a:txBody>
                    <a:bodyPr/>
                    <a:lstStyle/>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a:solidFill>
                            <a:schemeClr val="tx1"/>
                          </a:solidFill>
                          <a:latin typeface="+mn-lt"/>
                          <a:ea typeface="+mn-ea"/>
                          <a:cs typeface="+mn-cs"/>
                        </a:rPr>
                        <a:t># of attendees</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a:solidFill>
                            <a:schemeClr val="tx1"/>
                          </a:solidFill>
                          <a:latin typeface="+mn-lt"/>
                          <a:ea typeface="+mn-ea"/>
                          <a:cs typeface="+mn-cs"/>
                        </a:rPr>
                        <a:t>CSAT per event</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a:solidFill>
                            <a:schemeClr val="tx1"/>
                          </a:solidFill>
                          <a:latin typeface="+mn-lt"/>
                          <a:ea typeface="+mn-ea"/>
                          <a:cs typeface="+mn-cs"/>
                        </a:rPr>
                        <a:t># of opportunities</a:t>
                      </a:r>
                    </a:p>
                    <a:p>
                      <a:pPr marL="171450" marR="0" lvl="0" indent="-171450" algn="l" defTabSz="914367" rtl="0" eaLnBrk="1" fontAlgn="auto" latinLnBrk="0" hangingPunct="1">
                        <a:lnSpc>
                          <a:spcPct val="100000"/>
                        </a:lnSpc>
                        <a:spcBef>
                          <a:spcPts val="0"/>
                        </a:spcBef>
                        <a:spcAft>
                          <a:spcPts val="0"/>
                        </a:spcAft>
                        <a:buFont typeface="Arial" panose="020B0604020202020204" pitchFamily="34" charset="0"/>
                        <a:buChar char="•"/>
                        <a:defRPr/>
                      </a:pPr>
                      <a:r>
                        <a:rPr lang="en-US" sz="900" b="0" i="0" u="none" strike="noStrike" kern="1200">
                          <a:solidFill>
                            <a:schemeClr val="tx1"/>
                          </a:solidFill>
                          <a:latin typeface="+mn-lt"/>
                          <a:ea typeface="+mn-ea"/>
                          <a:cs typeface="+mn-cs"/>
                        </a:rPr>
                        <a:t>#leads generated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7667442"/>
                  </a:ext>
                </a:extLst>
              </a:tr>
            </a:tbl>
          </a:graphicData>
        </a:graphic>
      </p:graphicFrame>
      <p:graphicFrame>
        <p:nvGraphicFramePr>
          <p:cNvPr id="20" name="Table 19">
            <a:extLst>
              <a:ext uri="{FF2B5EF4-FFF2-40B4-BE49-F238E27FC236}">
                <a16:creationId xmlns:a16="http://schemas.microsoft.com/office/drawing/2014/main" id="{96F8D790-6293-4FC1-A15F-3A8C75BD310A}"/>
              </a:ext>
            </a:extLst>
          </p:cNvPr>
          <p:cNvGraphicFramePr>
            <a:graphicFrameLocks noGrp="1"/>
          </p:cNvGraphicFramePr>
          <p:nvPr/>
        </p:nvGraphicFramePr>
        <p:xfrm>
          <a:off x="8712472" y="2570457"/>
          <a:ext cx="3151841" cy="779077"/>
        </p:xfrm>
        <a:graphic>
          <a:graphicData uri="http://schemas.openxmlformats.org/drawingml/2006/table">
            <a:tbl>
              <a:tblPr firstRow="1" bandRow="1">
                <a:tableStyleId>{5C22544A-7EE6-4342-B048-85BDC9FD1C3A}</a:tableStyleId>
              </a:tblPr>
              <a:tblGrid>
                <a:gridCol w="3151841">
                  <a:extLst>
                    <a:ext uri="{9D8B030D-6E8A-4147-A177-3AD203B41FA5}">
                      <a16:colId xmlns:a16="http://schemas.microsoft.com/office/drawing/2014/main" val="2246076838"/>
                    </a:ext>
                  </a:extLst>
                </a:gridCol>
              </a:tblGrid>
              <a:tr h="333242">
                <a:tc>
                  <a:txBody>
                    <a:bodyPr/>
                    <a:lstStyle/>
                    <a:p>
                      <a:pPr marL="0" algn="ctr" defTabSz="914400" rtl="0" eaLnBrk="1" latinLnBrk="0" hangingPunct="1"/>
                      <a:r>
                        <a:rPr lang="en-US" sz="1100" b="1" kern="1200" spc="50" baseline="0">
                          <a:gradFill>
                            <a:gsLst>
                              <a:gs pos="0">
                                <a:schemeClr val="bg1"/>
                              </a:gs>
                              <a:gs pos="100000">
                                <a:schemeClr val="bg1"/>
                              </a:gs>
                            </a:gsLst>
                            <a:lin ang="8100000" scaled="1"/>
                          </a:gradFill>
                          <a:latin typeface="+mn-lt"/>
                          <a:ea typeface="+mn-ea"/>
                          <a:cs typeface="+mn-cs"/>
                        </a:rPr>
                        <a:t>Resources</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03385533"/>
                  </a:ext>
                </a:extLst>
              </a:tr>
              <a:tr h="428557">
                <a:tc>
                  <a:txBody>
                    <a:bodyPr/>
                    <a:lstStyle/>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u="sng" kern="1200">
                          <a:solidFill>
                            <a:schemeClr val="dk1"/>
                          </a:solidFill>
                          <a:effectLst/>
                          <a:latin typeface="Segoe UI" panose="020B0502040204020203" pitchFamily="34" charset="0"/>
                          <a:ea typeface="+mn-ea"/>
                          <a:cs typeface="Segoe UI" panose="020B0502040204020203" pitchFamily="34" charset="0"/>
                          <a:hlinkClick r:id="rId7" tooltip="https://partner.microsoft.com/en-us/asset/collection/analytics-in-a-day#/"/>
                        </a:rPr>
                        <a:t>Updated Analytics in a day V2 content and labs</a:t>
                      </a:r>
                      <a:endParaRPr lang="en-US" sz="900" kern="1200">
                        <a:solidFill>
                          <a:schemeClr val="dk1"/>
                        </a:solidFill>
                        <a:effectLst/>
                        <a:latin typeface="Segoe UI" panose="020B0502040204020203" pitchFamily="34" charset="0"/>
                        <a:ea typeface="+mn-ea"/>
                        <a:cs typeface="Segoe UI" panose="020B0502040204020203" pitchFamily="34" charset="0"/>
                      </a:endParaRPr>
                    </a:p>
                    <a:p>
                      <a:pPr marL="171450" marR="0" lvl="0" indent="-171450" algn="l" defTabSz="914367" rtl="0" eaLnBrk="1" fontAlgn="auto" latinLnBrk="0" hangingPunct="1">
                        <a:lnSpc>
                          <a:spcPct val="100000"/>
                        </a:lnSpc>
                        <a:spcBef>
                          <a:spcPts val="0"/>
                        </a:spcBef>
                        <a:spcAft>
                          <a:spcPts val="0"/>
                        </a:spcAft>
                        <a:buFont typeface="Arial" panose="020B0604020202020204" pitchFamily="34" charset="0"/>
                        <a:buChar char="•"/>
                      </a:pPr>
                      <a:endParaRPr lang="en-US" sz="900" b="0" i="0" u="none" strike="noStrike" kern="1200">
                        <a:solidFill>
                          <a:schemeClr val="tx2"/>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7667442"/>
                  </a:ext>
                </a:extLst>
              </a:tr>
            </a:tbl>
          </a:graphicData>
        </a:graphic>
      </p:graphicFrame>
      <p:graphicFrame>
        <p:nvGraphicFramePr>
          <p:cNvPr id="21" name="Table 20">
            <a:extLst>
              <a:ext uri="{FF2B5EF4-FFF2-40B4-BE49-F238E27FC236}">
                <a16:creationId xmlns:a16="http://schemas.microsoft.com/office/drawing/2014/main" id="{AA2D5CEE-F7BE-48BA-90BF-44599DEB8177}"/>
              </a:ext>
            </a:extLst>
          </p:cNvPr>
          <p:cNvGraphicFramePr>
            <a:graphicFrameLocks noGrp="1"/>
          </p:cNvGraphicFramePr>
          <p:nvPr/>
        </p:nvGraphicFramePr>
        <p:xfrm>
          <a:off x="115013" y="5271519"/>
          <a:ext cx="5883294" cy="853440"/>
        </p:xfrm>
        <a:graphic>
          <a:graphicData uri="http://schemas.openxmlformats.org/drawingml/2006/table">
            <a:tbl>
              <a:tblPr firstRow="1" bandRow="1">
                <a:tableStyleId>{5C22544A-7EE6-4342-B048-85BDC9FD1C3A}</a:tableStyleId>
              </a:tblPr>
              <a:tblGrid>
                <a:gridCol w="5883294">
                  <a:extLst>
                    <a:ext uri="{9D8B030D-6E8A-4147-A177-3AD203B41FA5}">
                      <a16:colId xmlns:a16="http://schemas.microsoft.com/office/drawing/2014/main" val="2246076838"/>
                    </a:ext>
                  </a:extLst>
                </a:gridCol>
              </a:tblGrid>
              <a:tr h="255375">
                <a:tc>
                  <a:txBody>
                    <a:bodyPr/>
                    <a:lstStyle/>
                    <a:p>
                      <a:pPr marL="0" algn="ctr" defTabSz="914400" rtl="0" eaLnBrk="1" latinLnBrk="0" hangingPunct="1"/>
                      <a:r>
                        <a:rPr lang="en-US" sz="1100" b="1" kern="1200" spc="50" baseline="0">
                          <a:gradFill>
                            <a:gsLst>
                              <a:gs pos="0">
                                <a:schemeClr val="bg1"/>
                              </a:gs>
                              <a:gs pos="100000">
                                <a:schemeClr val="bg1"/>
                              </a:gs>
                            </a:gsLst>
                            <a:lin ang="8100000" scaled="1"/>
                          </a:gradFill>
                          <a:latin typeface="+mn-lt"/>
                          <a:ea typeface="+mn-ea"/>
                          <a:cs typeface="+mn-cs"/>
                        </a:rPr>
                        <a:t>Follow up</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03385533"/>
                  </a:ext>
                </a:extLst>
              </a:tr>
              <a:tr h="436605">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900" i="0" kern="0">
                        <a:solidFill>
                          <a:schemeClr val="bg1">
                            <a:lumMod val="50000"/>
                          </a:schemeClr>
                        </a:solidFill>
                        <a:latin typeface="Segoe UI"/>
                        <a:ea typeface="+mn-ea"/>
                        <a:cs typeface="Segoe UI"/>
                      </a:endParaRPr>
                    </a:p>
                    <a:p>
                      <a:pPr marL="171450" marR="0" lvl="0"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dk1"/>
                          </a:solidFill>
                          <a:latin typeface="+mn-lt"/>
                          <a:ea typeface="+mn-ea"/>
                          <a:cs typeface="+mn-cs"/>
                        </a:rPr>
                        <a:t>Partner identifying progress in existing engagements and/or generating new engagements with customers, and uploading them as qualified leads in Partner Center/Partner Sales Connec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7667442"/>
                  </a:ext>
                </a:extLst>
              </a:tr>
            </a:tbl>
          </a:graphicData>
        </a:graphic>
      </p:graphicFrame>
      <p:graphicFrame>
        <p:nvGraphicFramePr>
          <p:cNvPr id="17" name="Table 32">
            <a:extLst>
              <a:ext uri="{FF2B5EF4-FFF2-40B4-BE49-F238E27FC236}">
                <a16:creationId xmlns:a16="http://schemas.microsoft.com/office/drawing/2014/main" id="{5BB21EFE-0D64-48C1-9A46-BDC9C1398046}"/>
              </a:ext>
            </a:extLst>
          </p:cNvPr>
          <p:cNvGraphicFramePr>
            <a:graphicFrameLocks noGrp="1"/>
          </p:cNvGraphicFramePr>
          <p:nvPr/>
        </p:nvGraphicFramePr>
        <p:xfrm>
          <a:off x="135545" y="4136765"/>
          <a:ext cx="5862762" cy="1005840"/>
        </p:xfrm>
        <a:graphic>
          <a:graphicData uri="http://schemas.openxmlformats.org/drawingml/2006/table">
            <a:tbl>
              <a:tblPr firstRow="1" bandRow="1">
                <a:tableStyleId>{5C22544A-7EE6-4342-B048-85BDC9FD1C3A}</a:tableStyleId>
              </a:tblPr>
              <a:tblGrid>
                <a:gridCol w="5862762">
                  <a:extLst>
                    <a:ext uri="{9D8B030D-6E8A-4147-A177-3AD203B41FA5}">
                      <a16:colId xmlns:a16="http://schemas.microsoft.com/office/drawing/2014/main" val="20001"/>
                    </a:ext>
                  </a:extLst>
                </a:gridCol>
              </a:tblGrid>
              <a:tr h="292363">
                <a:tc>
                  <a:txBody>
                    <a:bodyPr/>
                    <a:lstStyle/>
                    <a:p>
                      <a:pPr algn="ctr"/>
                      <a:r>
                        <a:rPr lang="en-US" sz="1100" b="1" spc="50" baseline="0">
                          <a:gradFill>
                            <a:gsLst>
                              <a:gs pos="0">
                                <a:schemeClr val="bg1"/>
                              </a:gs>
                              <a:gs pos="100000">
                                <a:schemeClr val="bg1"/>
                              </a:gs>
                            </a:gsLst>
                            <a:lin ang="8100000" scaled="1"/>
                          </a:gradFill>
                        </a:rPr>
                        <a:t>Business objectives</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89340">
                <a:tc>
                  <a:txBody>
                    <a:bodyPr/>
                    <a:lstStyle/>
                    <a:p>
                      <a:pPr marL="171450" indent="-171450" defTabSz="932472" fontAlgn="base">
                        <a:spcBef>
                          <a:spcPct val="0"/>
                        </a:spcBef>
                        <a:spcAft>
                          <a:spcPct val="0"/>
                        </a:spcAft>
                        <a:buFont typeface="Arial" panose="020B0604020202020204" pitchFamily="34" charset="0"/>
                        <a:buChar char="•"/>
                        <a:defRPr/>
                      </a:pPr>
                      <a:r>
                        <a:rPr lang="en-US" sz="900" b="0" i="0" u="none" strike="noStrike" kern="1200">
                          <a:solidFill>
                            <a:schemeClr val="tx1"/>
                          </a:solidFill>
                          <a:latin typeface="Segoe UI Semilight"/>
                          <a:ea typeface="+mn-ea"/>
                          <a:cs typeface="+mn-cs"/>
                        </a:rPr>
                        <a:t>This is a partner driven workshop intended to provide customers with an end-to-end view of the Azure Analytics Platform. The main goal is to deliver the workshop to customers in Major and Corporate segments to accelerate existing Modern Datawarehouse Engagements. As a secondary goal it can be used to develop new pipe.</a:t>
                      </a:r>
                    </a:p>
                    <a:p>
                      <a:pPr marL="0" indent="0" defTabSz="932472" fontAlgn="base">
                        <a:spcBef>
                          <a:spcPct val="0"/>
                        </a:spcBef>
                        <a:spcAft>
                          <a:spcPct val="0"/>
                        </a:spcAft>
                        <a:buFont typeface="Arial"/>
                        <a:buNone/>
                        <a:defRPr/>
                      </a:pPr>
                      <a:endParaRPr lang="en-US" sz="1000" kern="0">
                        <a:solidFill>
                          <a:schemeClr val="bg1">
                            <a:lumMod val="50000"/>
                          </a:schemeClr>
                        </a:solidFill>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3" name="Table 30">
            <a:extLst>
              <a:ext uri="{FF2B5EF4-FFF2-40B4-BE49-F238E27FC236}">
                <a16:creationId xmlns:a16="http://schemas.microsoft.com/office/drawing/2014/main" id="{3E9CA46E-FE93-49E1-BB11-62762E87F7EA}"/>
              </a:ext>
            </a:extLst>
          </p:cNvPr>
          <p:cNvGraphicFramePr>
            <a:graphicFrameLocks noGrp="1"/>
          </p:cNvGraphicFramePr>
          <p:nvPr/>
        </p:nvGraphicFramePr>
        <p:xfrm>
          <a:off x="150725" y="720131"/>
          <a:ext cx="5847582" cy="3322320"/>
        </p:xfrm>
        <a:graphic>
          <a:graphicData uri="http://schemas.openxmlformats.org/drawingml/2006/table">
            <a:tbl>
              <a:tblPr firstRow="1" bandRow="1">
                <a:tableStyleId>{5C22544A-7EE6-4342-B048-85BDC9FD1C3A}</a:tableStyleId>
              </a:tblPr>
              <a:tblGrid>
                <a:gridCol w="5847582">
                  <a:extLst>
                    <a:ext uri="{9D8B030D-6E8A-4147-A177-3AD203B41FA5}">
                      <a16:colId xmlns:a16="http://schemas.microsoft.com/office/drawing/2014/main" val="2246076838"/>
                    </a:ext>
                  </a:extLst>
                </a:gridCol>
              </a:tblGrid>
              <a:tr h="252262">
                <a:tc>
                  <a:txBody>
                    <a:bodyPr/>
                    <a:lstStyle/>
                    <a:p>
                      <a:pPr marL="0" algn="ctr">
                        <a:lnSpc>
                          <a:spcPct val="100000"/>
                        </a:lnSpc>
                        <a:spcBef>
                          <a:spcPts val="0"/>
                        </a:spcBef>
                        <a:spcAft>
                          <a:spcPts val="0"/>
                        </a:spcAft>
                      </a:pPr>
                      <a:r>
                        <a:rPr lang="en-US" sz="1100" b="1" spc="50" baseline="0">
                          <a:solidFill>
                            <a:srgbClr val="FFFFFF"/>
                          </a:solidFill>
                        </a:rPr>
                        <a:t>Event description</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03385533"/>
                  </a:ext>
                </a:extLst>
              </a:tr>
              <a:tr h="1163453">
                <a:tc>
                  <a:txBody>
                    <a:bodyPr/>
                    <a:lstStyle/>
                    <a:p>
                      <a:pPr marL="171450" lvl="0"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tx1"/>
                          </a:solidFill>
                          <a:latin typeface="+mn-lt"/>
                          <a:ea typeface="+mn-ea"/>
                          <a:cs typeface="+mn-cs"/>
                        </a:rPr>
                        <a:t>A one-day, hands-on workshop covering everything from data ingestion to business intelligence. </a:t>
                      </a:r>
                    </a:p>
                    <a:p>
                      <a:pPr marL="171450" lvl="0"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tx1"/>
                          </a:solidFill>
                          <a:latin typeface="+mn-lt"/>
                          <a:ea typeface="+mn-ea"/>
                          <a:cs typeface="+mn-cs"/>
                        </a:rPr>
                        <a:t>In our workshop, data professionals will better understand how to:</a:t>
                      </a:r>
                    </a:p>
                    <a:p>
                      <a:pPr marL="628633" lvl="1"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tx1"/>
                          </a:solidFill>
                          <a:latin typeface="+mn-lt"/>
                          <a:ea typeface="+mn-ea"/>
                          <a:cs typeface="+mn-cs"/>
                        </a:rPr>
                        <a:t>Streamline cloud analytics pipelines</a:t>
                      </a:r>
                    </a:p>
                    <a:p>
                      <a:pPr marL="628633" lvl="1"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tx1"/>
                          </a:solidFill>
                          <a:latin typeface="+mn-lt"/>
                          <a:ea typeface="+mn-ea"/>
                          <a:cs typeface="+mn-cs"/>
                        </a:rPr>
                        <a:t>Build a scalable modern data warehouse</a:t>
                      </a:r>
                    </a:p>
                    <a:p>
                      <a:pPr marL="628633" lvl="1"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tx1"/>
                          </a:solidFill>
                          <a:latin typeface="+mn-lt"/>
                          <a:ea typeface="+mn-ea"/>
                          <a:cs typeface="+mn-cs"/>
                        </a:rPr>
                        <a:t>Ensure flexibility with business needs</a:t>
                      </a:r>
                    </a:p>
                    <a:p>
                      <a:pPr marL="171450" lvl="0"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tx1"/>
                          </a:solidFill>
                          <a:latin typeface="+mn-lt"/>
                          <a:ea typeface="+mn-ea"/>
                          <a:cs typeface="+mn-cs"/>
                        </a:rPr>
                        <a:t>The last few hours of the workshop will be dedicated to hands-on training to help get you started on your cloud analytics journey. Labs will focus on building a modern data warehouse with Azure Synapse Analytics, Azure Databricks, and Power BI.</a:t>
                      </a:r>
                    </a:p>
                    <a:p>
                      <a:pPr marL="171450" lvl="0" indent="-171450" algn="l">
                        <a:lnSpc>
                          <a:spcPct val="100000"/>
                        </a:lnSpc>
                        <a:spcBef>
                          <a:spcPts val="0"/>
                        </a:spcBef>
                        <a:spcAft>
                          <a:spcPts val="0"/>
                        </a:spcAft>
                        <a:buFont typeface="Arial" panose="020B0604020202020204" pitchFamily="34" charset="0"/>
                        <a:buChar char="•"/>
                      </a:pPr>
                      <a:endParaRPr lang="en-US" sz="900" b="0" i="0" u="none" strike="noStrike" kern="1200">
                        <a:solidFill>
                          <a:schemeClr val="tx1"/>
                        </a:solidFill>
                        <a:latin typeface="+mn-lt"/>
                        <a:ea typeface="+mn-ea"/>
                        <a:cs typeface="+mn-cs"/>
                      </a:endParaRPr>
                    </a:p>
                    <a:p>
                      <a:pPr marL="171450" lvl="0"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tx1"/>
                          </a:solidFill>
                          <a:latin typeface="+mn-lt"/>
                          <a:ea typeface="+mn-ea"/>
                          <a:cs typeface="+mn-cs"/>
                        </a:rPr>
                        <a:t>Analytics in a day is designed to simplify and accelerate your journey towards using a modern data warehouse to power your business. </a:t>
                      </a:r>
                    </a:p>
                    <a:p>
                      <a:pPr marL="171450" lvl="0"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tx1"/>
                          </a:solidFill>
                          <a:latin typeface="+mn-lt"/>
                          <a:ea typeface="+mn-ea"/>
                          <a:cs typeface="+mn-cs"/>
                        </a:rPr>
                        <a:t>In our workshop, you will better understand how to:</a:t>
                      </a:r>
                    </a:p>
                    <a:p>
                      <a:pPr marL="628633" lvl="1"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tx1"/>
                          </a:solidFill>
                          <a:latin typeface="+mn-lt"/>
                          <a:ea typeface="+mn-ea"/>
                          <a:cs typeface="+mn-cs"/>
                        </a:rPr>
                        <a:t>Create an analytics pipeline that goes from data ingestion to insights using Power BI</a:t>
                      </a:r>
                    </a:p>
                    <a:p>
                      <a:pPr marL="628633" lvl="1"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tx1"/>
                          </a:solidFill>
                          <a:latin typeface="+mn-lt"/>
                          <a:ea typeface="+mn-ea"/>
                          <a:cs typeface="+mn-cs"/>
                        </a:rPr>
                        <a:t>Empower self-service analytics</a:t>
                      </a:r>
                    </a:p>
                    <a:p>
                      <a:pPr marL="628633" lvl="1"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tx1"/>
                          </a:solidFill>
                          <a:latin typeface="+mn-lt"/>
                          <a:ea typeface="+mn-ea"/>
                          <a:cs typeface="+mn-cs"/>
                        </a:rPr>
                        <a:t>Enable a truly data-driven culture in your business</a:t>
                      </a:r>
                    </a:p>
                    <a:p>
                      <a:pPr marL="171450" lvl="0"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tx1"/>
                          </a:solidFill>
                          <a:latin typeface="+mn-lt"/>
                          <a:ea typeface="+mn-ea"/>
                          <a:cs typeface="+mn-cs"/>
                        </a:rPr>
                        <a:t>The last few hours of the workshop will be dedicated to hands-on training to help get you started on your cloud analytics journey.</a:t>
                      </a:r>
                    </a:p>
                    <a:p>
                      <a:pPr marL="171450" lvl="0" indent="-171450" algn="l">
                        <a:lnSpc>
                          <a:spcPct val="100000"/>
                        </a:lnSpc>
                        <a:spcBef>
                          <a:spcPts val="0"/>
                        </a:spcBef>
                        <a:spcAft>
                          <a:spcPts val="0"/>
                        </a:spcAft>
                        <a:buFont typeface="Arial" panose="020B0604020202020204" pitchFamily="34" charset="0"/>
                        <a:buChar char="•"/>
                      </a:pPr>
                      <a:endParaRPr lang="en-US" sz="900" b="0" i="0" u="none" strike="noStrike" kern="1200">
                        <a:solidFill>
                          <a:schemeClr val="tx1"/>
                        </a:solidFill>
                        <a:latin typeface="+mn-lt"/>
                        <a:ea typeface="+mn-ea"/>
                        <a:cs typeface="+mn-cs"/>
                      </a:endParaRPr>
                    </a:p>
                    <a:p>
                      <a:pPr marL="171450" lvl="0" indent="-171450" algn="l">
                        <a:lnSpc>
                          <a:spcPct val="100000"/>
                        </a:lnSpc>
                        <a:spcBef>
                          <a:spcPts val="0"/>
                        </a:spcBef>
                        <a:spcAft>
                          <a:spcPts val="0"/>
                        </a:spcAft>
                        <a:buFont typeface="Arial" panose="020B0604020202020204" pitchFamily="34" charset="0"/>
                        <a:buChar char="•"/>
                      </a:pPr>
                      <a:r>
                        <a:rPr lang="en-US" sz="900" b="0" i="0" u="none" strike="noStrike" kern="1200">
                          <a:solidFill>
                            <a:schemeClr val="tx1"/>
                          </a:solidFill>
                          <a:latin typeface="Segoe UI Semilight"/>
                          <a:ea typeface="+mn-ea"/>
                          <a:cs typeface="+mn-cs"/>
                        </a:rPr>
                        <a:t>For </a:t>
                      </a:r>
                      <a:r>
                        <a:rPr lang="en-US" sz="900" b="1" i="0" u="none" strike="noStrike" kern="1200">
                          <a:solidFill>
                            <a:schemeClr val="tx1"/>
                          </a:solidFill>
                          <a:latin typeface="Segoe UI Semilight"/>
                          <a:ea typeface="+mn-ea"/>
                          <a:cs typeface="+mn-cs"/>
                        </a:rPr>
                        <a:t>virtual sessions</a:t>
                      </a:r>
                      <a:r>
                        <a:rPr lang="en-US" sz="900" b="0" i="0" u="none" strike="noStrike" kern="1200">
                          <a:solidFill>
                            <a:schemeClr val="tx1"/>
                          </a:solidFill>
                          <a:latin typeface="Segoe UI Semilight"/>
                          <a:ea typeface="+mn-ea"/>
                          <a:cs typeface="+mn-cs"/>
                        </a:rPr>
                        <a:t>, suggestion is to do up to 4h virtual delivery depending on if the partner is demoing the lab or providing access to the participants to test the labs during the call (shorter version)</a:t>
                      </a:r>
                    </a:p>
                  </a:txBody>
                  <a:tcPr marT="18288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7667442"/>
                  </a:ext>
                </a:extLst>
              </a:tr>
            </a:tbl>
          </a:graphicData>
        </a:graphic>
      </p:graphicFrame>
      <p:pic>
        <p:nvPicPr>
          <p:cNvPr id="4" name="Picture 3">
            <a:extLst>
              <a:ext uri="{FF2B5EF4-FFF2-40B4-BE49-F238E27FC236}">
                <a16:creationId xmlns:a16="http://schemas.microsoft.com/office/drawing/2014/main" id="{F8A385B7-11B3-41F3-9902-B0DB92B48FAE}"/>
              </a:ext>
            </a:extLst>
          </p:cNvPr>
          <p:cNvPicPr>
            <a:picLocks noChangeAspect="1"/>
          </p:cNvPicPr>
          <p:nvPr/>
        </p:nvPicPr>
        <p:blipFill>
          <a:blip r:embed="rId8"/>
          <a:stretch>
            <a:fillRect/>
          </a:stretch>
        </p:blipFill>
        <p:spPr>
          <a:xfrm>
            <a:off x="6319402" y="3590886"/>
            <a:ext cx="5544911" cy="2470942"/>
          </a:xfrm>
          <a:prstGeom prst="rect">
            <a:avLst/>
          </a:prstGeom>
        </p:spPr>
      </p:pic>
      <p:sp>
        <p:nvSpPr>
          <p:cNvPr id="7" name="Title 3">
            <a:extLst>
              <a:ext uri="{FF2B5EF4-FFF2-40B4-BE49-F238E27FC236}">
                <a16:creationId xmlns:a16="http://schemas.microsoft.com/office/drawing/2014/main" id="{0036FB81-1925-4A67-9CBE-5F7A60F564D5}"/>
              </a:ext>
            </a:extLst>
          </p:cNvPr>
          <p:cNvSpPr txBox="1">
            <a:spLocks/>
          </p:cNvSpPr>
          <p:nvPr/>
        </p:nvSpPr>
        <p:spPr>
          <a:xfrm>
            <a:off x="188838" y="91440"/>
            <a:ext cx="11756571" cy="484094"/>
          </a:xfrm>
          <a:prstGeom prst="rect">
            <a:avLst/>
          </a:prstGeom>
        </p:spPr>
        <p:txBody>
          <a:bodyPr/>
          <a:lst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cs-CZ" sz="2400" b="1"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rPr>
              <a:t>In-A-Day Motion / example: Analytics in a Day </a:t>
            </a:r>
            <a:endParaRPr kumimoji="0" lang="en-US" sz="2400" b="0"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415497573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77" name="think-cell Slide" r:id="rId5" imgW="270" imgH="270" progId="TCLayout.ActiveDocument.1">
                  <p:embed/>
                </p:oleObj>
              </mc:Choice>
              <mc:Fallback>
                <p:oleObj name="think-cell Slide" r:id="rId5" imgW="270" imgH="270" progId="TCLayout.ActiveDocument.1">
                  <p:embed/>
                  <p:pic>
                    <p:nvPicPr>
                      <p:cNvPr id="27" name="Object 2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0036FB81-1925-4A67-9CBE-5F7A60F564D5}"/>
              </a:ext>
            </a:extLst>
          </p:cNvPr>
          <p:cNvSpPr txBox="1">
            <a:spLocks/>
          </p:cNvSpPr>
          <p:nvPr/>
        </p:nvSpPr>
        <p:spPr>
          <a:xfrm>
            <a:off x="188838" y="91440"/>
            <a:ext cx="11756571" cy="484094"/>
          </a:xfrm>
          <a:prstGeom prst="rect">
            <a:avLst/>
          </a:prstGeom>
        </p:spPr>
        <p:txBody>
          <a:bodyPr/>
          <a:lst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cs-CZ" sz="2400" b="1"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rPr>
              <a:t>Learning options for you</a:t>
            </a:r>
            <a:endParaRPr kumimoji="0" lang="en-US" sz="2400" b="0" i="0" u="none" strike="noStrike" kern="1200" cap="none" spc="-147" normalizeH="0" baseline="0" noProof="0">
              <a:ln w="3175">
                <a:noFill/>
              </a:ln>
              <a:solidFill>
                <a:srgbClr val="0072C6"/>
              </a:solidFill>
              <a:effectLst/>
              <a:uLnTx/>
              <a:uFillTx/>
              <a:latin typeface="Segoe UI Semilight" panose="020B0402040204020203" pitchFamily="34" charset="0"/>
              <a:ea typeface="+mn-ea"/>
              <a:cs typeface="Segoe UI Semilight" panose="020B0402040204020203" pitchFamily="34" charset="0"/>
            </a:endParaRPr>
          </a:p>
        </p:txBody>
      </p:sp>
      <p:sp>
        <p:nvSpPr>
          <p:cNvPr id="5" name="Rectangle 4">
            <a:extLst>
              <a:ext uri="{FF2B5EF4-FFF2-40B4-BE49-F238E27FC236}">
                <a16:creationId xmlns:a16="http://schemas.microsoft.com/office/drawing/2014/main" id="{F49E784D-6B48-4D8A-AF00-A8EA67AC8383}"/>
              </a:ext>
            </a:extLst>
          </p:cNvPr>
          <p:cNvSpPr/>
          <p:nvPr/>
        </p:nvSpPr>
        <p:spPr bwMode="auto">
          <a:xfrm>
            <a:off x="355953" y="1445471"/>
            <a:ext cx="11672563" cy="5013518"/>
          </a:xfrm>
          <a:prstGeom prst="rect">
            <a:avLst/>
          </a:prstGeom>
          <a:noFill/>
          <a:ln w="6350" cap="flat" cmpd="sng" algn="ctr">
            <a:solidFill>
              <a:sysClr val="window" lastClr="FFFFFF">
                <a:lumMod val="75000"/>
              </a:sysClr>
            </a:solidFill>
            <a:prstDash val="solid"/>
            <a:miter lim="800000"/>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90000"/>
              </a:lnSpc>
              <a:spcBef>
                <a:spcPct val="0"/>
              </a:spcBef>
              <a:spcAft>
                <a:spcPct val="0"/>
              </a:spcAft>
              <a:buClrTx/>
              <a:buSzTx/>
              <a:buFont typeface="+mj-lt"/>
              <a:buAutoNum type="arabicPeriod"/>
              <a:tabLst/>
              <a:defRPr/>
            </a:pPr>
            <a:r>
              <a:rPr kumimoji="0" lang="en-US" sz="1400" b="1" i="0" u="none" strike="noStrike" kern="0" cap="none" spc="0" normalizeH="0" baseline="0" noProof="0">
                <a:ln>
                  <a:noFill/>
                </a:ln>
                <a:solidFill>
                  <a:srgbClr val="000000"/>
                </a:solidFill>
                <a:effectLst/>
                <a:uLnTx/>
                <a:uFillTx/>
                <a:latin typeface="Segoe UI"/>
                <a:ea typeface="+mj-ea"/>
                <a:cs typeface="Segoe UI"/>
              </a:rPr>
              <a:t>Microsoft Baseline Events </a:t>
            </a:r>
            <a:r>
              <a:rPr kumimoji="0" lang="en-US" sz="1400" b="0" i="0" u="none" strike="noStrike" kern="0" cap="none" spc="0" normalizeH="0" baseline="0" noProof="0">
                <a:ln>
                  <a:noFill/>
                </a:ln>
                <a:solidFill>
                  <a:srgbClr val="505050"/>
                </a:solidFill>
                <a:effectLst/>
                <a:uLnTx/>
                <a:uFillTx/>
                <a:latin typeface="Segoe UI (Body)"/>
                <a:ea typeface="+mj-ea"/>
                <a:cs typeface="+mj-cs"/>
              </a:rPr>
              <a:t>– local (digital) aimed at giving introductory information about the </a:t>
            </a:r>
            <a:r>
              <a:rPr kumimoji="0" lang="cs-CZ" sz="1400" b="0" i="0" u="none" strike="noStrike" kern="0" cap="none" spc="0" normalizeH="0" baseline="0" noProof="0">
                <a:ln>
                  <a:noFill/>
                </a:ln>
                <a:solidFill>
                  <a:srgbClr val="505050"/>
                </a:solidFill>
                <a:effectLst/>
                <a:uLnTx/>
                <a:uFillTx/>
                <a:latin typeface="Segoe UI (Body)"/>
                <a:ea typeface="+mj-ea"/>
                <a:cs typeface="+mj-cs"/>
              </a:rPr>
              <a:t>Azure </a:t>
            </a:r>
            <a:r>
              <a:rPr kumimoji="0" lang="en-US" sz="1400" b="0" i="0" u="none" strike="noStrike" kern="0" cap="none" spc="0" normalizeH="0" baseline="0" noProof="0">
                <a:ln>
                  <a:noFill/>
                </a:ln>
                <a:solidFill>
                  <a:srgbClr val="505050"/>
                </a:solidFill>
                <a:effectLst/>
                <a:uLnTx/>
                <a:uFillTx/>
                <a:latin typeface="Segoe UI (Body)"/>
                <a:ea typeface="+mj-ea"/>
                <a:cs typeface="+mj-cs"/>
              </a:rPr>
              <a:t>portfolio. </a:t>
            </a:r>
            <a:endParaRPr kumimoji="0" lang="cs-CZ" sz="1400" b="0" i="0" u="none" strike="noStrike" kern="0" cap="none" spc="0" normalizeH="0" baseline="0" noProof="0">
              <a:ln>
                <a:noFill/>
              </a:ln>
              <a:solidFill>
                <a:srgbClr val="505050"/>
              </a:solidFill>
              <a:effectLst/>
              <a:uLnTx/>
              <a:uFillTx/>
              <a:latin typeface="Segoe UI (Body)"/>
              <a:ea typeface="+mj-ea"/>
              <a:cs typeface="+mj-cs"/>
            </a:endParaRPr>
          </a:p>
          <a:p>
            <a:pPr marL="742950" marR="0" lvl="1"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cs-CZ" sz="1400" b="0" i="0" u="none" strike="noStrike" kern="0" cap="none" spc="0" normalizeH="0" baseline="0" noProof="0">
                <a:ln>
                  <a:noFill/>
                </a:ln>
                <a:solidFill>
                  <a:srgbClr val="505050"/>
                </a:solidFill>
                <a:effectLst/>
                <a:uLnTx/>
                <a:uFillTx/>
                <a:latin typeface="Segoe UI (Body)"/>
                <a:ea typeface="+mj-ea"/>
                <a:cs typeface="+mj-cs"/>
              </a:rPr>
              <a:t>Azure Training Days (Migrate):</a:t>
            </a:r>
          </a:p>
          <a:p>
            <a:pPr marL="1200150" marR="0" lvl="2"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cs-CZ" sz="1400" b="0" i="0" u="none" strike="noStrike" kern="0" cap="none" spc="0" normalizeH="0" baseline="0" noProof="0">
                <a:ln>
                  <a:noFill/>
                </a:ln>
                <a:solidFill>
                  <a:srgbClr val="505050"/>
                </a:solidFill>
                <a:effectLst/>
                <a:uLnTx/>
                <a:uFillTx/>
                <a:latin typeface="Segoe UI (Body)"/>
                <a:ea typeface="+mj-ea"/>
                <a:cs typeface="+mj-cs"/>
              </a:rPr>
              <a:t>Azure Fundamentals </a:t>
            </a:r>
          </a:p>
          <a:p>
            <a:pPr marL="1200150" marR="0" lvl="2"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cs-CZ" sz="1400" b="0" i="0" u="none" strike="noStrike" kern="0" cap="none" spc="0" normalizeH="0" baseline="0" noProof="0">
                <a:ln>
                  <a:noFill/>
                </a:ln>
                <a:solidFill>
                  <a:srgbClr val="505050"/>
                </a:solidFill>
                <a:effectLst/>
                <a:uLnTx/>
                <a:uFillTx/>
                <a:latin typeface="Segoe UI (Body)"/>
                <a:ea typeface="+mj-ea"/>
                <a:cs typeface="+mj-cs"/>
              </a:rPr>
              <a:t>Migrating Server Infrastructure</a:t>
            </a:r>
          </a:p>
          <a:p>
            <a:pPr marL="800100" marR="0" lvl="1"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cs-CZ" sz="1400" b="0" i="0" u="none" strike="noStrike" kern="0" cap="none" spc="0" normalizeH="0" baseline="0" noProof="0">
                <a:ln>
                  <a:noFill/>
                </a:ln>
                <a:solidFill>
                  <a:srgbClr val="505050"/>
                </a:solidFill>
                <a:effectLst/>
                <a:uLnTx/>
                <a:uFillTx/>
                <a:latin typeface="Segoe UI (Body)"/>
                <a:ea typeface="+mj-ea"/>
                <a:cs typeface="+mj-cs"/>
              </a:rPr>
              <a:t>Azure Training Days (Innovate)</a:t>
            </a:r>
          </a:p>
          <a:p>
            <a:pPr marL="1257300" marR="0" lvl="2"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cs-CZ" sz="1400" b="0" i="0" u="none" strike="noStrike" kern="0" cap="none" spc="0" normalizeH="0" baseline="0" noProof="0">
                <a:ln>
                  <a:noFill/>
                </a:ln>
                <a:solidFill>
                  <a:srgbClr val="505050"/>
                </a:solidFill>
                <a:effectLst/>
                <a:uLnTx/>
                <a:uFillTx/>
                <a:latin typeface="Segoe UI (Body)"/>
                <a:ea typeface="+mj-ea"/>
                <a:cs typeface="+mj-cs"/>
              </a:rPr>
              <a:t>Modernizing Web Applications Data</a:t>
            </a:r>
          </a:p>
          <a:p>
            <a:pPr marL="1257300" marR="0" lvl="2"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cs-CZ" sz="1400" b="0" i="0" u="none" strike="noStrike" kern="0" cap="none" spc="0" normalizeH="0" baseline="0" noProof="0">
                <a:ln>
                  <a:noFill/>
                </a:ln>
                <a:solidFill>
                  <a:srgbClr val="505050"/>
                </a:solidFill>
                <a:effectLst/>
                <a:uLnTx/>
                <a:uFillTx/>
                <a:latin typeface="Segoe UI (Body)"/>
                <a:ea typeface="+mj-ea"/>
                <a:cs typeface="+mj-cs"/>
              </a:rPr>
              <a:t>Intelligent Decision Making Through Modern Data Warehousing</a:t>
            </a:r>
          </a:p>
          <a:p>
            <a:pPr marL="342900" marR="0" lvl="0" indent="-342900" algn="l" defTabSz="932472" rtl="0" eaLnBrk="1" fontAlgn="base" latinLnBrk="0" hangingPunct="1">
              <a:lnSpc>
                <a:spcPct val="90000"/>
              </a:lnSpc>
              <a:spcBef>
                <a:spcPct val="0"/>
              </a:spcBef>
              <a:spcAft>
                <a:spcPct val="0"/>
              </a:spcAft>
              <a:buClrTx/>
              <a:buSzTx/>
              <a:buFont typeface="+mj-lt"/>
              <a:buAutoNum type="arabicPeriod"/>
              <a:tabLst/>
              <a:defRPr/>
            </a:pPr>
            <a:endParaRPr kumimoji="0" lang="cs-CZ" sz="1400" b="0" i="0" u="none" strike="noStrike" kern="0" cap="none" spc="0" normalizeH="0" baseline="0" noProof="0">
              <a:ln>
                <a:noFill/>
              </a:ln>
              <a:solidFill>
                <a:srgbClr val="505050"/>
              </a:solidFill>
              <a:effectLst/>
              <a:uLnTx/>
              <a:uFillTx/>
              <a:latin typeface="Segoe UI (Body)"/>
              <a:ea typeface="+mj-ea"/>
              <a:cs typeface="+mj-cs"/>
            </a:endParaRPr>
          </a:p>
          <a:p>
            <a:pPr marL="342900" marR="0" lvl="0" indent="-342900" algn="l" defTabSz="932472" rtl="0" eaLnBrk="1" fontAlgn="base" latinLnBrk="0" hangingPunct="1">
              <a:lnSpc>
                <a:spcPct val="90000"/>
              </a:lnSpc>
              <a:spcBef>
                <a:spcPct val="0"/>
              </a:spcBef>
              <a:spcAft>
                <a:spcPct val="0"/>
              </a:spcAft>
              <a:buClrTx/>
              <a:buSzTx/>
              <a:buFont typeface="+mj-lt"/>
              <a:buAutoNum type="arabicPeriod"/>
              <a:tabLst/>
              <a:defRPr/>
            </a:pPr>
            <a:r>
              <a:rPr kumimoji="0" lang="en-US" sz="1400" b="1" i="0" u="none" strike="noStrike" kern="0" cap="none" spc="0" normalizeH="0" baseline="0" noProof="0">
                <a:ln>
                  <a:noFill/>
                </a:ln>
                <a:solidFill>
                  <a:srgbClr val="000000"/>
                </a:solidFill>
                <a:effectLst/>
                <a:uLnTx/>
                <a:uFillTx/>
                <a:latin typeface="Segoe UI"/>
                <a:ea typeface="+mj-ea"/>
                <a:cs typeface="Segoe UI"/>
              </a:rPr>
              <a:t>Digital Hybrid Learning Workshops </a:t>
            </a:r>
            <a:r>
              <a:rPr kumimoji="0" lang="cs-CZ" sz="1400" b="1" i="0" u="none" strike="noStrike" kern="0" cap="none" spc="0" normalizeH="0" baseline="0" noProof="0">
                <a:ln>
                  <a:noFill/>
                </a:ln>
                <a:solidFill>
                  <a:srgbClr val="000000"/>
                </a:solidFill>
                <a:effectLst/>
                <a:uLnTx/>
                <a:uFillTx/>
                <a:latin typeface="Segoe UI"/>
                <a:ea typeface="+mj-ea"/>
                <a:cs typeface="Segoe UI"/>
              </a:rPr>
              <a:t> </a:t>
            </a:r>
            <a:r>
              <a:rPr kumimoji="0" lang="cs-CZ" sz="1400" b="1" i="0" u="none" strike="noStrike" kern="0" cap="none" spc="0" normalizeH="0" baseline="0" noProof="0">
                <a:ln>
                  <a:noFill/>
                </a:ln>
                <a:solidFill>
                  <a:srgbClr val="505050"/>
                </a:solidFill>
                <a:effectLst/>
                <a:uLnTx/>
                <a:uFillTx/>
                <a:latin typeface="Segoe UI (Body)"/>
                <a:ea typeface="+mj-ea"/>
                <a:cs typeface="+mj-cs"/>
              </a:rPr>
              <a:t>- </a:t>
            </a:r>
            <a:r>
              <a:rPr kumimoji="0" lang="en-US" sz="1400" b="0" i="0" u="none" strike="noStrike" kern="0" cap="none" spc="0" normalizeH="0" baseline="0" noProof="0">
                <a:ln>
                  <a:noFill/>
                </a:ln>
                <a:solidFill>
                  <a:srgbClr val="505050"/>
                </a:solidFill>
                <a:effectLst/>
                <a:uLnTx/>
                <a:uFillTx/>
                <a:latin typeface="Segoe UI (Body)"/>
                <a:ea typeface="+mj-ea"/>
                <a:cs typeface="+mj-cs"/>
              </a:rPr>
              <a:t>through Learning Partners to close the MCP gap, with focus on prioritized advanced certifications</a:t>
            </a:r>
            <a:endParaRPr kumimoji="0" lang="cs-CZ" sz="1400" b="0" i="0" u="none" strike="noStrike" kern="0" cap="none" spc="0" normalizeH="0" baseline="0" noProof="0">
              <a:ln>
                <a:noFill/>
              </a:ln>
              <a:solidFill>
                <a:srgbClr val="505050"/>
              </a:solidFill>
              <a:effectLst/>
              <a:uLnTx/>
              <a:uFillTx/>
              <a:latin typeface="Segoe UI (Body)"/>
              <a:ea typeface="+mj-ea"/>
              <a:cs typeface="+mj-cs"/>
            </a:endParaRPr>
          </a:p>
          <a:p>
            <a:pPr marL="342900" marR="0" lvl="0" indent="-342900" algn="l" defTabSz="932472" rtl="0" eaLnBrk="1" fontAlgn="base" latinLnBrk="0" hangingPunct="1">
              <a:lnSpc>
                <a:spcPct val="90000"/>
              </a:lnSpc>
              <a:spcBef>
                <a:spcPct val="0"/>
              </a:spcBef>
              <a:spcAft>
                <a:spcPct val="0"/>
              </a:spcAft>
              <a:buClrTx/>
              <a:buSzTx/>
              <a:buFont typeface="+mj-lt"/>
              <a:buAutoNum type="arabicPeriod"/>
              <a:tabLst/>
              <a:defRPr/>
            </a:pPr>
            <a:endParaRPr kumimoji="0" lang="cs-CZ" sz="1400" b="1" i="0" u="none" strike="noStrike" kern="0" cap="none" spc="0" normalizeH="0" baseline="0" noProof="0">
              <a:ln>
                <a:noFill/>
              </a:ln>
              <a:solidFill>
                <a:srgbClr val="505050"/>
              </a:solidFill>
              <a:effectLst/>
              <a:uLnTx/>
              <a:uFillTx/>
              <a:latin typeface="Segoe UI (Body)"/>
              <a:ea typeface="+mj-ea"/>
              <a:cs typeface="+mj-cs"/>
            </a:endParaRPr>
          </a:p>
          <a:p>
            <a:pPr marL="342900" marR="0" lvl="0" indent="-342900" algn="l" defTabSz="932472" rtl="0" eaLnBrk="1" fontAlgn="base" latinLnBrk="0" hangingPunct="1">
              <a:lnSpc>
                <a:spcPct val="90000"/>
              </a:lnSpc>
              <a:spcBef>
                <a:spcPct val="0"/>
              </a:spcBef>
              <a:spcAft>
                <a:spcPct val="0"/>
              </a:spcAft>
              <a:buClrTx/>
              <a:buSzTx/>
              <a:buFont typeface="+mj-lt"/>
              <a:buAutoNum type="arabicPeriod"/>
              <a:tabLst/>
              <a:defRPr/>
            </a:pPr>
            <a:r>
              <a:rPr kumimoji="0" lang="en-US" sz="1400" b="1" i="0" u="none" strike="noStrike" kern="0" cap="none" spc="0" normalizeH="0" baseline="0" noProof="0">
                <a:ln>
                  <a:noFill/>
                </a:ln>
                <a:solidFill>
                  <a:srgbClr val="000000"/>
                </a:solidFill>
                <a:effectLst/>
                <a:uLnTx/>
                <a:uFillTx/>
                <a:latin typeface="Segoe UI"/>
                <a:ea typeface="+mj-ea"/>
                <a:cs typeface="Segoe UI"/>
              </a:rPr>
              <a:t>Exam Preparation sessions </a:t>
            </a:r>
            <a:r>
              <a:rPr kumimoji="0" lang="en-US" sz="1400" b="0" i="0" u="none" strike="noStrike" kern="0" cap="none" spc="0" normalizeH="0" baseline="0" noProof="0">
                <a:ln>
                  <a:noFill/>
                </a:ln>
                <a:solidFill>
                  <a:srgbClr val="505050"/>
                </a:solidFill>
                <a:effectLst/>
                <a:uLnTx/>
                <a:uFillTx/>
                <a:latin typeface="Segoe UI (Body)"/>
                <a:ea typeface="+mj-ea"/>
                <a:cs typeface="+mj-cs"/>
              </a:rPr>
              <a:t>– (local) limited space organized by local enablement leads. Stay tuned on the regular forums where your local team promotes partner skilling events</a:t>
            </a:r>
            <a:r>
              <a:rPr kumimoji="0" lang="cs-CZ" sz="1400" b="0" i="0" u="none" strike="noStrike" kern="0" cap="none" spc="0" normalizeH="0" baseline="0" noProof="0">
                <a:ln>
                  <a:noFill/>
                </a:ln>
                <a:solidFill>
                  <a:srgbClr val="505050"/>
                </a:solidFill>
                <a:effectLst/>
                <a:uLnTx/>
                <a:uFillTx/>
                <a:latin typeface="Segoe UI (Body)"/>
                <a:ea typeface="+mj-ea"/>
                <a:cs typeface="+mj-cs"/>
              </a:rPr>
              <a:t>.</a:t>
            </a:r>
          </a:p>
          <a:p>
            <a:pPr marL="342900" marR="0" lvl="0" indent="-342900" algn="l" defTabSz="932472" rtl="0" eaLnBrk="1" fontAlgn="base" latinLnBrk="0" hangingPunct="1">
              <a:lnSpc>
                <a:spcPct val="90000"/>
              </a:lnSpc>
              <a:spcBef>
                <a:spcPct val="0"/>
              </a:spcBef>
              <a:spcAft>
                <a:spcPct val="0"/>
              </a:spcAft>
              <a:buClrTx/>
              <a:buSzTx/>
              <a:buFont typeface="+mj-lt"/>
              <a:buAutoNum type="arabicPeriod"/>
              <a:tabLst/>
              <a:defRPr/>
            </a:pPr>
            <a:endParaRPr kumimoji="0" lang="cs-CZ" sz="1400" b="0" i="0" u="none" strike="noStrike" kern="0" cap="none" spc="0" normalizeH="0" baseline="0" noProof="0">
              <a:ln>
                <a:noFill/>
              </a:ln>
              <a:solidFill>
                <a:srgbClr val="505050"/>
              </a:solidFill>
              <a:effectLst/>
              <a:uLnTx/>
              <a:uFillTx/>
              <a:latin typeface="Segoe UI (Body)"/>
              <a:ea typeface="+mj-ea"/>
              <a:cs typeface="+mj-cs"/>
            </a:endParaRPr>
          </a:p>
          <a:p>
            <a:pPr marL="342900" marR="0" lvl="0" indent="-342900" algn="l" defTabSz="932472" rtl="0" eaLnBrk="1" fontAlgn="base" latinLnBrk="0" hangingPunct="1">
              <a:lnSpc>
                <a:spcPct val="90000"/>
              </a:lnSpc>
              <a:spcBef>
                <a:spcPct val="0"/>
              </a:spcBef>
              <a:spcAft>
                <a:spcPct val="0"/>
              </a:spcAft>
              <a:buClrTx/>
              <a:buSzTx/>
              <a:buFont typeface="+mj-lt"/>
              <a:buAutoNum type="arabicPeriod"/>
              <a:tabLst/>
              <a:defRPr/>
            </a:pPr>
            <a:r>
              <a:rPr kumimoji="0" lang="en-US" sz="1400" b="1" i="0" u="none" strike="noStrike" kern="0" cap="none" spc="0" normalizeH="0" baseline="0" noProof="0">
                <a:ln>
                  <a:noFill/>
                </a:ln>
                <a:solidFill>
                  <a:srgbClr val="000000"/>
                </a:solidFill>
                <a:effectLst/>
                <a:uLnTx/>
                <a:uFillTx/>
                <a:latin typeface="Segoe UI"/>
                <a:ea typeface="+mj-ea"/>
                <a:cs typeface="Segoe UI"/>
              </a:rPr>
              <a:t>VILT (Virtual Instructor Led Courses)</a:t>
            </a:r>
            <a:r>
              <a:rPr kumimoji="0" lang="en-US" sz="1400" b="1" i="0" u="none" strike="noStrike" kern="0" cap="none" spc="0" normalizeH="0" baseline="0" noProof="0">
                <a:ln>
                  <a:noFill/>
                </a:ln>
                <a:solidFill>
                  <a:srgbClr val="505050"/>
                </a:solidFill>
                <a:effectLst/>
                <a:uLnTx/>
                <a:uFillTx/>
                <a:latin typeface="Segoe UI (Body)"/>
                <a:ea typeface="+mj-ea"/>
                <a:cs typeface="+mj-cs"/>
              </a:rPr>
              <a:t> </a:t>
            </a:r>
            <a:r>
              <a:rPr kumimoji="0" lang="en-US" sz="1400" b="0" i="0" u="none" strike="noStrike" kern="0" cap="none" spc="0" normalizeH="0" baseline="0" noProof="0">
                <a:ln>
                  <a:noFill/>
                </a:ln>
                <a:solidFill>
                  <a:srgbClr val="505050"/>
                </a:solidFill>
                <a:effectLst/>
                <a:uLnTx/>
                <a:uFillTx/>
                <a:latin typeface="Segoe UI (Body)"/>
                <a:ea typeface="+mj-ea"/>
                <a:cs typeface="+mj-cs"/>
              </a:rPr>
              <a:t>– Corp driven Online training offerings to be found on partner.Microsoft.com. </a:t>
            </a:r>
            <a:r>
              <a:rPr kumimoji="0" lang="cs-CZ" sz="1400" b="0" i="0" u="none" strike="noStrike" kern="0" cap="none" spc="0" normalizeH="0" baseline="0" noProof="0">
                <a:ln>
                  <a:noFill/>
                </a:ln>
                <a:solidFill>
                  <a:srgbClr val="505050"/>
                </a:solidFill>
                <a:effectLst/>
                <a:uLnTx/>
                <a:uFillTx/>
                <a:latin typeface="Segoe UI (Body)"/>
                <a:ea typeface="+mj-ea"/>
                <a:cs typeface="+mj-cs"/>
              </a:rPr>
              <a:t>(</a:t>
            </a:r>
            <a:r>
              <a:rPr kumimoji="0" lang="en-US" sz="1400" b="0" i="0" u="none" strike="noStrike" kern="1200" cap="none" spc="0" normalizeH="0" baseline="0" noProof="0">
                <a:ln>
                  <a:noFill/>
                </a:ln>
                <a:solidFill>
                  <a:srgbClr val="505050"/>
                </a:solidFill>
                <a:effectLst/>
                <a:uLnTx/>
                <a:uFillTx/>
                <a:latin typeface="Segoe UI Semilight"/>
                <a:ea typeface="+mj-ea"/>
                <a:cs typeface="+mj-cs"/>
                <a:hlinkClick r:id="rId7"/>
              </a:rPr>
              <a:t>Link</a:t>
            </a:r>
            <a:r>
              <a:rPr kumimoji="0" lang="cs-CZ" sz="1400" b="0" i="0" u="none" strike="noStrike" kern="1200" cap="none" spc="0" normalizeH="0" baseline="0" noProof="0">
                <a:ln>
                  <a:noFill/>
                </a:ln>
                <a:solidFill>
                  <a:srgbClr val="505050"/>
                </a:solidFill>
                <a:effectLst/>
                <a:uLnTx/>
                <a:uFillTx/>
                <a:latin typeface="Segoe UI Semilight"/>
                <a:ea typeface="+mj-ea"/>
                <a:cs typeface="+mj-cs"/>
              </a:rPr>
              <a:t>)</a:t>
            </a:r>
            <a:endParaRPr kumimoji="0" lang="en-US" sz="1400" b="0" i="0" u="none" strike="noStrike" kern="1200" cap="none" spc="0" normalizeH="0" baseline="0" noProof="0">
              <a:ln>
                <a:noFill/>
              </a:ln>
              <a:solidFill>
                <a:srgbClr val="505050"/>
              </a:solidFill>
              <a:effectLst/>
              <a:uLnTx/>
              <a:uFillTx/>
              <a:latin typeface="Segoe UI Semilight"/>
              <a:ea typeface="+mj-ea"/>
              <a:cs typeface="+mj-cs"/>
            </a:endParaRPr>
          </a:p>
          <a:p>
            <a:pPr marL="342900" marR="0" lvl="0" indent="-342900" algn="l" defTabSz="932472" rtl="0" eaLnBrk="1" fontAlgn="base" latinLnBrk="0" hangingPunct="1">
              <a:lnSpc>
                <a:spcPct val="90000"/>
              </a:lnSpc>
              <a:spcBef>
                <a:spcPct val="0"/>
              </a:spcBef>
              <a:spcAft>
                <a:spcPct val="0"/>
              </a:spcAft>
              <a:buClrTx/>
              <a:buSzTx/>
              <a:buFont typeface="+mj-lt"/>
              <a:buAutoNum type="arabicPeriod"/>
              <a:tabLst/>
              <a:defRPr/>
            </a:pPr>
            <a:endParaRPr kumimoji="0" lang="en-US" sz="1400" b="0" i="0" u="none" strike="noStrike" kern="0" cap="none" spc="0" normalizeH="0" baseline="0" noProof="0">
              <a:ln>
                <a:noFill/>
              </a:ln>
              <a:solidFill>
                <a:srgbClr val="505050"/>
              </a:solidFill>
              <a:effectLst/>
              <a:uLnTx/>
              <a:uFillTx/>
              <a:latin typeface="Segoe UI (Body)"/>
              <a:ea typeface="+mj-ea"/>
              <a:cs typeface="+mj-cs"/>
            </a:endParaRPr>
          </a:p>
          <a:p>
            <a:pPr marL="342900" marR="0" lvl="0" indent="-342900" algn="l" defTabSz="932472" rtl="0" eaLnBrk="1" fontAlgn="base" latinLnBrk="0" hangingPunct="1">
              <a:lnSpc>
                <a:spcPct val="90000"/>
              </a:lnSpc>
              <a:spcBef>
                <a:spcPct val="0"/>
              </a:spcBef>
              <a:spcAft>
                <a:spcPct val="0"/>
              </a:spcAft>
              <a:buClrTx/>
              <a:buSzTx/>
              <a:buFont typeface="+mj-lt"/>
              <a:buAutoNum type="arabicPeriod"/>
              <a:tabLst/>
              <a:defRPr/>
            </a:pPr>
            <a:r>
              <a:rPr kumimoji="0" lang="en-US" sz="1400" b="1" i="0" u="none" strike="noStrike" kern="0" cap="none" spc="0" normalizeH="0" baseline="0" noProof="0">
                <a:ln>
                  <a:noFill/>
                </a:ln>
                <a:solidFill>
                  <a:srgbClr val="000000"/>
                </a:solidFill>
                <a:effectLst/>
                <a:uLnTx/>
                <a:uFillTx/>
                <a:latin typeface="Segoe UI"/>
                <a:ea typeface="+mj-ea"/>
                <a:cs typeface="Segoe UI"/>
              </a:rPr>
              <a:t>Technical 1-1 engagements</a:t>
            </a:r>
            <a:r>
              <a:rPr kumimoji="0" lang="en-US" sz="1400" b="1" i="0" u="none" strike="noStrike" kern="0" cap="none" spc="0" normalizeH="0" baseline="0" noProof="0">
                <a:ln>
                  <a:noFill/>
                </a:ln>
                <a:solidFill>
                  <a:srgbClr val="505050"/>
                </a:solidFill>
                <a:effectLst/>
                <a:uLnTx/>
                <a:uFillTx/>
                <a:latin typeface="Segoe UI (Body)"/>
                <a:ea typeface="+mj-ea"/>
                <a:cs typeface="+mj-cs"/>
              </a:rPr>
              <a:t> </a:t>
            </a:r>
            <a:r>
              <a:rPr kumimoji="0" lang="en-US" sz="1400" b="0" i="0" u="none" strike="noStrike" kern="0" cap="none" spc="0" normalizeH="0" baseline="0" noProof="0">
                <a:ln>
                  <a:noFill/>
                </a:ln>
                <a:solidFill>
                  <a:srgbClr val="505050"/>
                </a:solidFill>
                <a:effectLst/>
                <a:uLnTx/>
                <a:uFillTx/>
                <a:latin typeface="Segoe UI (Body)"/>
                <a:ea typeface="+mj-ea"/>
                <a:cs typeface="+mj-cs"/>
              </a:rPr>
              <a:t>(solution development/ practice building)</a:t>
            </a:r>
          </a:p>
          <a:p>
            <a:pPr marL="742950" marR="0" lvl="1"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Body)"/>
                <a:ea typeface="+mj-ea"/>
                <a:cs typeface="+mj-cs"/>
              </a:rPr>
              <a:t>Unmanaged partners – Engage PTC community through “Technical Presales and Deployment services” (</a:t>
            </a:r>
            <a:r>
              <a:rPr kumimoji="0" lang="en-US" sz="1400" b="0" i="0" u="none" strike="noStrike" kern="0" cap="none" spc="0" normalizeH="0" baseline="0" noProof="0">
                <a:ln>
                  <a:noFill/>
                </a:ln>
                <a:solidFill>
                  <a:srgbClr val="505050"/>
                </a:solidFill>
                <a:effectLst/>
                <a:uLnTx/>
                <a:uFillTx/>
                <a:latin typeface="Segoe UI (Body)"/>
                <a:ea typeface="+mj-ea"/>
                <a:cs typeface="+mj-cs"/>
                <a:hlinkClick r:id="rId8"/>
              </a:rPr>
              <a:t>Link</a:t>
            </a:r>
            <a:r>
              <a:rPr kumimoji="0" lang="en-US" sz="1400" b="0" i="0" u="none" strike="noStrike" kern="0" cap="none" spc="0" normalizeH="0" baseline="0" noProof="0">
                <a:ln>
                  <a:noFill/>
                </a:ln>
                <a:solidFill>
                  <a:srgbClr val="505050"/>
                </a:solidFill>
                <a:effectLst/>
                <a:uLnTx/>
                <a:uFillTx/>
                <a:latin typeface="Segoe UI (Body)"/>
                <a:ea typeface="+mj-ea"/>
                <a:cs typeface="+mj-cs"/>
              </a:rPr>
              <a:t>)  </a:t>
            </a:r>
          </a:p>
          <a:p>
            <a:pPr marL="742950" marR="0" lvl="1"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Body)"/>
                <a:ea typeface="+mj-ea"/>
                <a:cs typeface="+mj-cs"/>
              </a:rPr>
              <a:t>Managed Partners – request Architect support through your Partner Development Manager.</a:t>
            </a:r>
          </a:p>
          <a:p>
            <a:pPr marL="342900" marR="0" lvl="0" indent="-342900" algn="l" defTabSz="932472" rtl="0" eaLnBrk="1" fontAlgn="base" latinLnBrk="0" hangingPunct="1">
              <a:lnSpc>
                <a:spcPct val="90000"/>
              </a:lnSpc>
              <a:spcBef>
                <a:spcPct val="0"/>
              </a:spcBef>
              <a:spcAft>
                <a:spcPct val="0"/>
              </a:spcAft>
              <a:buClrTx/>
              <a:buSzTx/>
              <a:buFont typeface="+mj-lt"/>
              <a:buAutoNum type="arabicPeriod"/>
              <a:tabLst/>
              <a:defRPr/>
            </a:pPr>
            <a:endParaRPr kumimoji="0" lang="cs-CZ" sz="1400" b="0" i="0" u="none" strike="noStrike" kern="0" cap="none" spc="0" normalizeH="0" baseline="0" noProof="0">
              <a:ln>
                <a:noFill/>
              </a:ln>
              <a:solidFill>
                <a:srgbClr val="000000"/>
              </a:solidFill>
              <a:effectLst/>
              <a:uLnTx/>
              <a:uFillTx/>
              <a:latin typeface="Segoe UI"/>
              <a:ea typeface="+mj-ea"/>
              <a:cs typeface="Segoe UI"/>
            </a:endParaRPr>
          </a:p>
          <a:p>
            <a:pPr marL="342900" marR="0" lvl="0" indent="-342900" algn="l" defTabSz="932472" rtl="0" eaLnBrk="1" fontAlgn="base" latinLnBrk="0" hangingPunct="1">
              <a:lnSpc>
                <a:spcPct val="90000"/>
              </a:lnSpc>
              <a:spcBef>
                <a:spcPct val="0"/>
              </a:spcBef>
              <a:spcAft>
                <a:spcPct val="0"/>
              </a:spcAft>
              <a:buClrTx/>
              <a:buSzTx/>
              <a:buFont typeface="+mj-lt"/>
              <a:buAutoNum type="arabicPeriod"/>
              <a:tabLst/>
              <a:defRPr/>
            </a:pPr>
            <a:r>
              <a:rPr kumimoji="0" lang="en-US" sz="1400" b="1" i="0" u="none" strike="noStrike" kern="0" cap="none" spc="0" normalizeH="0" baseline="0" noProof="0">
                <a:ln>
                  <a:noFill/>
                </a:ln>
                <a:solidFill>
                  <a:srgbClr val="000000"/>
                </a:solidFill>
                <a:effectLst/>
                <a:uLnTx/>
                <a:uFillTx/>
                <a:latin typeface="Segoe UI"/>
                <a:ea typeface="+mj-ea"/>
                <a:cs typeface="Segoe UI"/>
              </a:rPr>
              <a:t>CSP partner Ecosystem Enablement </a:t>
            </a:r>
            <a:r>
              <a:rPr kumimoji="0" lang="en-US" sz="1400" b="0" i="0" u="none" strike="noStrike" kern="0" cap="none" spc="0" normalizeH="0" baseline="0" noProof="0">
                <a:ln>
                  <a:noFill/>
                </a:ln>
                <a:solidFill>
                  <a:srgbClr val="000000"/>
                </a:solidFill>
                <a:effectLst/>
                <a:uLnTx/>
                <a:uFillTx/>
                <a:latin typeface="Segoe UI"/>
                <a:ea typeface="+mj-ea"/>
                <a:cs typeface="Segoe UI"/>
              </a:rPr>
              <a:t>– Technical and Sales readiness (TTT) for </a:t>
            </a:r>
            <a:r>
              <a:rPr kumimoji="0" lang="cs-CZ" sz="1400" b="0" i="0" u="none" strike="noStrike" kern="0" cap="none" spc="0" normalizeH="0" baseline="0" noProof="0">
                <a:ln>
                  <a:noFill/>
                </a:ln>
                <a:solidFill>
                  <a:srgbClr val="000000"/>
                </a:solidFill>
                <a:effectLst/>
                <a:uLnTx/>
                <a:uFillTx/>
                <a:latin typeface="Segoe UI"/>
                <a:ea typeface="+mj-ea"/>
                <a:cs typeface="Segoe UI"/>
              </a:rPr>
              <a:t>CEE </a:t>
            </a:r>
            <a:r>
              <a:rPr kumimoji="0" lang="en-US" sz="1400" b="0" i="0" u="none" strike="noStrike" kern="0" cap="none" spc="0" normalizeH="0" baseline="0" noProof="0">
                <a:ln>
                  <a:noFill/>
                </a:ln>
                <a:solidFill>
                  <a:srgbClr val="000000"/>
                </a:solidFill>
                <a:effectLst/>
                <a:uLnTx/>
                <a:uFillTx/>
                <a:latin typeface="Segoe UI"/>
                <a:ea typeface="+mj-ea"/>
                <a:cs typeface="Segoe UI"/>
              </a:rPr>
              <a:t>Distis towards resellers focused on advanced scenarios (WVD, Migrate OS, Hybrid Cloud, Analytics &amp; AI, Dev Ops).</a:t>
            </a:r>
            <a:endParaRPr kumimoji="0" lang="cs-CZ" sz="1400" b="0" i="0" u="none" strike="noStrike" kern="0" cap="none" spc="0" normalizeH="0" baseline="0" noProof="0">
              <a:ln>
                <a:noFill/>
              </a:ln>
              <a:solidFill>
                <a:srgbClr val="000000"/>
              </a:solidFill>
              <a:effectLst/>
              <a:uLnTx/>
              <a:uFillTx/>
              <a:latin typeface="Segoe UI"/>
              <a:ea typeface="+mj-ea"/>
              <a:cs typeface="Segoe UI"/>
            </a:endParaRPr>
          </a:p>
          <a:p>
            <a:pPr marL="342900" marR="0" lvl="0" indent="-342900" algn="l" defTabSz="932472" rtl="0" eaLnBrk="1" fontAlgn="base" latinLnBrk="0" hangingPunct="1">
              <a:lnSpc>
                <a:spcPct val="90000"/>
              </a:lnSpc>
              <a:spcBef>
                <a:spcPct val="0"/>
              </a:spcBef>
              <a:spcAft>
                <a:spcPct val="0"/>
              </a:spcAft>
              <a:buClrTx/>
              <a:buSzTx/>
              <a:buFont typeface="+mj-lt"/>
              <a:buAutoNum type="arabicPeriod"/>
              <a:tabLst/>
              <a:defRPr/>
            </a:pPr>
            <a:endParaRPr kumimoji="0" lang="cs-CZ" sz="1400" b="0" i="0" u="none" strike="noStrike" kern="0" cap="none" spc="0" normalizeH="0" baseline="0" noProof="0">
              <a:ln>
                <a:noFill/>
              </a:ln>
              <a:solidFill>
                <a:srgbClr val="000000"/>
              </a:solidFill>
              <a:effectLst/>
              <a:uLnTx/>
              <a:uFillTx/>
              <a:latin typeface="Segoe UI"/>
              <a:ea typeface="+mj-ea"/>
              <a:cs typeface="Segoe UI"/>
            </a:endParaRPr>
          </a:p>
          <a:p>
            <a:pPr marL="342900" marR="0" lvl="0" indent="-342900" algn="l" defTabSz="932472" rtl="0" eaLnBrk="1" fontAlgn="base" latinLnBrk="0" hangingPunct="1">
              <a:lnSpc>
                <a:spcPct val="90000"/>
              </a:lnSpc>
              <a:spcBef>
                <a:spcPct val="0"/>
              </a:spcBef>
              <a:spcAft>
                <a:spcPct val="0"/>
              </a:spcAft>
              <a:buClrTx/>
              <a:buSzTx/>
              <a:buFont typeface="+mj-lt"/>
              <a:buAutoNum type="arabicPeriod"/>
              <a:tabLst/>
              <a:defRPr/>
            </a:pPr>
            <a:r>
              <a:rPr kumimoji="0" lang="cs-CZ" sz="1400" b="1" i="0" u="none" strike="noStrike" kern="0" cap="none" spc="0" normalizeH="0" baseline="0" noProof="0">
                <a:ln>
                  <a:noFill/>
                </a:ln>
                <a:solidFill>
                  <a:srgbClr val="000000"/>
                </a:solidFill>
                <a:effectLst/>
                <a:uLnTx/>
                <a:uFillTx/>
                <a:latin typeface="Segoe UI"/>
                <a:ea typeface="+mj-ea"/>
                <a:cs typeface="Segoe UI"/>
              </a:rPr>
              <a:t>Sales/Marketing </a:t>
            </a:r>
            <a:r>
              <a:rPr kumimoji="0" lang="cs-CZ" sz="1400" b="0" i="0" u="none" strike="noStrike" kern="0" cap="none" spc="0" normalizeH="0" baseline="0" noProof="0">
                <a:ln>
                  <a:noFill/>
                </a:ln>
                <a:solidFill>
                  <a:srgbClr val="000000"/>
                </a:solidFill>
                <a:effectLst/>
                <a:uLnTx/>
                <a:uFillTx/>
                <a:latin typeface="Segoe UI"/>
                <a:ea typeface="+mj-ea"/>
                <a:cs typeface="Segoe UI"/>
              </a:rPr>
              <a:t>- In a Day TTT content/sales plays (Slide In a Day wkps – links)</a:t>
            </a:r>
            <a:endParaRPr kumimoji="0" lang="en-US" sz="1400" b="0" i="0" u="none" strike="noStrike" kern="0" cap="none" spc="0" normalizeH="0" baseline="0" noProof="0">
              <a:ln>
                <a:noFill/>
              </a:ln>
              <a:solidFill>
                <a:srgbClr val="000000"/>
              </a:solidFill>
              <a:effectLst/>
              <a:uLnTx/>
              <a:uFillTx/>
              <a:latin typeface="Segoe UI"/>
              <a:ea typeface="+mj-ea"/>
              <a:cs typeface="Segoe UI"/>
            </a:endParaRPr>
          </a:p>
        </p:txBody>
      </p:sp>
      <p:sp>
        <p:nvSpPr>
          <p:cNvPr id="6" name="Rectangle 5">
            <a:extLst>
              <a:ext uri="{FF2B5EF4-FFF2-40B4-BE49-F238E27FC236}">
                <a16:creationId xmlns:a16="http://schemas.microsoft.com/office/drawing/2014/main" id="{26D764E3-3AF0-4CDE-9E04-EE2EE6F3CA77}"/>
              </a:ext>
            </a:extLst>
          </p:cNvPr>
          <p:cNvSpPr/>
          <p:nvPr/>
        </p:nvSpPr>
        <p:spPr bwMode="auto">
          <a:xfrm>
            <a:off x="355956" y="1031905"/>
            <a:ext cx="11672560" cy="413566"/>
          </a:xfrm>
          <a:prstGeom prst="rect">
            <a:avLst/>
          </a:prstGeom>
          <a:solidFill>
            <a:srgbClr val="0078D7"/>
          </a:solidFill>
          <a:ln w="6350" cap="flat" cmpd="sng" algn="ctr">
            <a:solidFill>
              <a:srgbClr val="A5A5A5"/>
            </a:solidFill>
            <a:prstDash val="solid"/>
            <a:miter lim="800000"/>
            <a:headEnd type="none" w="med" len="med"/>
            <a:tailEnd type="none" w="med" len="med"/>
          </a:ln>
          <a:effectLst/>
        </p:spPr>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IN" sz="1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Description</a:t>
            </a:r>
            <a:endParaRPr kumimoji="0" lang="en-IN" sz="16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34772493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Y20 Co-Sell Guide" descr="FY20 Co-sell Guide">
            <a:extLst>
              <a:ext uri="{FF2B5EF4-FFF2-40B4-BE49-F238E27FC236}">
                <a16:creationId xmlns:a16="http://schemas.microsoft.com/office/drawing/2014/main" id="{6CF67FE7-FDF2-485E-920B-C579DAED9632}"/>
              </a:ext>
            </a:extLst>
          </p:cNvPr>
          <p:cNvSpPr>
            <a:spLocks noGrp="1"/>
          </p:cNvSpPr>
          <p:nvPr>
            <p:ph type="title"/>
          </p:nvPr>
        </p:nvSpPr>
        <p:spPr>
          <a:xfrm>
            <a:off x="409448" y="1514490"/>
            <a:ext cx="5285752" cy="3200876"/>
          </a:xfrm>
        </p:spPr>
        <p:txBody>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hu-HU">
                <a:latin typeface="Segoe UI Semibold"/>
              </a:rPr>
              <a:t>Access presentation &amp; recording at </a:t>
            </a:r>
            <a:r>
              <a:rPr lang="hu-HU">
                <a:latin typeface="Segoe UI Semibold"/>
                <a:hlinkClick r:id="rId3"/>
              </a:rPr>
              <a:t>aka.ms/AA8t54z</a:t>
            </a:r>
            <a:br>
              <a:rPr lang="hu-HU">
                <a:latin typeface="Segoe UI Semibold"/>
              </a:rPr>
            </a:br>
            <a:br>
              <a:rPr lang="hu-HU">
                <a:latin typeface="Segoe UI Semibold"/>
              </a:rPr>
            </a:br>
            <a:r>
              <a:rPr lang="hu-HU" sz="3200">
                <a:latin typeface="Segoe UI Semibold"/>
              </a:rPr>
              <a:t>Subscribe to </a:t>
            </a:r>
            <a:r>
              <a:rPr lang="en-US" sz="3200">
                <a:latin typeface="Segoe UI Semibold"/>
              </a:rPr>
              <a:t>our newsletter:</a:t>
            </a:r>
            <a:br>
              <a:rPr lang="en-US" sz="3200">
                <a:latin typeface="Segoe UI Semibold"/>
              </a:rPr>
            </a:br>
            <a:r>
              <a:rPr lang="en-US" sz="3200">
                <a:latin typeface="+mj-lt"/>
                <a:cs typeface="Segoe UI Light"/>
                <a:hlinkClick r:id="rId4"/>
              </a:rPr>
              <a:t>aka.ms/AA8t56p</a:t>
            </a:r>
            <a:r>
              <a:rPr lang="hu-HU" sz="3200">
                <a:latin typeface="Segoe UI Semibold"/>
                <a:hlinkClick r:id="rId4"/>
              </a:rPr>
              <a:t> </a:t>
            </a:r>
            <a:endParaRPr kumimoji="0" lang="hu-HU" sz="9600" b="0" i="0" u="none" strike="noStrike" kern="1200" cap="none" spc="-50" normalizeH="0" baseline="0" noProof="0">
              <a:ln w="3175">
                <a:noFill/>
              </a:ln>
              <a:solidFill>
                <a:srgbClr val="50E6FF"/>
              </a:solidFill>
              <a:effectLst/>
              <a:uLnTx/>
              <a:uFillTx/>
              <a:latin typeface="Segoe UI Semibold"/>
              <a:ea typeface="+mn-ea"/>
              <a:cs typeface="Segoe UI" panose="020B0502040204020203" pitchFamily="34" charset="0"/>
            </a:endParaRPr>
          </a:p>
        </p:txBody>
      </p:sp>
      <p:pic>
        <p:nvPicPr>
          <p:cNvPr id="6" name="Co-sell graphic" descr="Connections">
            <a:extLst>
              <a:ext uri="{FF2B5EF4-FFF2-40B4-BE49-F238E27FC236}">
                <a16:creationId xmlns:a16="http://schemas.microsoft.com/office/drawing/2014/main" id="{E07770A4-D2E5-414E-9EE1-4890FFB473C8}"/>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535605" y="-82866"/>
            <a:ext cx="6826477" cy="6826477"/>
          </a:xfrm>
          <a:prstGeom prst="rect">
            <a:avLst/>
          </a:prstGeom>
        </p:spPr>
      </p:pic>
    </p:spTree>
    <p:extLst>
      <p:ext uri="{BB962C8B-B14F-4D97-AF65-F5344CB8AC3E}">
        <p14:creationId xmlns:p14="http://schemas.microsoft.com/office/powerpoint/2010/main" val="16053923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087096-836F-4480-BBA4-59BBA124932A}"/>
              </a:ext>
            </a:extLst>
          </p:cNvPr>
          <p:cNvPicPr>
            <a:picLocks noChangeAspect="1"/>
          </p:cNvPicPr>
          <p:nvPr/>
        </p:nvPicPr>
        <p:blipFill>
          <a:blip r:embed="rId3"/>
          <a:stretch>
            <a:fillRect/>
          </a:stretch>
        </p:blipFill>
        <p:spPr>
          <a:xfrm>
            <a:off x="5417602" y="1765676"/>
            <a:ext cx="6774398" cy="3810600"/>
          </a:xfrm>
          <a:prstGeom prst="rect">
            <a:avLst/>
          </a:prstGeom>
        </p:spPr>
      </p:pic>
      <p:sp>
        <p:nvSpPr>
          <p:cNvPr id="9" name="FY20 Co-Sell Guide" descr="FY20 Co-sell Guide">
            <a:extLst>
              <a:ext uri="{FF2B5EF4-FFF2-40B4-BE49-F238E27FC236}">
                <a16:creationId xmlns:a16="http://schemas.microsoft.com/office/drawing/2014/main" id="{6CF67FE7-FDF2-485E-920B-C579DAED9632}"/>
              </a:ext>
            </a:extLst>
          </p:cNvPr>
          <p:cNvSpPr>
            <a:spLocks noGrp="1"/>
          </p:cNvSpPr>
          <p:nvPr>
            <p:ph type="title"/>
          </p:nvPr>
        </p:nvSpPr>
        <p:spPr>
          <a:xfrm>
            <a:off x="373448" y="2751891"/>
            <a:ext cx="4475167" cy="1354217"/>
          </a:xfrm>
        </p:spPr>
        <p:txBody>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hu-HU" sz="4400">
                <a:solidFill>
                  <a:srgbClr val="50E6FF"/>
                </a:solidFill>
                <a:latin typeface="Segoe UI Semibold"/>
              </a:rPr>
              <a:t>Thank you for your attention!</a:t>
            </a:r>
            <a:endParaRPr kumimoji="0" lang="hu-HU" sz="4400" b="0" i="0" u="none" strike="noStrike" kern="1200" cap="none" spc="-50" normalizeH="0" baseline="0" noProof="0">
              <a:ln w="3175">
                <a:noFill/>
              </a:ln>
              <a:solidFill>
                <a:srgbClr val="50E6FF"/>
              </a:soli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33562681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F4D7202D-58E1-407A-8E97-D9C64237044E}"/>
              </a:ext>
            </a:extLst>
          </p:cNvPr>
          <p:cNvSpPr/>
          <p:nvPr/>
        </p:nvSpPr>
        <p:spPr>
          <a:xfrm>
            <a:off x="4264504" y="849250"/>
            <a:ext cx="4216555" cy="333822"/>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731520" t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Partner selection</a:t>
            </a:r>
          </a:p>
        </p:txBody>
      </p:sp>
      <p:sp>
        <p:nvSpPr>
          <p:cNvPr id="93" name="Rectangle 92">
            <a:extLst>
              <a:ext uri="{FF2B5EF4-FFF2-40B4-BE49-F238E27FC236}">
                <a16:creationId xmlns:a16="http://schemas.microsoft.com/office/drawing/2014/main" id="{F209EB25-971A-4BA2-ADE1-D4082AC729C9}"/>
              </a:ext>
            </a:extLst>
          </p:cNvPr>
          <p:cNvSpPr/>
          <p:nvPr/>
        </p:nvSpPr>
        <p:spPr>
          <a:xfrm>
            <a:off x="8795023" y="849250"/>
            <a:ext cx="2783248" cy="333822"/>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731520" t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Partner execution</a:t>
            </a:r>
          </a:p>
        </p:txBody>
      </p:sp>
      <p:grpSp>
        <p:nvGrpSpPr>
          <p:cNvPr id="5" name="Group 4">
            <a:extLst>
              <a:ext uri="{FF2B5EF4-FFF2-40B4-BE49-F238E27FC236}">
                <a16:creationId xmlns:a16="http://schemas.microsoft.com/office/drawing/2014/main" id="{EFDA010B-98F7-4036-9EBA-08EF8437C096}"/>
              </a:ext>
            </a:extLst>
          </p:cNvPr>
          <p:cNvGrpSpPr/>
          <p:nvPr/>
        </p:nvGrpSpPr>
        <p:grpSpPr>
          <a:xfrm>
            <a:off x="4340705" y="744962"/>
            <a:ext cx="542398" cy="542398"/>
            <a:chOff x="4584545" y="825540"/>
            <a:chExt cx="542398" cy="542398"/>
          </a:xfrm>
        </p:grpSpPr>
        <p:sp>
          <p:nvSpPr>
            <p:cNvPr id="91" name="Oval 90">
              <a:extLst>
                <a:ext uri="{FF2B5EF4-FFF2-40B4-BE49-F238E27FC236}">
                  <a16:creationId xmlns:a16="http://schemas.microsoft.com/office/drawing/2014/main" id="{897F5A8C-7EA0-427D-8124-C513A8E2A9AD}"/>
                </a:ext>
              </a:extLst>
            </p:cNvPr>
            <p:cNvSpPr/>
            <p:nvPr/>
          </p:nvSpPr>
          <p:spPr bwMode="auto">
            <a:xfrm>
              <a:off x="4584545" y="825540"/>
              <a:ext cx="542398" cy="54239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2" name="Oval 91">
              <a:extLst>
                <a:ext uri="{FF2B5EF4-FFF2-40B4-BE49-F238E27FC236}">
                  <a16:creationId xmlns:a16="http://schemas.microsoft.com/office/drawing/2014/main" id="{80ED5101-7D96-4EF7-BC53-1E82513209EE}"/>
                </a:ext>
              </a:extLst>
            </p:cNvPr>
            <p:cNvSpPr/>
            <p:nvPr/>
          </p:nvSpPr>
          <p:spPr bwMode="auto">
            <a:xfrm>
              <a:off x="4651220" y="892215"/>
              <a:ext cx="409048" cy="40904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6" name="Group 95">
              <a:extLst>
                <a:ext uri="{FF2B5EF4-FFF2-40B4-BE49-F238E27FC236}">
                  <a16:creationId xmlns:a16="http://schemas.microsoft.com/office/drawing/2014/main" id="{6D7E5878-CB89-46C1-BB3A-502E33267621}"/>
                </a:ext>
              </a:extLst>
            </p:cNvPr>
            <p:cNvGrpSpPr/>
            <p:nvPr/>
          </p:nvGrpSpPr>
          <p:grpSpPr>
            <a:xfrm>
              <a:off x="4723091" y="939027"/>
              <a:ext cx="265306" cy="315425"/>
              <a:chOff x="7068944" y="164926"/>
              <a:chExt cx="400929" cy="476668"/>
            </a:xfrm>
          </p:grpSpPr>
          <p:sp>
            <p:nvSpPr>
              <p:cNvPr id="97" name="Processing_E9F5" title="Icon of two interlocked gears">
                <a:extLst>
                  <a:ext uri="{FF2B5EF4-FFF2-40B4-BE49-F238E27FC236}">
                    <a16:creationId xmlns:a16="http://schemas.microsoft.com/office/drawing/2014/main" id="{5A9181A6-34ED-432C-B97E-ED444C75A329}"/>
                  </a:ext>
                </a:extLst>
              </p:cNvPr>
              <p:cNvSpPr>
                <a:spLocks noChangeAspect="1" noEditPoints="1"/>
              </p:cNvSpPr>
              <p:nvPr/>
            </p:nvSpPr>
            <p:spPr bwMode="auto">
              <a:xfrm>
                <a:off x="7120110" y="286893"/>
                <a:ext cx="282183" cy="245763"/>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F112D76B-8490-4A35-BAEC-C2CFF5E8EE5C}"/>
                  </a:ext>
                </a:extLst>
              </p:cNvPr>
              <p:cNvSpPr/>
              <p:nvPr/>
            </p:nvSpPr>
            <p:spPr>
              <a:xfrm>
                <a:off x="7068944" y="202900"/>
                <a:ext cx="400929" cy="399767"/>
              </a:xfrm>
              <a:custGeom>
                <a:avLst/>
                <a:gdLst>
                  <a:gd name="connsiteX0" fmla="*/ 24074 w 256048"/>
                  <a:gd name="connsiteY0" fmla="*/ 200157 h 255306"/>
                  <a:gd name="connsiteX1" fmla="*/ 30836 w 256048"/>
                  <a:gd name="connsiteY1" fmla="*/ 42709 h 255306"/>
                  <a:gd name="connsiteX2" fmla="*/ 177236 w 256048"/>
                  <a:gd name="connsiteY2" fmla="*/ 10514 h 255306"/>
                  <a:gd name="connsiteX3" fmla="*/ 84557 w 256048"/>
                  <a:gd name="connsiteY3" fmla="*/ 246734 h 255306"/>
                  <a:gd name="connsiteX4" fmla="*/ 225146 w 256048"/>
                  <a:gd name="connsiteY4" fmla="*/ 212635 h 255306"/>
                  <a:gd name="connsiteX5" fmla="*/ 236291 w 256048"/>
                  <a:gd name="connsiteY5" fmla="*/ 61092 h 25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048" h="255306">
                    <a:moveTo>
                      <a:pt x="24074" y="200157"/>
                    </a:moveTo>
                    <a:cubicBezTo>
                      <a:pt x="-9931" y="152627"/>
                      <a:pt x="-8121" y="87190"/>
                      <a:pt x="30836" y="42709"/>
                    </a:cubicBezTo>
                    <a:cubicBezTo>
                      <a:pt x="67698" y="513"/>
                      <a:pt x="127706" y="-10822"/>
                      <a:pt x="177236" y="10514"/>
                    </a:cubicBezTo>
                    <a:moveTo>
                      <a:pt x="84557" y="246734"/>
                    </a:moveTo>
                    <a:cubicBezTo>
                      <a:pt x="133325" y="265308"/>
                      <a:pt x="189332" y="253592"/>
                      <a:pt x="225146" y="212635"/>
                    </a:cubicBezTo>
                    <a:cubicBezTo>
                      <a:pt x="262484" y="169963"/>
                      <a:pt x="265723" y="107764"/>
                      <a:pt x="236291" y="61092"/>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D1988BE7-116E-4917-9C9C-D618A1B274AB}"/>
                  </a:ext>
                </a:extLst>
              </p:cNvPr>
              <p:cNvSpPr/>
              <p:nvPr/>
            </p:nvSpPr>
            <p:spPr>
              <a:xfrm>
                <a:off x="7192697" y="560609"/>
                <a:ext cx="59508" cy="80985"/>
              </a:xfrm>
              <a:custGeom>
                <a:avLst/>
                <a:gdLst>
                  <a:gd name="connsiteX0" fmla="*/ 19336 w 38004"/>
                  <a:gd name="connsiteY0" fmla="*/ 51721 h 51720"/>
                  <a:gd name="connsiteX1" fmla="*/ 0 w 38004"/>
                  <a:gd name="connsiteY1" fmla="*/ 13811 h 51720"/>
                  <a:gd name="connsiteX2" fmla="*/ 38005 w 38004"/>
                  <a:gd name="connsiteY2" fmla="*/ 0 h 51720"/>
                </a:gdLst>
                <a:ahLst/>
                <a:cxnLst>
                  <a:cxn ang="0">
                    <a:pos x="connsiteX0" y="connsiteY0"/>
                  </a:cxn>
                  <a:cxn ang="0">
                    <a:pos x="connsiteX1" y="connsiteY1"/>
                  </a:cxn>
                  <a:cxn ang="0">
                    <a:pos x="connsiteX2" y="connsiteY2"/>
                  </a:cxn>
                </a:cxnLst>
                <a:rect l="l" t="t" r="r" b="b"/>
                <a:pathLst>
                  <a:path w="38004" h="51720">
                    <a:moveTo>
                      <a:pt x="19336" y="51721"/>
                    </a:moveTo>
                    <a:lnTo>
                      <a:pt x="0" y="13811"/>
                    </a:lnTo>
                    <a:lnTo>
                      <a:pt x="38005" y="0"/>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9E69128E-9764-44E3-9F3B-80FE9B95E133}"/>
                  </a:ext>
                </a:extLst>
              </p:cNvPr>
              <p:cNvSpPr/>
              <p:nvPr/>
            </p:nvSpPr>
            <p:spPr>
              <a:xfrm>
                <a:off x="7295160" y="164926"/>
                <a:ext cx="59508" cy="80985"/>
              </a:xfrm>
              <a:custGeom>
                <a:avLst/>
                <a:gdLst>
                  <a:gd name="connsiteX0" fmla="*/ 18574 w 38004"/>
                  <a:gd name="connsiteY0" fmla="*/ 0 h 51720"/>
                  <a:gd name="connsiteX1" fmla="*/ 38005 w 38004"/>
                  <a:gd name="connsiteY1" fmla="*/ 37910 h 51720"/>
                  <a:gd name="connsiteX2" fmla="*/ 0 w 38004"/>
                  <a:gd name="connsiteY2" fmla="*/ 51721 h 51720"/>
                </a:gdLst>
                <a:ahLst/>
                <a:cxnLst>
                  <a:cxn ang="0">
                    <a:pos x="connsiteX0" y="connsiteY0"/>
                  </a:cxn>
                  <a:cxn ang="0">
                    <a:pos x="connsiteX1" y="connsiteY1"/>
                  </a:cxn>
                  <a:cxn ang="0">
                    <a:pos x="connsiteX2" y="connsiteY2"/>
                  </a:cxn>
                </a:cxnLst>
                <a:rect l="l" t="t" r="r" b="b"/>
                <a:pathLst>
                  <a:path w="38004" h="51720">
                    <a:moveTo>
                      <a:pt x="18574" y="0"/>
                    </a:moveTo>
                    <a:lnTo>
                      <a:pt x="38005" y="37910"/>
                    </a:lnTo>
                    <a:lnTo>
                      <a:pt x="0" y="51721"/>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C6E0394F-E4F7-4509-A4D7-B89083875A81}"/>
              </a:ext>
            </a:extLst>
          </p:cNvPr>
          <p:cNvGrpSpPr/>
          <p:nvPr/>
        </p:nvGrpSpPr>
        <p:grpSpPr>
          <a:xfrm>
            <a:off x="8871222" y="744962"/>
            <a:ext cx="542398" cy="542398"/>
            <a:chOff x="8927561" y="825540"/>
            <a:chExt cx="542398" cy="542398"/>
          </a:xfrm>
        </p:grpSpPr>
        <p:sp>
          <p:nvSpPr>
            <p:cNvPr id="94" name="Oval 93">
              <a:extLst>
                <a:ext uri="{FF2B5EF4-FFF2-40B4-BE49-F238E27FC236}">
                  <a16:creationId xmlns:a16="http://schemas.microsoft.com/office/drawing/2014/main" id="{A497F038-A462-4066-9313-33350B7916F8}"/>
                </a:ext>
              </a:extLst>
            </p:cNvPr>
            <p:cNvSpPr/>
            <p:nvPr/>
          </p:nvSpPr>
          <p:spPr bwMode="auto">
            <a:xfrm>
              <a:off x="8927561" y="825540"/>
              <a:ext cx="542398" cy="54239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5" name="Oval 94">
              <a:extLst>
                <a:ext uri="{FF2B5EF4-FFF2-40B4-BE49-F238E27FC236}">
                  <a16:creationId xmlns:a16="http://schemas.microsoft.com/office/drawing/2014/main" id="{1C535832-9858-4D07-906B-54FAF0911121}"/>
                </a:ext>
              </a:extLst>
            </p:cNvPr>
            <p:cNvSpPr/>
            <p:nvPr/>
          </p:nvSpPr>
          <p:spPr bwMode="auto">
            <a:xfrm>
              <a:off x="8994236" y="892215"/>
              <a:ext cx="409048" cy="40904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Freeform 96" title="Icon of a gear with a wrench">
              <a:extLst>
                <a:ext uri="{FF2B5EF4-FFF2-40B4-BE49-F238E27FC236}">
                  <a16:creationId xmlns:a16="http://schemas.microsoft.com/office/drawing/2014/main" id="{15425FD6-3B4E-4A25-9637-AA338D850AAB}"/>
                </a:ext>
              </a:extLst>
            </p:cNvPr>
            <p:cNvSpPr>
              <a:spLocks noChangeAspect="1" noEditPoints="1"/>
            </p:cNvSpPr>
            <p:nvPr/>
          </p:nvSpPr>
          <p:spPr bwMode="auto">
            <a:xfrm>
              <a:off x="9078024" y="985570"/>
              <a:ext cx="241473" cy="222339"/>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4" name="Rectangle 103">
            <a:extLst>
              <a:ext uri="{FF2B5EF4-FFF2-40B4-BE49-F238E27FC236}">
                <a16:creationId xmlns:a16="http://schemas.microsoft.com/office/drawing/2014/main" id="{B46DE0F8-4E77-4CCA-896E-C8EE71B3181E}"/>
              </a:ext>
            </a:extLst>
          </p:cNvPr>
          <p:cNvSpPr/>
          <p:nvPr/>
        </p:nvSpPr>
        <p:spPr>
          <a:xfrm>
            <a:off x="622124" y="849250"/>
            <a:ext cx="3328416" cy="333822"/>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731520" t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Partner alignment</a:t>
            </a:r>
          </a:p>
        </p:txBody>
      </p:sp>
      <p:grpSp>
        <p:nvGrpSpPr>
          <p:cNvPr id="4" name="Group 3">
            <a:extLst>
              <a:ext uri="{FF2B5EF4-FFF2-40B4-BE49-F238E27FC236}">
                <a16:creationId xmlns:a16="http://schemas.microsoft.com/office/drawing/2014/main" id="{217B34FC-C1B5-4886-94AA-F3E1FF282433}"/>
              </a:ext>
            </a:extLst>
          </p:cNvPr>
          <p:cNvGrpSpPr/>
          <p:nvPr/>
        </p:nvGrpSpPr>
        <p:grpSpPr>
          <a:xfrm>
            <a:off x="698324" y="744962"/>
            <a:ext cx="542398" cy="542398"/>
            <a:chOff x="942164" y="825540"/>
            <a:chExt cx="542398" cy="542398"/>
          </a:xfrm>
        </p:grpSpPr>
        <p:sp>
          <p:nvSpPr>
            <p:cNvPr id="105" name="Oval 104">
              <a:extLst>
                <a:ext uri="{FF2B5EF4-FFF2-40B4-BE49-F238E27FC236}">
                  <a16:creationId xmlns:a16="http://schemas.microsoft.com/office/drawing/2014/main" id="{DEAFB766-9AF1-4DF4-850F-305CFC0960F6}"/>
                </a:ext>
              </a:extLst>
            </p:cNvPr>
            <p:cNvSpPr/>
            <p:nvPr/>
          </p:nvSpPr>
          <p:spPr bwMode="auto">
            <a:xfrm>
              <a:off x="942164" y="825540"/>
              <a:ext cx="542398" cy="54239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07A3FA5A-67CA-44D0-B622-886E012E61E3}"/>
                </a:ext>
              </a:extLst>
            </p:cNvPr>
            <p:cNvSpPr/>
            <p:nvPr/>
          </p:nvSpPr>
          <p:spPr bwMode="auto">
            <a:xfrm>
              <a:off x="1008839" y="892215"/>
              <a:ext cx="409048" cy="40904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Commitments_EC4D" title="Icon of a handshake">
              <a:extLst>
                <a:ext uri="{FF2B5EF4-FFF2-40B4-BE49-F238E27FC236}">
                  <a16:creationId xmlns:a16="http://schemas.microsoft.com/office/drawing/2014/main" id="{9CE926BA-9E7C-49FD-8D65-BCDEC57A0E14}"/>
                </a:ext>
              </a:extLst>
            </p:cNvPr>
            <p:cNvSpPr>
              <a:spLocks noChangeAspect="1" noEditPoints="1"/>
            </p:cNvSpPr>
            <p:nvPr/>
          </p:nvSpPr>
          <p:spPr bwMode="auto">
            <a:xfrm>
              <a:off x="1098840" y="989359"/>
              <a:ext cx="229046" cy="21476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0" name="Rectangle 109">
            <a:extLst>
              <a:ext uri="{FF2B5EF4-FFF2-40B4-BE49-F238E27FC236}">
                <a16:creationId xmlns:a16="http://schemas.microsoft.com/office/drawing/2014/main" id="{AD95D61F-FFA6-41D7-9842-0997DE846D19}"/>
              </a:ext>
            </a:extLst>
          </p:cNvPr>
          <p:cNvSpPr/>
          <p:nvPr/>
        </p:nvSpPr>
        <p:spPr>
          <a:xfrm>
            <a:off x="788402" y="4176406"/>
            <a:ext cx="3328416" cy="1936632"/>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Semibold"/>
                <a:ea typeface="+mn-ea"/>
                <a:cs typeface="+mn-cs"/>
              </a:rPr>
              <a:t>Industry</a:t>
            </a:r>
            <a:endParaRPr kumimoji="0" lang="hu-HU" sz="1400" b="0" i="0" u="none" strike="noStrike" kern="1200" cap="none" spc="0" normalizeH="0" baseline="0" noProof="0">
              <a:ln>
                <a:noFill/>
              </a:ln>
              <a:solidFill>
                <a:srgbClr val="0070C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u-HU" sz="1400" b="0" i="0" u="none" strike="noStrike" kern="1200" cap="none" spc="0" normalizeH="0" baseline="0" noProof="0">
              <a:ln>
                <a:noFill/>
              </a:ln>
              <a:solidFill>
                <a:srgbClr val="000000"/>
              </a:solidFill>
              <a:effectLst/>
              <a:uLnTx/>
              <a:uFillTx/>
              <a:latin typeface="Segoe UI Semibold"/>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hu-HU" sz="1200">
                <a:solidFill>
                  <a:srgbClr val="000000"/>
                </a:solidFill>
                <a:latin typeface="Segoe UI Semibold"/>
              </a:rPr>
              <a:t>Financial 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200" b="0" i="0" u="none" strike="noStrike" kern="1200" cap="none" spc="0" normalizeH="0" baseline="0" noProof="0">
                <a:ln>
                  <a:noFill/>
                </a:ln>
                <a:solidFill>
                  <a:srgbClr val="000000"/>
                </a:solidFill>
                <a:effectLst/>
                <a:uLnTx/>
                <a:uFillTx/>
                <a:latin typeface="Segoe UI Semibold"/>
                <a:ea typeface="+mn-ea"/>
                <a:cs typeface="+mn-cs"/>
              </a:rPr>
              <a:t>Manufactur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hu-HU" sz="1200">
                <a:solidFill>
                  <a:srgbClr val="000000"/>
                </a:solidFill>
                <a:latin typeface="Segoe UI Semibold"/>
              </a:rPr>
              <a:t>Retai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200" b="0" i="0" u="none" strike="noStrike" kern="1200" cap="none" spc="0" normalizeH="0" baseline="0" noProof="0">
                <a:ln>
                  <a:noFill/>
                </a:ln>
                <a:solidFill>
                  <a:srgbClr val="000000"/>
                </a:solidFill>
                <a:effectLst/>
                <a:uLnTx/>
                <a:uFillTx/>
                <a:latin typeface="Segoe UI Semibold"/>
                <a:ea typeface="+mn-ea"/>
                <a:cs typeface="+mn-cs"/>
              </a:rPr>
              <a:t>Media &amp; Commun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hu-HU" sz="1200">
                <a:solidFill>
                  <a:srgbClr val="000000"/>
                </a:solidFill>
                <a:latin typeface="Segoe UI Semibold"/>
              </a:rPr>
              <a:t>Govern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200" b="0" i="0" u="none" strike="noStrike" kern="1200" cap="none" spc="0" normalizeH="0" baseline="0" noProof="0">
                <a:ln>
                  <a:noFill/>
                </a:ln>
                <a:solidFill>
                  <a:srgbClr val="000000"/>
                </a:solidFill>
                <a:effectLst/>
                <a:uLnTx/>
                <a:uFillTx/>
                <a:latin typeface="Segoe UI Semibold"/>
                <a:ea typeface="+mn-ea"/>
                <a:cs typeface="+mn-cs"/>
              </a:rPr>
              <a:t>Healthcar</a:t>
            </a:r>
            <a:r>
              <a:rPr lang="hu-HU" sz="1200">
                <a:solidFill>
                  <a:srgbClr val="000000"/>
                </a:solidFill>
                <a:latin typeface="Segoe UI Semibold"/>
              </a:rPr>
              <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200" b="0" i="0" u="none" strike="noStrike" kern="1200" cap="none" spc="0" normalizeH="0" baseline="0" noProof="0">
                <a:ln>
                  <a:noFill/>
                </a:ln>
                <a:solidFill>
                  <a:srgbClr val="000000"/>
                </a:solidFill>
                <a:effectLst/>
                <a:uLnTx/>
                <a:uFillTx/>
                <a:latin typeface="Segoe UI Semibold"/>
                <a:ea typeface="+mn-ea"/>
                <a:cs typeface="+mn-cs"/>
              </a:rPr>
              <a:t>Education</a:t>
            </a:r>
            <a:endParaRPr kumimoji="0" lang="en-US" sz="12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13" name="Rectangle 112">
            <a:extLst>
              <a:ext uri="{FF2B5EF4-FFF2-40B4-BE49-F238E27FC236}">
                <a16:creationId xmlns:a16="http://schemas.microsoft.com/office/drawing/2014/main" id="{62CABBD6-45C4-48B9-9C0E-58392E5E954C}"/>
              </a:ext>
            </a:extLst>
          </p:cNvPr>
          <p:cNvSpPr/>
          <p:nvPr/>
        </p:nvSpPr>
        <p:spPr>
          <a:xfrm>
            <a:off x="722497" y="2560401"/>
            <a:ext cx="3328416" cy="1422434"/>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Semibold"/>
                <a:ea typeface="+mn-ea"/>
                <a:cs typeface="+mn-cs"/>
              </a:rPr>
              <a:t>Solution Area</a:t>
            </a:r>
            <a:endParaRPr kumimoji="0" lang="hu-HU" sz="1400" b="0" i="0" u="none" strike="noStrike" kern="1200" cap="none" spc="0" normalizeH="0" baseline="0" noProof="0">
              <a:ln>
                <a:noFill/>
              </a:ln>
              <a:solidFill>
                <a:srgbClr val="0070C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hu-HU" sz="1400">
              <a:solidFill>
                <a:srgbClr val="000000"/>
              </a:solidFill>
              <a:latin typeface="Segoe UI Semibold"/>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200" b="0" i="0" u="none" strike="noStrike" kern="1200" cap="none" spc="0" normalizeH="0" baseline="0" noProof="0">
                <a:ln>
                  <a:noFill/>
                </a:ln>
                <a:solidFill>
                  <a:srgbClr val="000000"/>
                </a:solidFill>
                <a:effectLst/>
                <a:uLnTx/>
                <a:uFillTx/>
                <a:latin typeface="Segoe UI Semibold"/>
                <a:ea typeface="+mn-ea"/>
                <a:cs typeface="+mn-cs"/>
              </a:rPr>
              <a:t>Modern Wor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hu-HU" sz="1200">
                <a:solidFill>
                  <a:srgbClr val="000000"/>
                </a:solidFill>
                <a:latin typeface="Segoe UI Semibold"/>
              </a:rPr>
              <a:t>Business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200" b="0" i="0" u="none" strike="noStrike" kern="1200" cap="none" spc="0" normalizeH="0" baseline="0" noProof="0">
                <a:ln>
                  <a:noFill/>
                </a:ln>
                <a:solidFill>
                  <a:srgbClr val="000000"/>
                </a:solidFill>
                <a:effectLst/>
                <a:uLnTx/>
                <a:uFillTx/>
                <a:latin typeface="Segoe UI Semibold"/>
                <a:ea typeface="+mn-ea"/>
                <a:cs typeface="+mn-cs"/>
              </a:rPr>
              <a:t>Az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14" name="Rectangle 113">
            <a:extLst>
              <a:ext uri="{FF2B5EF4-FFF2-40B4-BE49-F238E27FC236}">
                <a16:creationId xmlns:a16="http://schemas.microsoft.com/office/drawing/2014/main" id="{205912A3-1942-4787-98E8-D0E037A29F3E}"/>
              </a:ext>
            </a:extLst>
          </p:cNvPr>
          <p:cNvSpPr/>
          <p:nvPr/>
        </p:nvSpPr>
        <p:spPr>
          <a:xfrm>
            <a:off x="4378802" y="1338648"/>
            <a:ext cx="3987958" cy="316202"/>
          </a:xfrm>
          <a:prstGeom prst="rect">
            <a:avLst/>
          </a:prstGeom>
          <a:solidFill>
            <a:schemeClr val="accent1">
              <a:lumMod val="20000"/>
              <a:lumOff val="80000"/>
              <a:alpha val="9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hu-HU" sz="1400">
                <a:solidFill>
                  <a:srgbClr val="000000"/>
                </a:solidFill>
                <a:latin typeface="Segoe UI Semibold"/>
              </a:rPr>
              <a:t>F</a:t>
            </a:r>
            <a:r>
              <a:rPr lang="en-US" sz="1400" err="1">
                <a:solidFill>
                  <a:srgbClr val="000000"/>
                </a:solidFill>
                <a:latin typeface="Segoe UI Semibold"/>
              </a:rPr>
              <a:t>ocus</a:t>
            </a:r>
            <a:r>
              <a:rPr lang="hu-HU" sz="1400">
                <a:solidFill>
                  <a:srgbClr val="000000"/>
                </a:solidFill>
                <a:latin typeface="Segoe UI Semibold"/>
              </a:rPr>
              <a:t> with</a:t>
            </a:r>
            <a:r>
              <a:rPr kumimoji="0" lang="en-US" sz="1400" b="0" i="0" u="none" strike="noStrike" kern="1200" cap="none" spc="0" normalizeH="0" baseline="0" noProof="0">
                <a:ln>
                  <a:noFill/>
                </a:ln>
                <a:solidFill>
                  <a:srgbClr val="000000"/>
                </a:solidFill>
                <a:effectLst/>
                <a:uLnTx/>
                <a:uFillTx/>
                <a:latin typeface="Segoe UI Semibold"/>
                <a:ea typeface="+mn-ea"/>
                <a:cs typeface="+mn-cs"/>
              </a:rPr>
              <a:t> partners</a:t>
            </a:r>
            <a:r>
              <a:rPr kumimoji="0" lang="hu-HU" sz="1400" b="0" i="0" u="none" strike="noStrike" kern="1200" cap="none" spc="0" normalizeH="0" baseline="0" noProof="0">
                <a:ln>
                  <a:noFill/>
                </a:ln>
                <a:solidFill>
                  <a:srgbClr val="000000"/>
                </a:solidFill>
                <a:effectLst/>
                <a:uLnTx/>
                <a:uFillTx/>
                <a:latin typeface="Segoe UI Semibold"/>
                <a:ea typeface="+mn-ea"/>
                <a:cs typeface="+mn-cs"/>
              </a:rPr>
              <a:t> on Co-Sell solutions </a:t>
            </a:r>
            <a:endParaRPr kumimoji="0" lang="en-US" sz="14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8" name="Title 7">
            <a:extLst>
              <a:ext uri="{FF2B5EF4-FFF2-40B4-BE49-F238E27FC236}">
                <a16:creationId xmlns:a16="http://schemas.microsoft.com/office/drawing/2014/main" id="{8417925A-C695-4D96-B43A-E36168E05D90}"/>
              </a:ext>
            </a:extLst>
          </p:cNvPr>
          <p:cNvSpPr>
            <a:spLocks noGrp="1"/>
          </p:cNvSpPr>
          <p:nvPr>
            <p:ph type="title"/>
          </p:nvPr>
        </p:nvSpPr>
        <p:spPr>
          <a:xfrm>
            <a:off x="264896" y="195943"/>
            <a:ext cx="11902631" cy="307777"/>
          </a:xfrm>
        </p:spPr>
        <p:txBody>
          <a:bodyPr/>
          <a:lstStyle/>
          <a:p>
            <a:pPr defTabSz="932563" fontAlgn="base">
              <a:spcAft>
                <a:spcPct val="0"/>
              </a:spcAft>
            </a:pPr>
            <a:r>
              <a:rPr lang="en-US" sz="2000" b="1">
                <a:gradFill>
                  <a:gsLst>
                    <a:gs pos="1250">
                      <a:schemeClr val="tx1"/>
                    </a:gs>
                    <a:gs pos="100000">
                      <a:schemeClr val="tx1"/>
                    </a:gs>
                  </a:gsLst>
                  <a:lin ang="5400000" scaled="0"/>
                </a:gradFill>
              </a:rPr>
              <a:t>How</a:t>
            </a:r>
            <a:r>
              <a:rPr lang="hu-HU" sz="2000" b="1">
                <a:gradFill>
                  <a:gsLst>
                    <a:gs pos="1250">
                      <a:schemeClr val="tx1"/>
                    </a:gs>
                    <a:gs pos="100000">
                      <a:schemeClr val="tx1"/>
                    </a:gs>
                  </a:gsLst>
                  <a:lin ang="5400000" scaled="0"/>
                </a:gradFill>
              </a:rPr>
              <a:t> </a:t>
            </a:r>
            <a:r>
              <a:rPr lang="hu-HU" sz="2000" b="1" err="1">
                <a:gradFill>
                  <a:gsLst>
                    <a:gs pos="1250">
                      <a:schemeClr val="tx1"/>
                    </a:gs>
                    <a:gs pos="100000">
                      <a:schemeClr val="tx1"/>
                    </a:gs>
                  </a:gsLst>
                  <a:lin ang="5400000" scaled="0"/>
                </a:gradFill>
              </a:rPr>
              <a:t>do</a:t>
            </a:r>
            <a:r>
              <a:rPr lang="hu-HU" sz="2000" b="1">
                <a:gradFill>
                  <a:gsLst>
                    <a:gs pos="1250">
                      <a:schemeClr val="tx1"/>
                    </a:gs>
                    <a:gs pos="100000">
                      <a:schemeClr val="tx1"/>
                    </a:gs>
                  </a:gsLst>
                  <a:lin ang="5400000" scaled="0"/>
                </a:gradFill>
              </a:rPr>
              <a:t> </a:t>
            </a:r>
            <a:r>
              <a:rPr lang="hu-HU" sz="2000" b="1" err="1">
                <a:gradFill>
                  <a:gsLst>
                    <a:gs pos="1250">
                      <a:schemeClr val="tx1"/>
                    </a:gs>
                    <a:gs pos="100000">
                      <a:schemeClr val="tx1"/>
                    </a:gs>
                  </a:gsLst>
                  <a:lin ang="5400000" scaled="0"/>
                </a:gradFill>
              </a:rPr>
              <a:t>we</a:t>
            </a:r>
            <a:r>
              <a:rPr lang="hu-HU" sz="2000" b="1">
                <a:gradFill>
                  <a:gsLst>
                    <a:gs pos="1250">
                      <a:schemeClr val="tx1"/>
                    </a:gs>
                    <a:gs pos="100000">
                      <a:schemeClr val="tx1"/>
                    </a:gs>
                  </a:gsLst>
                  <a:lin ang="5400000" scaled="0"/>
                </a:gradFill>
              </a:rPr>
              <a:t> </a:t>
            </a:r>
            <a:r>
              <a:rPr lang="hu-HU" sz="2000" b="1" err="1">
                <a:gradFill>
                  <a:gsLst>
                    <a:gs pos="1250">
                      <a:schemeClr val="tx1"/>
                    </a:gs>
                    <a:gs pos="100000">
                      <a:schemeClr val="tx1"/>
                    </a:gs>
                  </a:gsLst>
                  <a:lin ang="5400000" scaled="0"/>
                </a:gradFill>
              </a:rPr>
              <a:t>work</a:t>
            </a:r>
            <a:r>
              <a:rPr lang="hu-HU" sz="2000" b="1">
                <a:gradFill>
                  <a:gsLst>
                    <a:gs pos="1250">
                      <a:schemeClr val="tx1"/>
                    </a:gs>
                    <a:gs pos="100000">
                      <a:schemeClr val="tx1"/>
                    </a:gs>
                  </a:gsLst>
                  <a:lin ang="5400000" scaled="0"/>
                </a:gradFill>
              </a:rPr>
              <a:t> with </a:t>
            </a:r>
            <a:r>
              <a:rPr lang="hu-HU" sz="2000" b="1" err="1">
                <a:gradFill>
                  <a:gsLst>
                    <a:gs pos="1250">
                      <a:schemeClr val="tx1"/>
                    </a:gs>
                    <a:gs pos="100000">
                      <a:schemeClr val="tx1"/>
                    </a:gs>
                  </a:gsLst>
                  <a:lin ang="5400000" scaled="0"/>
                </a:gradFill>
              </a:rPr>
              <a:t>partners</a:t>
            </a:r>
            <a:r>
              <a:rPr lang="hu-HU" sz="2000" b="1">
                <a:gradFill>
                  <a:gsLst>
                    <a:gs pos="1250">
                      <a:schemeClr val="tx1"/>
                    </a:gs>
                    <a:gs pos="100000">
                      <a:schemeClr val="tx1"/>
                    </a:gs>
                  </a:gsLst>
                  <a:lin ang="5400000" scaled="0"/>
                </a:gradFill>
              </a:rPr>
              <a:t>? </a:t>
            </a:r>
            <a:endParaRPr lang="en-US" sz="2000" b="1">
              <a:gradFill>
                <a:gsLst>
                  <a:gs pos="1250">
                    <a:schemeClr val="tx1"/>
                  </a:gs>
                  <a:gs pos="100000">
                    <a:schemeClr val="tx1"/>
                  </a:gs>
                </a:gsLst>
                <a:lin ang="5400000" scaled="0"/>
              </a:gradFill>
            </a:endParaRPr>
          </a:p>
        </p:txBody>
      </p:sp>
      <p:sp>
        <p:nvSpPr>
          <p:cNvPr id="85" name="Rectangle 84">
            <a:extLst>
              <a:ext uri="{FF2B5EF4-FFF2-40B4-BE49-F238E27FC236}">
                <a16:creationId xmlns:a16="http://schemas.microsoft.com/office/drawing/2014/main" id="{FECE8E22-A2EE-4CBE-8BF1-9EA5F2707D35}"/>
              </a:ext>
            </a:extLst>
          </p:cNvPr>
          <p:cNvSpPr/>
          <p:nvPr/>
        </p:nvSpPr>
        <p:spPr>
          <a:xfrm>
            <a:off x="8795023" y="697291"/>
            <a:ext cx="2783248" cy="6070606"/>
          </a:xfrm>
          <a:custGeom>
            <a:avLst/>
            <a:gdLst>
              <a:gd name="connsiteX0" fmla="*/ 0 w 2783248"/>
              <a:gd name="connsiteY0" fmla="*/ 0 h 5776914"/>
              <a:gd name="connsiteX1" fmla="*/ 2783248 w 2783248"/>
              <a:gd name="connsiteY1" fmla="*/ 0 h 5776914"/>
              <a:gd name="connsiteX2" fmla="*/ 2783248 w 2783248"/>
              <a:gd name="connsiteY2" fmla="*/ 5776914 h 5776914"/>
              <a:gd name="connsiteX3" fmla="*/ 0 w 2783248"/>
              <a:gd name="connsiteY3" fmla="*/ 5776914 h 5776914"/>
              <a:gd name="connsiteX4" fmla="*/ 0 w 2783248"/>
              <a:gd name="connsiteY4" fmla="*/ 0 h 5776914"/>
              <a:gd name="connsiteX0" fmla="*/ 0 w 2783248"/>
              <a:gd name="connsiteY0" fmla="*/ 5776914 h 5868354"/>
              <a:gd name="connsiteX1" fmla="*/ 0 w 2783248"/>
              <a:gd name="connsiteY1" fmla="*/ 0 h 5868354"/>
              <a:gd name="connsiteX2" fmla="*/ 2783248 w 2783248"/>
              <a:gd name="connsiteY2" fmla="*/ 0 h 5868354"/>
              <a:gd name="connsiteX3" fmla="*/ 2783248 w 2783248"/>
              <a:gd name="connsiteY3" fmla="*/ 5776914 h 5868354"/>
              <a:gd name="connsiteX4" fmla="*/ 91440 w 2783248"/>
              <a:gd name="connsiteY4" fmla="*/ 5868354 h 5868354"/>
              <a:gd name="connsiteX0" fmla="*/ 0 w 2783248"/>
              <a:gd name="connsiteY0" fmla="*/ 5776914 h 5776914"/>
              <a:gd name="connsiteX1" fmla="*/ 0 w 2783248"/>
              <a:gd name="connsiteY1" fmla="*/ 0 h 5776914"/>
              <a:gd name="connsiteX2" fmla="*/ 2783248 w 2783248"/>
              <a:gd name="connsiteY2" fmla="*/ 0 h 5776914"/>
              <a:gd name="connsiteX3" fmla="*/ 2783248 w 2783248"/>
              <a:gd name="connsiteY3" fmla="*/ 5776914 h 5776914"/>
            </a:gdLst>
            <a:ahLst/>
            <a:cxnLst>
              <a:cxn ang="0">
                <a:pos x="connsiteX0" y="connsiteY0"/>
              </a:cxn>
              <a:cxn ang="0">
                <a:pos x="connsiteX1" y="connsiteY1"/>
              </a:cxn>
              <a:cxn ang="0">
                <a:pos x="connsiteX2" y="connsiteY2"/>
              </a:cxn>
              <a:cxn ang="0">
                <a:pos x="connsiteX3" y="connsiteY3"/>
              </a:cxn>
            </a:cxnLst>
            <a:rect l="l" t="t" r="r" b="b"/>
            <a:pathLst>
              <a:path w="2783248" h="5776914">
                <a:moveTo>
                  <a:pt x="0" y="5776914"/>
                </a:moveTo>
                <a:lnTo>
                  <a:pt x="0" y="0"/>
                </a:lnTo>
                <a:lnTo>
                  <a:pt x="2783248" y="0"/>
                </a:lnTo>
                <a:lnTo>
                  <a:pt x="2783248" y="5776914"/>
                </a:lnTo>
              </a:path>
            </a:pathLst>
          </a:custGeom>
          <a:no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87" name="Rectangle 86">
            <a:extLst>
              <a:ext uri="{FF2B5EF4-FFF2-40B4-BE49-F238E27FC236}">
                <a16:creationId xmlns:a16="http://schemas.microsoft.com/office/drawing/2014/main" id="{040E61C5-B8CA-4187-A292-B19753403A69}"/>
              </a:ext>
            </a:extLst>
          </p:cNvPr>
          <p:cNvSpPr/>
          <p:nvPr/>
        </p:nvSpPr>
        <p:spPr>
          <a:xfrm>
            <a:off x="156529" y="697291"/>
            <a:ext cx="335859" cy="6010531"/>
          </a:xfrm>
          <a:prstGeom prst="rect">
            <a:avLst/>
          </a:prstGeom>
          <a:solidFill>
            <a:schemeClr val="tx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Solution Area priorities &amp; Sales Plays</a:t>
            </a:r>
          </a:p>
        </p:txBody>
      </p:sp>
      <p:sp>
        <p:nvSpPr>
          <p:cNvPr id="88" name="Rectangle 87">
            <a:extLst>
              <a:ext uri="{FF2B5EF4-FFF2-40B4-BE49-F238E27FC236}">
                <a16:creationId xmlns:a16="http://schemas.microsoft.com/office/drawing/2014/main" id="{11DD7DCD-08FB-4ABB-A3CE-6E1E6FF4FF06}"/>
              </a:ext>
            </a:extLst>
          </p:cNvPr>
          <p:cNvSpPr/>
          <p:nvPr/>
        </p:nvSpPr>
        <p:spPr>
          <a:xfrm>
            <a:off x="622124" y="697291"/>
            <a:ext cx="3328416" cy="6070606"/>
          </a:xfrm>
          <a:custGeom>
            <a:avLst/>
            <a:gdLst>
              <a:gd name="connsiteX0" fmla="*/ 0 w 3328416"/>
              <a:gd name="connsiteY0" fmla="*/ 0 h 5776914"/>
              <a:gd name="connsiteX1" fmla="*/ 3328416 w 3328416"/>
              <a:gd name="connsiteY1" fmla="*/ 0 h 5776914"/>
              <a:gd name="connsiteX2" fmla="*/ 3328416 w 3328416"/>
              <a:gd name="connsiteY2" fmla="*/ 5776914 h 5776914"/>
              <a:gd name="connsiteX3" fmla="*/ 0 w 3328416"/>
              <a:gd name="connsiteY3" fmla="*/ 5776914 h 5776914"/>
              <a:gd name="connsiteX4" fmla="*/ 0 w 3328416"/>
              <a:gd name="connsiteY4" fmla="*/ 0 h 5776914"/>
              <a:gd name="connsiteX0" fmla="*/ 0 w 3328416"/>
              <a:gd name="connsiteY0" fmla="*/ 5776914 h 5868354"/>
              <a:gd name="connsiteX1" fmla="*/ 0 w 3328416"/>
              <a:gd name="connsiteY1" fmla="*/ 0 h 5868354"/>
              <a:gd name="connsiteX2" fmla="*/ 3328416 w 3328416"/>
              <a:gd name="connsiteY2" fmla="*/ 0 h 5868354"/>
              <a:gd name="connsiteX3" fmla="*/ 3328416 w 3328416"/>
              <a:gd name="connsiteY3" fmla="*/ 5776914 h 5868354"/>
              <a:gd name="connsiteX4" fmla="*/ 91440 w 3328416"/>
              <a:gd name="connsiteY4" fmla="*/ 5868354 h 5868354"/>
              <a:gd name="connsiteX0" fmla="*/ 0 w 3328416"/>
              <a:gd name="connsiteY0" fmla="*/ 5776914 h 5776914"/>
              <a:gd name="connsiteX1" fmla="*/ 0 w 3328416"/>
              <a:gd name="connsiteY1" fmla="*/ 0 h 5776914"/>
              <a:gd name="connsiteX2" fmla="*/ 3328416 w 3328416"/>
              <a:gd name="connsiteY2" fmla="*/ 0 h 5776914"/>
              <a:gd name="connsiteX3" fmla="*/ 3328416 w 3328416"/>
              <a:gd name="connsiteY3" fmla="*/ 5776914 h 5776914"/>
            </a:gdLst>
            <a:ahLst/>
            <a:cxnLst>
              <a:cxn ang="0">
                <a:pos x="connsiteX0" y="connsiteY0"/>
              </a:cxn>
              <a:cxn ang="0">
                <a:pos x="connsiteX1" y="connsiteY1"/>
              </a:cxn>
              <a:cxn ang="0">
                <a:pos x="connsiteX2" y="connsiteY2"/>
              </a:cxn>
              <a:cxn ang="0">
                <a:pos x="connsiteX3" y="connsiteY3"/>
              </a:cxn>
            </a:cxnLst>
            <a:rect l="l" t="t" r="r" b="b"/>
            <a:pathLst>
              <a:path w="3328416" h="5776914">
                <a:moveTo>
                  <a:pt x="0" y="5776914"/>
                </a:moveTo>
                <a:lnTo>
                  <a:pt x="0" y="0"/>
                </a:lnTo>
                <a:lnTo>
                  <a:pt x="3328416" y="0"/>
                </a:lnTo>
                <a:lnTo>
                  <a:pt x="3328416" y="5776914"/>
                </a:lnTo>
              </a:path>
            </a:pathLst>
          </a:custGeom>
          <a:no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89" name="Rectangle 88">
            <a:extLst>
              <a:ext uri="{FF2B5EF4-FFF2-40B4-BE49-F238E27FC236}">
                <a16:creationId xmlns:a16="http://schemas.microsoft.com/office/drawing/2014/main" id="{C29C8E01-67C8-42FA-A996-84C4CEEC5DA4}"/>
              </a:ext>
            </a:extLst>
          </p:cNvPr>
          <p:cNvSpPr/>
          <p:nvPr/>
        </p:nvSpPr>
        <p:spPr>
          <a:xfrm>
            <a:off x="4264504" y="697291"/>
            <a:ext cx="4216555" cy="6070606"/>
          </a:xfrm>
          <a:custGeom>
            <a:avLst/>
            <a:gdLst>
              <a:gd name="connsiteX0" fmla="*/ 0 w 4216555"/>
              <a:gd name="connsiteY0" fmla="*/ 0 h 5776914"/>
              <a:gd name="connsiteX1" fmla="*/ 4216555 w 4216555"/>
              <a:gd name="connsiteY1" fmla="*/ 0 h 5776914"/>
              <a:gd name="connsiteX2" fmla="*/ 4216555 w 4216555"/>
              <a:gd name="connsiteY2" fmla="*/ 5776914 h 5776914"/>
              <a:gd name="connsiteX3" fmla="*/ 0 w 4216555"/>
              <a:gd name="connsiteY3" fmla="*/ 5776914 h 5776914"/>
              <a:gd name="connsiteX4" fmla="*/ 0 w 4216555"/>
              <a:gd name="connsiteY4" fmla="*/ 0 h 5776914"/>
              <a:gd name="connsiteX0" fmla="*/ 0 w 4216555"/>
              <a:gd name="connsiteY0" fmla="*/ 5776914 h 5868354"/>
              <a:gd name="connsiteX1" fmla="*/ 0 w 4216555"/>
              <a:gd name="connsiteY1" fmla="*/ 0 h 5868354"/>
              <a:gd name="connsiteX2" fmla="*/ 4216555 w 4216555"/>
              <a:gd name="connsiteY2" fmla="*/ 0 h 5868354"/>
              <a:gd name="connsiteX3" fmla="*/ 4216555 w 4216555"/>
              <a:gd name="connsiteY3" fmla="*/ 5776914 h 5868354"/>
              <a:gd name="connsiteX4" fmla="*/ 91440 w 4216555"/>
              <a:gd name="connsiteY4" fmla="*/ 5868354 h 5868354"/>
              <a:gd name="connsiteX0" fmla="*/ 0 w 4216555"/>
              <a:gd name="connsiteY0" fmla="*/ 5776914 h 5776914"/>
              <a:gd name="connsiteX1" fmla="*/ 0 w 4216555"/>
              <a:gd name="connsiteY1" fmla="*/ 0 h 5776914"/>
              <a:gd name="connsiteX2" fmla="*/ 4216555 w 4216555"/>
              <a:gd name="connsiteY2" fmla="*/ 0 h 5776914"/>
              <a:gd name="connsiteX3" fmla="*/ 4216555 w 4216555"/>
              <a:gd name="connsiteY3" fmla="*/ 5776914 h 5776914"/>
            </a:gdLst>
            <a:ahLst/>
            <a:cxnLst>
              <a:cxn ang="0">
                <a:pos x="connsiteX0" y="connsiteY0"/>
              </a:cxn>
              <a:cxn ang="0">
                <a:pos x="connsiteX1" y="connsiteY1"/>
              </a:cxn>
              <a:cxn ang="0">
                <a:pos x="connsiteX2" y="connsiteY2"/>
              </a:cxn>
              <a:cxn ang="0">
                <a:pos x="connsiteX3" y="connsiteY3"/>
              </a:cxn>
            </a:cxnLst>
            <a:rect l="l" t="t" r="r" b="b"/>
            <a:pathLst>
              <a:path w="4216555" h="5776914">
                <a:moveTo>
                  <a:pt x="0" y="5776914"/>
                </a:moveTo>
                <a:lnTo>
                  <a:pt x="0" y="0"/>
                </a:lnTo>
                <a:lnTo>
                  <a:pt x="4216555" y="0"/>
                </a:lnTo>
                <a:lnTo>
                  <a:pt x="4216555" y="5776914"/>
                </a:lnTo>
              </a:path>
            </a:pathLst>
          </a:custGeom>
          <a:no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119" name="Rectangle 118">
            <a:extLst>
              <a:ext uri="{FF2B5EF4-FFF2-40B4-BE49-F238E27FC236}">
                <a16:creationId xmlns:a16="http://schemas.microsoft.com/office/drawing/2014/main" id="{8E84838D-DC77-47AA-923F-1F5F47AFD3CC}"/>
              </a:ext>
            </a:extLst>
          </p:cNvPr>
          <p:cNvSpPr/>
          <p:nvPr/>
        </p:nvSpPr>
        <p:spPr>
          <a:xfrm>
            <a:off x="4910303" y="3039276"/>
            <a:ext cx="1226195" cy="242456"/>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Services</a:t>
            </a:r>
          </a:p>
        </p:txBody>
      </p:sp>
      <p:sp>
        <p:nvSpPr>
          <p:cNvPr id="131" name="Rectangle 130">
            <a:extLst>
              <a:ext uri="{FF2B5EF4-FFF2-40B4-BE49-F238E27FC236}">
                <a16:creationId xmlns:a16="http://schemas.microsoft.com/office/drawing/2014/main" id="{7D84348E-4FA9-4A21-B96F-D466CE234E20}"/>
              </a:ext>
            </a:extLst>
          </p:cNvPr>
          <p:cNvSpPr/>
          <p:nvPr/>
        </p:nvSpPr>
        <p:spPr>
          <a:xfrm>
            <a:off x="6860394" y="3039276"/>
            <a:ext cx="1290810" cy="242456"/>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Applications</a:t>
            </a:r>
          </a:p>
        </p:txBody>
      </p:sp>
      <p:sp>
        <p:nvSpPr>
          <p:cNvPr id="133" name="PostUpdateLegacy_E1D7" title="Icon of an article, feed, or social media thread">
            <a:extLst>
              <a:ext uri="{FF2B5EF4-FFF2-40B4-BE49-F238E27FC236}">
                <a16:creationId xmlns:a16="http://schemas.microsoft.com/office/drawing/2014/main" id="{311F559A-5F23-4D34-B2E2-DB6B54D80B19}"/>
              </a:ext>
            </a:extLst>
          </p:cNvPr>
          <p:cNvSpPr>
            <a:spLocks noChangeAspect="1" noEditPoints="1"/>
          </p:cNvSpPr>
          <p:nvPr/>
        </p:nvSpPr>
        <p:spPr bwMode="auto">
          <a:xfrm>
            <a:off x="6489246" y="3492299"/>
            <a:ext cx="1932929" cy="705548"/>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strike="noStrike" kern="1200" cap="none" spc="0" normalizeH="0" baseline="0" noProof="0">
                <a:ln>
                  <a:noFill/>
                </a:ln>
                <a:solidFill>
                  <a:srgbClr val="000000"/>
                </a:solidFill>
                <a:effectLst/>
                <a:uLnTx/>
                <a:uFillTx/>
                <a:latin typeface="Segoe UI"/>
                <a:ea typeface="+mn-ea"/>
                <a:cs typeface="+mn-cs"/>
              </a:rPr>
              <a:t>I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 b="0" i="0"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strike="noStrike" kern="1200" cap="none" spc="0" normalizeH="0" baseline="0" noProof="0">
                <a:ln>
                  <a:noFill/>
                </a:ln>
                <a:solidFill>
                  <a:srgbClr val="000000"/>
                </a:solidFill>
                <a:effectLst/>
                <a:uLnTx/>
                <a:uFillTx/>
                <a:latin typeface="Segoe UI"/>
                <a:ea typeface="+mn-ea"/>
                <a:cs typeface="+mn-cs"/>
              </a:rPr>
              <a:t>Vertic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strike="noStrike" kern="1200" cap="none" spc="0" normalizeH="0" baseline="0" noProof="0">
                <a:ln>
                  <a:noFill/>
                </a:ln>
                <a:solidFill>
                  <a:srgbClr val="000000"/>
                </a:solidFill>
                <a:effectLst/>
                <a:uLnTx/>
                <a:uFillTx/>
                <a:latin typeface="Segoe UI"/>
                <a:ea typeface="+mn-ea"/>
                <a:cs typeface="+mn-cs"/>
              </a:rPr>
              <a:t>Indust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1" name="Straight Connector 10">
            <a:extLst>
              <a:ext uri="{FF2B5EF4-FFF2-40B4-BE49-F238E27FC236}">
                <a16:creationId xmlns:a16="http://schemas.microsoft.com/office/drawing/2014/main" id="{88F353CB-73B9-48D5-89DB-910DD4AFB125}"/>
              </a:ext>
            </a:extLst>
          </p:cNvPr>
          <p:cNvCxnSpPr>
            <a:cxnSpLocks/>
          </p:cNvCxnSpPr>
          <p:nvPr/>
        </p:nvCxnSpPr>
        <p:spPr>
          <a:xfrm>
            <a:off x="6385626" y="3076881"/>
            <a:ext cx="0" cy="1405039"/>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3" name="Rectangle 222">
            <a:extLst>
              <a:ext uri="{FF2B5EF4-FFF2-40B4-BE49-F238E27FC236}">
                <a16:creationId xmlns:a16="http://schemas.microsoft.com/office/drawing/2014/main" id="{DA3D9A79-C0CA-45A7-A8EF-DC7395D1A8DE}"/>
              </a:ext>
            </a:extLst>
          </p:cNvPr>
          <p:cNvSpPr/>
          <p:nvPr/>
        </p:nvSpPr>
        <p:spPr>
          <a:xfrm>
            <a:off x="8877244" y="3060814"/>
            <a:ext cx="2152650" cy="854077"/>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tIns="45720" rIns="0" rtlCol="0" anchor="ct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Semibold"/>
                <a:ea typeface="+mn-ea"/>
                <a:cs typeface="+mn-cs"/>
              </a:rPr>
              <a:t>GTM motion</a:t>
            </a:r>
          </a:p>
          <a:p>
            <a:pPr marL="0" marR="0" lvl="0" indent="0" algn="l" defTabSz="914400" rtl="0" eaLnBrk="1" fontAlgn="auto" latinLnBrk="0" hangingPunct="1">
              <a:lnSpc>
                <a:spcPct val="100000"/>
              </a:lnSpc>
              <a:spcBef>
                <a:spcPts val="300"/>
              </a:spcBef>
              <a:spcAft>
                <a:spcPts val="0"/>
              </a:spcAft>
              <a:buClrTx/>
              <a:buSzTx/>
              <a:buFontTx/>
              <a:buNone/>
              <a:tabLst/>
              <a:defRPr/>
            </a:pPr>
            <a:r>
              <a:rPr lang="hu-HU" sz="1200">
                <a:solidFill>
                  <a:srgbClr val="000000"/>
                </a:solidFill>
                <a:latin typeface="Segoe UI"/>
              </a:rPr>
              <a:t>Opportunity generation via </a:t>
            </a:r>
            <a:r>
              <a:rPr kumimoji="0" lang="en-US" sz="1200" b="0" i="0" u="none" strike="noStrike" kern="1200" cap="none" spc="0" normalizeH="0" baseline="0" noProof="0">
                <a:ln>
                  <a:noFill/>
                </a:ln>
                <a:solidFill>
                  <a:srgbClr val="000000"/>
                </a:solidFill>
                <a:effectLst/>
                <a:uLnTx/>
                <a:uFillTx/>
                <a:latin typeface="Segoe UI"/>
                <a:ea typeface="+mn-ea"/>
                <a:cs typeface="+mn-cs"/>
              </a:rPr>
              <a:t>Play execution: shared engagements/</a:t>
            </a:r>
            <a:r>
              <a:rPr kumimoji="0" lang="en-US" sz="1200" b="0" i="0" u="none" strike="noStrike" kern="1200" cap="none" spc="0" normalizeH="0" baseline="0" noProof="0" err="1">
                <a:ln>
                  <a:noFill/>
                </a:ln>
                <a:solidFill>
                  <a:srgbClr val="000000"/>
                </a:solidFill>
                <a:effectLst/>
                <a:uLnTx/>
                <a:uFillTx/>
                <a:latin typeface="Segoe UI"/>
                <a:ea typeface="+mn-ea"/>
                <a:cs typeface="+mn-cs"/>
              </a:rPr>
              <a:t>opptys</a:t>
            </a:r>
            <a:r>
              <a:rPr kumimoji="0" lang="en-US" sz="1200" b="0" i="0" u="none" strike="noStrike" kern="1200" cap="none" spc="0" normalizeH="0" baseline="0" noProof="0">
                <a:ln>
                  <a:noFill/>
                </a:ln>
                <a:solidFill>
                  <a:srgbClr val="000000"/>
                </a:solidFill>
                <a:effectLst/>
                <a:uLnTx/>
                <a:uFillTx/>
                <a:latin typeface="Segoe UI"/>
                <a:ea typeface="+mn-ea"/>
                <a:cs typeface="+mn-cs"/>
              </a:rPr>
              <a:t>  through Co-Sell partners  </a:t>
            </a:r>
          </a:p>
        </p:txBody>
      </p:sp>
      <p:sp>
        <p:nvSpPr>
          <p:cNvPr id="224" name="Rectangle 223">
            <a:extLst>
              <a:ext uri="{FF2B5EF4-FFF2-40B4-BE49-F238E27FC236}">
                <a16:creationId xmlns:a16="http://schemas.microsoft.com/office/drawing/2014/main" id="{AE397C3E-E5E5-4341-87D1-78B0FD755E9A}"/>
              </a:ext>
            </a:extLst>
          </p:cNvPr>
          <p:cNvSpPr/>
          <p:nvPr/>
        </p:nvSpPr>
        <p:spPr>
          <a:xfrm>
            <a:off x="8926646" y="4438354"/>
            <a:ext cx="2486137" cy="1946115"/>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tIns="0" rIns="0" bIns="45720" rtlCol="0" anchor="t"/>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Semibold"/>
                <a:ea typeface="+mn-ea"/>
                <a:cs typeface="+mn-cs"/>
              </a:rPr>
              <a:t>Build-With motion</a:t>
            </a:r>
          </a:p>
          <a:p>
            <a:pPr marL="0" marR="0" lvl="0" indent="0" algn="l" defTabSz="914400" rtl="0" eaLnBrk="1" fontAlgn="auto" latinLnBrk="0" hangingPunct="1">
              <a:lnSpc>
                <a:spcPct val="100000"/>
              </a:lnSpc>
              <a:spcBef>
                <a:spcPts val="300"/>
              </a:spcBef>
              <a:spcAft>
                <a:spcPts val="200"/>
              </a:spcAft>
              <a:buClrTx/>
              <a:buSzTx/>
              <a:buFontTx/>
              <a:buNone/>
              <a:tabLst/>
              <a:defRPr/>
            </a:pPr>
            <a:r>
              <a:rPr lang="hu-HU" sz="1200">
                <a:solidFill>
                  <a:srgbClr val="000000"/>
                </a:solidFill>
                <a:latin typeface="Segoe UI"/>
              </a:rPr>
              <a:t>Modernization</a:t>
            </a:r>
            <a:r>
              <a:rPr kumimoji="0" lang="en-US" sz="1200" b="0" i="0" u="none" strike="noStrike" kern="1200" cap="none" spc="0" normalizeH="0" baseline="0" noProof="0">
                <a:ln>
                  <a:noFill/>
                </a:ln>
                <a:solidFill>
                  <a:srgbClr val="000000"/>
                </a:solidFill>
                <a:effectLst/>
                <a:uLnTx/>
                <a:uFillTx/>
                <a:latin typeface="Segoe UI"/>
                <a:ea typeface="+mn-ea"/>
                <a:cs typeface="+mn-cs"/>
              </a:rPr>
              <a:t> with partners </a:t>
            </a:r>
          </a:p>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1200" b="0" i="0" u="none" strike="noStrike" kern="1200" cap="none" spc="0" normalizeH="0" baseline="0" noProof="0">
                <a:ln>
                  <a:noFill/>
                </a:ln>
                <a:solidFill>
                  <a:srgbClr val="0070C0"/>
                </a:solidFill>
                <a:effectLst/>
                <a:uLnTx/>
                <a:uFillTx/>
                <a:latin typeface="Segoe UI Semibold" panose="020B0702040204020203" pitchFamily="34" charset="0"/>
                <a:cs typeface="Segoe UI Semibold" panose="020B0702040204020203" pitchFamily="34" charset="0"/>
              </a:rPr>
              <a:t>Recruit</a:t>
            </a:r>
          </a:p>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1 Prioritize recruitment </a:t>
            </a:r>
            <a:br>
              <a:rPr kumimoji="0" lang="en-US" sz="1200" b="0" i="0" u="none" strike="noStrike" kern="1200" cap="none" spc="0" normalizeH="0" baseline="0" noProof="0">
                <a:ln>
                  <a:noFill/>
                </a:ln>
                <a:solidFill>
                  <a:srgbClr val="000000"/>
                </a:solidFill>
                <a:effectLst/>
                <a:uLnTx/>
                <a:uFillTx/>
                <a:latin typeface="Segoe UI"/>
                <a:ea typeface="+mn-ea"/>
                <a:cs typeface="+mn-cs"/>
              </a:rPr>
            </a:br>
            <a:r>
              <a:rPr kumimoji="0" lang="en-US" sz="1200" b="0" i="0" u="none" strike="noStrike" kern="1200" cap="none" spc="0" normalizeH="0" baseline="0" noProof="0">
                <a:ln>
                  <a:noFill/>
                </a:ln>
                <a:solidFill>
                  <a:srgbClr val="000000"/>
                </a:solidFill>
                <a:effectLst/>
                <a:uLnTx/>
                <a:uFillTx/>
                <a:latin typeface="Segoe UI"/>
                <a:ea typeface="+mn-ea"/>
                <a:cs typeface="+mn-cs"/>
              </a:rPr>
              <a:t>of practice/solution gaps with partners</a:t>
            </a:r>
          </a:p>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2 Strategically recruit new partners</a:t>
            </a:r>
          </a:p>
        </p:txBody>
      </p:sp>
      <p:sp>
        <p:nvSpPr>
          <p:cNvPr id="225" name="Rectangle 224">
            <a:extLst>
              <a:ext uri="{FF2B5EF4-FFF2-40B4-BE49-F238E27FC236}">
                <a16:creationId xmlns:a16="http://schemas.microsoft.com/office/drawing/2014/main" id="{D94FF554-81B6-450E-8C5A-0339FCF651F7}"/>
              </a:ext>
            </a:extLst>
          </p:cNvPr>
          <p:cNvSpPr/>
          <p:nvPr/>
        </p:nvSpPr>
        <p:spPr>
          <a:xfrm>
            <a:off x="8843010" y="1803467"/>
            <a:ext cx="2047594" cy="854080"/>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tIns="0" rIns="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Semibold"/>
                <a:ea typeface="+mn-ea"/>
                <a:cs typeface="+mn-cs"/>
              </a:rPr>
              <a:t>Sell-With motion</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ales execution: shared engagements/</a:t>
            </a:r>
            <a:r>
              <a:rPr kumimoji="0" lang="en-US" sz="1200" b="0" i="0" u="none" strike="noStrike" kern="1200" cap="none" spc="0" normalizeH="0" baseline="0" noProof="0" err="1">
                <a:ln>
                  <a:noFill/>
                </a:ln>
                <a:solidFill>
                  <a:srgbClr val="000000"/>
                </a:solidFill>
                <a:effectLst/>
                <a:uLnTx/>
                <a:uFillTx/>
                <a:latin typeface="Segoe UI"/>
                <a:ea typeface="+mn-ea"/>
                <a:cs typeface="+mn-cs"/>
              </a:rPr>
              <a:t>opptys</a:t>
            </a:r>
            <a:r>
              <a:rPr kumimoji="0" lang="en-US" sz="1200" b="0" i="0" u="none" strike="noStrike" kern="1200" cap="none" spc="0" normalizeH="0" baseline="0" noProof="0">
                <a:ln>
                  <a:noFill/>
                </a:ln>
                <a:solidFill>
                  <a:srgbClr val="000000"/>
                </a:solidFill>
                <a:effectLst/>
                <a:uLnTx/>
                <a:uFillTx/>
                <a:latin typeface="Segoe UI"/>
                <a:ea typeface="+mn-ea"/>
                <a:cs typeface="+mn-cs"/>
              </a:rPr>
              <a:t>  with Co-Sell partners </a:t>
            </a:r>
          </a:p>
        </p:txBody>
      </p:sp>
      <p:cxnSp>
        <p:nvCxnSpPr>
          <p:cNvPr id="226" name="Straight Connector 225">
            <a:extLst>
              <a:ext uri="{FF2B5EF4-FFF2-40B4-BE49-F238E27FC236}">
                <a16:creationId xmlns:a16="http://schemas.microsoft.com/office/drawing/2014/main" id="{7C0741D1-5F96-461C-8F72-8031C295362B}"/>
              </a:ext>
            </a:extLst>
          </p:cNvPr>
          <p:cNvCxnSpPr>
            <a:cxnSpLocks/>
          </p:cNvCxnSpPr>
          <p:nvPr/>
        </p:nvCxnSpPr>
        <p:spPr>
          <a:xfrm>
            <a:off x="8890635" y="2909163"/>
            <a:ext cx="2051293"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DA83CDAC-8C4E-4B6C-8751-BAB76D438688}"/>
              </a:ext>
            </a:extLst>
          </p:cNvPr>
          <p:cNvCxnSpPr>
            <a:cxnSpLocks/>
          </p:cNvCxnSpPr>
          <p:nvPr/>
        </p:nvCxnSpPr>
        <p:spPr>
          <a:xfrm>
            <a:off x="8950962" y="4197847"/>
            <a:ext cx="2051293"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1" name="Straight Arrow Connector 230">
            <a:extLst>
              <a:ext uri="{FF2B5EF4-FFF2-40B4-BE49-F238E27FC236}">
                <a16:creationId xmlns:a16="http://schemas.microsoft.com/office/drawing/2014/main" id="{52E44314-65A9-46EF-9BE1-F1FDF546FC72}"/>
              </a:ext>
            </a:extLst>
          </p:cNvPr>
          <p:cNvCxnSpPr>
            <a:cxnSpLocks/>
          </p:cNvCxnSpPr>
          <p:nvPr/>
        </p:nvCxnSpPr>
        <p:spPr>
          <a:xfrm>
            <a:off x="8296941" y="3138691"/>
            <a:ext cx="267003" cy="1"/>
          </a:xfrm>
          <a:prstGeom prst="straightConnector1">
            <a:avLst/>
          </a:prstGeom>
          <a:ln w="50800">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2" name="Rectangle 196">
            <a:extLst>
              <a:ext uri="{FF2B5EF4-FFF2-40B4-BE49-F238E27FC236}">
                <a16:creationId xmlns:a16="http://schemas.microsoft.com/office/drawing/2014/main" id="{2A5A12E5-3F8E-466D-8676-47E7A4966368}"/>
              </a:ext>
            </a:extLst>
          </p:cNvPr>
          <p:cNvSpPr/>
          <p:nvPr/>
        </p:nvSpPr>
        <p:spPr>
          <a:xfrm>
            <a:off x="8579157" y="1953273"/>
            <a:ext cx="311478" cy="2622538"/>
          </a:xfrm>
          <a:custGeom>
            <a:avLst/>
            <a:gdLst>
              <a:gd name="connsiteX0" fmla="*/ 0 w 4121217"/>
              <a:gd name="connsiteY0" fmla="*/ 0 h 5707063"/>
              <a:gd name="connsiteX1" fmla="*/ 4121217 w 4121217"/>
              <a:gd name="connsiteY1" fmla="*/ 0 h 5707063"/>
              <a:gd name="connsiteX2" fmla="*/ 4121217 w 4121217"/>
              <a:gd name="connsiteY2" fmla="*/ 5707063 h 5707063"/>
              <a:gd name="connsiteX3" fmla="*/ 0 w 4121217"/>
              <a:gd name="connsiteY3" fmla="*/ 5707063 h 5707063"/>
              <a:gd name="connsiteX4" fmla="*/ 0 w 4121217"/>
              <a:gd name="connsiteY4" fmla="*/ 0 h 5707063"/>
              <a:gd name="connsiteX0" fmla="*/ 4121217 w 4212657"/>
              <a:gd name="connsiteY0" fmla="*/ 0 h 5707063"/>
              <a:gd name="connsiteX1" fmla="*/ 4121217 w 4212657"/>
              <a:gd name="connsiteY1" fmla="*/ 5707063 h 5707063"/>
              <a:gd name="connsiteX2" fmla="*/ 0 w 4212657"/>
              <a:gd name="connsiteY2" fmla="*/ 5707063 h 5707063"/>
              <a:gd name="connsiteX3" fmla="*/ 0 w 4212657"/>
              <a:gd name="connsiteY3" fmla="*/ 0 h 5707063"/>
              <a:gd name="connsiteX4" fmla="*/ 4212657 w 4212657"/>
              <a:gd name="connsiteY4" fmla="*/ 91440 h 5707063"/>
              <a:gd name="connsiteX0" fmla="*/ 4121217 w 4121217"/>
              <a:gd name="connsiteY0" fmla="*/ 0 h 5707063"/>
              <a:gd name="connsiteX1" fmla="*/ 4121217 w 4121217"/>
              <a:gd name="connsiteY1" fmla="*/ 5707063 h 5707063"/>
              <a:gd name="connsiteX2" fmla="*/ 0 w 4121217"/>
              <a:gd name="connsiteY2" fmla="*/ 5707063 h 5707063"/>
              <a:gd name="connsiteX3" fmla="*/ 0 w 4121217"/>
              <a:gd name="connsiteY3" fmla="*/ 0 h 5707063"/>
              <a:gd name="connsiteX0" fmla="*/ 4121217 w 4121217"/>
              <a:gd name="connsiteY0" fmla="*/ 5707063 h 5707063"/>
              <a:gd name="connsiteX1" fmla="*/ 0 w 4121217"/>
              <a:gd name="connsiteY1" fmla="*/ 5707063 h 5707063"/>
              <a:gd name="connsiteX2" fmla="*/ 0 w 4121217"/>
              <a:gd name="connsiteY2" fmla="*/ 0 h 5707063"/>
            </a:gdLst>
            <a:ahLst/>
            <a:cxnLst>
              <a:cxn ang="0">
                <a:pos x="connsiteX0" y="connsiteY0"/>
              </a:cxn>
              <a:cxn ang="0">
                <a:pos x="connsiteX1" y="connsiteY1"/>
              </a:cxn>
              <a:cxn ang="0">
                <a:pos x="connsiteX2" y="connsiteY2"/>
              </a:cxn>
            </a:cxnLst>
            <a:rect l="l" t="t" r="r" b="b"/>
            <a:pathLst>
              <a:path w="4121217" h="5707063">
                <a:moveTo>
                  <a:pt x="4121217" y="5707063"/>
                </a:moveTo>
                <a:lnTo>
                  <a:pt x="0" y="5707063"/>
                </a:lnTo>
                <a:lnTo>
                  <a:pt x="0" y="0"/>
                </a:lnTo>
              </a:path>
            </a:pathLst>
          </a:custGeom>
          <a:ln w="50800">
            <a:solidFill>
              <a:srgbClr val="FFB900"/>
            </a:solidFill>
            <a:headEnd type="triangle" w="lg" len="med"/>
            <a:tailEnd type="none" w="med" len="sm"/>
          </a:ln>
        </p:spPr>
        <p:style>
          <a:lnRef idx="1">
            <a:schemeClr val="accent1"/>
          </a:lnRef>
          <a:fillRef idx="0">
            <a:schemeClr val="accent1"/>
          </a:fillRef>
          <a:effectRef idx="0">
            <a:schemeClr val="accent1"/>
          </a:effectRef>
          <a:fontRef idx="minor">
            <a:schemeClr val="tx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78" name="Straight Arrow Connector 77">
            <a:extLst>
              <a:ext uri="{FF2B5EF4-FFF2-40B4-BE49-F238E27FC236}">
                <a16:creationId xmlns:a16="http://schemas.microsoft.com/office/drawing/2014/main" id="{D662EF99-6619-413F-ACB1-82386D0F0409}"/>
              </a:ext>
            </a:extLst>
          </p:cNvPr>
          <p:cNvCxnSpPr>
            <a:cxnSpLocks/>
          </p:cNvCxnSpPr>
          <p:nvPr/>
        </p:nvCxnSpPr>
        <p:spPr>
          <a:xfrm>
            <a:off x="8573796" y="3140494"/>
            <a:ext cx="290946" cy="0"/>
          </a:xfrm>
          <a:prstGeom prst="straightConnector1">
            <a:avLst/>
          </a:prstGeom>
          <a:ln w="50800">
            <a:solidFill>
              <a:srgbClr val="FFB900"/>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E5D5F6F8-B1F1-4B03-B0F3-A64A38DF7A59}"/>
              </a:ext>
            </a:extLst>
          </p:cNvPr>
          <p:cNvSpPr/>
          <p:nvPr/>
        </p:nvSpPr>
        <p:spPr>
          <a:xfrm>
            <a:off x="4375761" y="5277895"/>
            <a:ext cx="3972710" cy="1033523"/>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Recruit</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5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Identification of gaps </a:t>
            </a:r>
            <a:r>
              <a:rPr kumimoji="0" lang="en-US" sz="1100" b="0" i="0" u="none" strike="noStrike" kern="1200" cap="none" spc="0" normalizeH="0" baseline="0" noProof="0">
                <a:ln>
                  <a:noFill/>
                </a:ln>
                <a:solidFill>
                  <a:srgbClr val="000000"/>
                </a:solidFill>
                <a:effectLst/>
                <a:uLnTx/>
                <a:uFillTx/>
                <a:latin typeface="Segoe UI"/>
                <a:ea typeface="+mn-ea"/>
                <a:cs typeface="+mn-cs"/>
              </a:rPr>
              <a:t>across technical capabilities, customer segment or industry</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7" name="Rectangle 146">
            <a:extLst>
              <a:ext uri="{FF2B5EF4-FFF2-40B4-BE49-F238E27FC236}">
                <a16:creationId xmlns:a16="http://schemas.microsoft.com/office/drawing/2014/main" id="{A8DDA2D0-B92C-46F1-8597-98EC1BC02335}"/>
              </a:ext>
            </a:extLst>
          </p:cNvPr>
          <p:cNvSpPr/>
          <p:nvPr/>
        </p:nvSpPr>
        <p:spPr>
          <a:xfrm rot="10800000">
            <a:off x="11711412" y="697290"/>
            <a:ext cx="343427" cy="6010531"/>
          </a:xfrm>
          <a:prstGeom prst="rect">
            <a:avLst/>
          </a:prstGeom>
          <a:solidFill>
            <a:schemeClr val="tx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Incentives &amp; Investments</a:t>
            </a:r>
          </a:p>
        </p:txBody>
      </p:sp>
      <p:sp>
        <p:nvSpPr>
          <p:cNvPr id="2" name="Rectangle 196">
            <a:extLst>
              <a:ext uri="{FF2B5EF4-FFF2-40B4-BE49-F238E27FC236}">
                <a16:creationId xmlns:a16="http://schemas.microsoft.com/office/drawing/2014/main" id="{D268C887-F29A-44A3-A674-18621751A769}"/>
              </a:ext>
            </a:extLst>
          </p:cNvPr>
          <p:cNvSpPr/>
          <p:nvPr/>
        </p:nvSpPr>
        <p:spPr>
          <a:xfrm rot="10800000" flipH="1">
            <a:off x="8573796" y="1883299"/>
            <a:ext cx="303448" cy="430886"/>
          </a:xfrm>
          <a:custGeom>
            <a:avLst/>
            <a:gdLst>
              <a:gd name="connsiteX0" fmla="*/ 0 w 4121217"/>
              <a:gd name="connsiteY0" fmla="*/ 0 h 5707063"/>
              <a:gd name="connsiteX1" fmla="*/ 4121217 w 4121217"/>
              <a:gd name="connsiteY1" fmla="*/ 0 h 5707063"/>
              <a:gd name="connsiteX2" fmla="*/ 4121217 w 4121217"/>
              <a:gd name="connsiteY2" fmla="*/ 5707063 h 5707063"/>
              <a:gd name="connsiteX3" fmla="*/ 0 w 4121217"/>
              <a:gd name="connsiteY3" fmla="*/ 5707063 h 5707063"/>
              <a:gd name="connsiteX4" fmla="*/ 0 w 4121217"/>
              <a:gd name="connsiteY4" fmla="*/ 0 h 5707063"/>
              <a:gd name="connsiteX0" fmla="*/ 4121217 w 4212657"/>
              <a:gd name="connsiteY0" fmla="*/ 0 h 5707063"/>
              <a:gd name="connsiteX1" fmla="*/ 4121217 w 4212657"/>
              <a:gd name="connsiteY1" fmla="*/ 5707063 h 5707063"/>
              <a:gd name="connsiteX2" fmla="*/ 0 w 4212657"/>
              <a:gd name="connsiteY2" fmla="*/ 5707063 h 5707063"/>
              <a:gd name="connsiteX3" fmla="*/ 0 w 4212657"/>
              <a:gd name="connsiteY3" fmla="*/ 0 h 5707063"/>
              <a:gd name="connsiteX4" fmla="*/ 4212657 w 4212657"/>
              <a:gd name="connsiteY4" fmla="*/ 91440 h 5707063"/>
              <a:gd name="connsiteX0" fmla="*/ 4121217 w 4121217"/>
              <a:gd name="connsiteY0" fmla="*/ 0 h 5707063"/>
              <a:gd name="connsiteX1" fmla="*/ 4121217 w 4121217"/>
              <a:gd name="connsiteY1" fmla="*/ 5707063 h 5707063"/>
              <a:gd name="connsiteX2" fmla="*/ 0 w 4121217"/>
              <a:gd name="connsiteY2" fmla="*/ 5707063 h 5707063"/>
              <a:gd name="connsiteX3" fmla="*/ 0 w 4121217"/>
              <a:gd name="connsiteY3" fmla="*/ 0 h 5707063"/>
              <a:gd name="connsiteX0" fmla="*/ 4121217 w 4121217"/>
              <a:gd name="connsiteY0" fmla="*/ 5707063 h 5707063"/>
              <a:gd name="connsiteX1" fmla="*/ 0 w 4121217"/>
              <a:gd name="connsiteY1" fmla="*/ 5707063 h 5707063"/>
              <a:gd name="connsiteX2" fmla="*/ 0 w 4121217"/>
              <a:gd name="connsiteY2" fmla="*/ 0 h 5707063"/>
            </a:gdLst>
            <a:ahLst/>
            <a:cxnLst>
              <a:cxn ang="0">
                <a:pos x="connsiteX0" y="connsiteY0"/>
              </a:cxn>
              <a:cxn ang="0">
                <a:pos x="connsiteX1" y="connsiteY1"/>
              </a:cxn>
              <a:cxn ang="0">
                <a:pos x="connsiteX2" y="connsiteY2"/>
              </a:cxn>
            </a:cxnLst>
            <a:rect l="l" t="t" r="r" b="b"/>
            <a:pathLst>
              <a:path w="4121217" h="5707063">
                <a:moveTo>
                  <a:pt x="4121217" y="5707063"/>
                </a:moveTo>
                <a:lnTo>
                  <a:pt x="0" y="5707063"/>
                </a:lnTo>
                <a:lnTo>
                  <a:pt x="0" y="0"/>
                </a:lnTo>
              </a:path>
            </a:pathLst>
          </a:custGeom>
          <a:ln w="50800">
            <a:solidFill>
              <a:srgbClr val="FFB900"/>
            </a:solidFill>
            <a:headEnd type="triangle" w="lg" len="med"/>
            <a:tailEnd type="none" w="med" len="sm"/>
          </a:ln>
        </p:spPr>
        <p:style>
          <a:lnRef idx="1">
            <a:schemeClr val="accent1"/>
          </a:lnRef>
          <a:fillRef idx="0">
            <a:schemeClr val="accent1"/>
          </a:fillRef>
          <a:effectRef idx="0">
            <a:schemeClr val="accent1"/>
          </a:effectRef>
          <a:fontRef idx="minor">
            <a:schemeClr val="tx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40" name="Rectangle 139">
            <a:extLst>
              <a:ext uri="{FF2B5EF4-FFF2-40B4-BE49-F238E27FC236}">
                <a16:creationId xmlns:a16="http://schemas.microsoft.com/office/drawing/2014/main" id="{9D6270EE-87E8-4923-BEAD-67EF08347094}"/>
              </a:ext>
            </a:extLst>
          </p:cNvPr>
          <p:cNvSpPr/>
          <p:nvPr/>
        </p:nvSpPr>
        <p:spPr>
          <a:xfrm>
            <a:off x="680364" y="1340465"/>
            <a:ext cx="3268437" cy="316202"/>
          </a:xfrm>
          <a:prstGeom prst="rect">
            <a:avLst/>
          </a:prstGeom>
          <a:solidFill>
            <a:schemeClr val="accent1">
              <a:lumMod val="20000"/>
              <a:lumOff val="80000"/>
              <a:alpha val="9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ligning partner capabilities to plays</a:t>
            </a:r>
          </a:p>
        </p:txBody>
      </p:sp>
      <p:sp>
        <p:nvSpPr>
          <p:cNvPr id="145" name="Rectangle 144">
            <a:extLst>
              <a:ext uri="{FF2B5EF4-FFF2-40B4-BE49-F238E27FC236}">
                <a16:creationId xmlns:a16="http://schemas.microsoft.com/office/drawing/2014/main" id="{FBFEFACE-5DA4-4452-826E-CE1E1D607145}"/>
              </a:ext>
            </a:extLst>
          </p:cNvPr>
          <p:cNvSpPr/>
          <p:nvPr/>
        </p:nvSpPr>
        <p:spPr>
          <a:xfrm>
            <a:off x="705979" y="1779611"/>
            <a:ext cx="3212733" cy="1084912"/>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tIns="0" rIns="0" bIns="45720" rtlCol="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i="0" u="none" strike="noStrike" kern="1200" cap="none" spc="0" normalizeH="0" baseline="0" noProof="0">
                <a:ln>
                  <a:noFill/>
                </a:ln>
                <a:solidFill>
                  <a:srgbClr val="0070C0"/>
                </a:solidFill>
                <a:effectLst/>
                <a:uLnTx/>
                <a:uFillTx/>
                <a:latin typeface="Segoe UI Semibold" panose="020B0702040204020203" pitchFamily="34" charset="0"/>
                <a:cs typeface="Segoe UI Semibold" panose="020B0702040204020203" pitchFamily="34" charset="0"/>
              </a:rPr>
              <a:t>Customer value </a:t>
            </a:r>
            <a:r>
              <a:rPr lang="en-US" sz="1200">
                <a:solidFill>
                  <a:srgbClr val="000000"/>
                </a:solidFill>
                <a:latin typeface="Segoe UI"/>
              </a:rPr>
              <a:t>delivered  via pre-defined </a:t>
            </a:r>
            <a:r>
              <a:rPr kumimoji="0" lang="en-US" sz="1200" b="0" i="0" u="none" strike="noStrike" kern="1200" cap="none" spc="0" normalizeH="0" baseline="0" noProof="0">
                <a:ln>
                  <a:noFill/>
                </a:ln>
                <a:solidFill>
                  <a:srgbClr val="000000"/>
                </a:solidFill>
                <a:effectLst/>
                <a:uLnTx/>
                <a:uFillTx/>
                <a:latin typeface="Segoe UI"/>
                <a:ea typeface="+mn-ea"/>
                <a:cs typeface="+mn-cs"/>
              </a:rPr>
              <a:t>Solution Area Sales Plays </a:t>
            </a:r>
            <a:endParaRPr kumimoji="0" lang="hu-HU"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nd Industry Priority Scenarios</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 </a:t>
            </a:r>
          </a:p>
        </p:txBody>
      </p:sp>
      <p:sp>
        <p:nvSpPr>
          <p:cNvPr id="150" name="Rectangle 196">
            <a:extLst>
              <a:ext uri="{FF2B5EF4-FFF2-40B4-BE49-F238E27FC236}">
                <a16:creationId xmlns:a16="http://schemas.microsoft.com/office/drawing/2014/main" id="{EB33807C-6337-4A99-979D-EBA36268FE1D}"/>
              </a:ext>
            </a:extLst>
          </p:cNvPr>
          <p:cNvSpPr/>
          <p:nvPr/>
        </p:nvSpPr>
        <p:spPr>
          <a:xfrm>
            <a:off x="516409" y="1811687"/>
            <a:ext cx="311478" cy="2600585"/>
          </a:xfrm>
          <a:custGeom>
            <a:avLst/>
            <a:gdLst>
              <a:gd name="connsiteX0" fmla="*/ 0 w 4121217"/>
              <a:gd name="connsiteY0" fmla="*/ 0 h 5707063"/>
              <a:gd name="connsiteX1" fmla="*/ 4121217 w 4121217"/>
              <a:gd name="connsiteY1" fmla="*/ 0 h 5707063"/>
              <a:gd name="connsiteX2" fmla="*/ 4121217 w 4121217"/>
              <a:gd name="connsiteY2" fmla="*/ 5707063 h 5707063"/>
              <a:gd name="connsiteX3" fmla="*/ 0 w 4121217"/>
              <a:gd name="connsiteY3" fmla="*/ 5707063 h 5707063"/>
              <a:gd name="connsiteX4" fmla="*/ 0 w 4121217"/>
              <a:gd name="connsiteY4" fmla="*/ 0 h 5707063"/>
              <a:gd name="connsiteX0" fmla="*/ 4121217 w 4212657"/>
              <a:gd name="connsiteY0" fmla="*/ 0 h 5707063"/>
              <a:gd name="connsiteX1" fmla="*/ 4121217 w 4212657"/>
              <a:gd name="connsiteY1" fmla="*/ 5707063 h 5707063"/>
              <a:gd name="connsiteX2" fmla="*/ 0 w 4212657"/>
              <a:gd name="connsiteY2" fmla="*/ 5707063 h 5707063"/>
              <a:gd name="connsiteX3" fmla="*/ 0 w 4212657"/>
              <a:gd name="connsiteY3" fmla="*/ 0 h 5707063"/>
              <a:gd name="connsiteX4" fmla="*/ 4212657 w 4212657"/>
              <a:gd name="connsiteY4" fmla="*/ 91440 h 5707063"/>
              <a:gd name="connsiteX0" fmla="*/ 4121217 w 4121217"/>
              <a:gd name="connsiteY0" fmla="*/ 0 h 5707063"/>
              <a:gd name="connsiteX1" fmla="*/ 4121217 w 4121217"/>
              <a:gd name="connsiteY1" fmla="*/ 5707063 h 5707063"/>
              <a:gd name="connsiteX2" fmla="*/ 0 w 4121217"/>
              <a:gd name="connsiteY2" fmla="*/ 5707063 h 5707063"/>
              <a:gd name="connsiteX3" fmla="*/ 0 w 4121217"/>
              <a:gd name="connsiteY3" fmla="*/ 0 h 5707063"/>
              <a:gd name="connsiteX0" fmla="*/ 4121217 w 4121217"/>
              <a:gd name="connsiteY0" fmla="*/ 5707063 h 5707063"/>
              <a:gd name="connsiteX1" fmla="*/ 0 w 4121217"/>
              <a:gd name="connsiteY1" fmla="*/ 5707063 h 5707063"/>
              <a:gd name="connsiteX2" fmla="*/ 0 w 4121217"/>
              <a:gd name="connsiteY2" fmla="*/ 0 h 5707063"/>
            </a:gdLst>
            <a:ahLst/>
            <a:cxnLst>
              <a:cxn ang="0">
                <a:pos x="connsiteX0" y="connsiteY0"/>
              </a:cxn>
              <a:cxn ang="0">
                <a:pos x="connsiteX1" y="connsiteY1"/>
              </a:cxn>
              <a:cxn ang="0">
                <a:pos x="connsiteX2" y="connsiteY2"/>
              </a:cxn>
            </a:cxnLst>
            <a:rect l="l" t="t" r="r" b="b"/>
            <a:pathLst>
              <a:path w="4121217" h="5707063">
                <a:moveTo>
                  <a:pt x="4121217" y="5707063"/>
                </a:moveTo>
                <a:lnTo>
                  <a:pt x="0" y="5707063"/>
                </a:lnTo>
                <a:lnTo>
                  <a:pt x="0" y="0"/>
                </a:lnTo>
              </a:path>
            </a:pathLst>
          </a:custGeom>
          <a:ln w="50800">
            <a:solidFill>
              <a:srgbClr val="FFB900"/>
            </a:solidFill>
            <a:headEnd type="triangle" w="lg" len="med"/>
            <a:tailEnd type="none" w="med" len="sm"/>
          </a:ln>
        </p:spPr>
        <p:style>
          <a:lnRef idx="1">
            <a:schemeClr val="accent1"/>
          </a:lnRef>
          <a:fillRef idx="0">
            <a:schemeClr val="accent1"/>
          </a:fillRef>
          <a:effectRef idx="0">
            <a:schemeClr val="accent1"/>
          </a:effectRef>
          <a:fontRef idx="minor">
            <a:schemeClr val="tx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mn-cs"/>
            </a:endParaRPr>
          </a:p>
        </p:txBody>
      </p:sp>
      <p:cxnSp>
        <p:nvCxnSpPr>
          <p:cNvPr id="151" name="Straight Arrow Connector 150">
            <a:extLst>
              <a:ext uri="{FF2B5EF4-FFF2-40B4-BE49-F238E27FC236}">
                <a16:creationId xmlns:a16="http://schemas.microsoft.com/office/drawing/2014/main" id="{962AD14D-36E9-4F37-A0F3-E121E0345955}"/>
              </a:ext>
            </a:extLst>
          </p:cNvPr>
          <p:cNvCxnSpPr>
            <a:cxnSpLocks/>
          </p:cNvCxnSpPr>
          <p:nvPr/>
        </p:nvCxnSpPr>
        <p:spPr>
          <a:xfrm>
            <a:off x="493464" y="2796410"/>
            <a:ext cx="317441" cy="0"/>
          </a:xfrm>
          <a:prstGeom prst="straightConnector1">
            <a:avLst/>
          </a:prstGeom>
          <a:ln w="50800">
            <a:solidFill>
              <a:srgbClr val="FFB900"/>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D8EDC3E6-68DA-4A44-9E2D-4E2E92E8E31E}"/>
              </a:ext>
            </a:extLst>
          </p:cNvPr>
          <p:cNvCxnSpPr>
            <a:cxnSpLocks/>
          </p:cNvCxnSpPr>
          <p:nvPr/>
        </p:nvCxnSpPr>
        <p:spPr>
          <a:xfrm flipV="1">
            <a:off x="494722" y="1827942"/>
            <a:ext cx="216019" cy="8693"/>
          </a:xfrm>
          <a:prstGeom prst="straightConnector1">
            <a:avLst/>
          </a:prstGeom>
          <a:ln w="50800">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B001C1EB-6E84-4642-9FDE-566312277232}"/>
              </a:ext>
            </a:extLst>
          </p:cNvPr>
          <p:cNvSpPr/>
          <p:nvPr/>
        </p:nvSpPr>
        <p:spPr>
          <a:xfrm>
            <a:off x="4358002" y="1794806"/>
            <a:ext cx="3972710" cy="739263"/>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70C0"/>
                </a:solidFill>
                <a:effectLst/>
                <a:uLnTx/>
                <a:uFillTx/>
                <a:latin typeface="Segoe UI Semibold"/>
                <a:ea typeface="+mn-ea"/>
                <a:cs typeface="+mn-cs"/>
              </a:rPr>
              <a:t>Quality</a:t>
            </a:r>
            <a:r>
              <a:rPr kumimoji="0" lang="en-US" sz="1200" b="0" i="0" u="none" strike="noStrike" kern="1200" cap="none" spc="0" normalizeH="0" baseline="0" noProof="0">
                <a:ln>
                  <a:noFill/>
                </a:ln>
                <a:solidFill>
                  <a:srgbClr val="0078D4"/>
                </a:solidFill>
                <a:effectLst/>
                <a:uLnTx/>
                <a:uFillTx/>
                <a:latin typeface="Segoe UI Semibold"/>
                <a:ea typeface="+mn-ea"/>
                <a:cs typeface="+mn-cs"/>
              </a:rPr>
              <a:t> </a:t>
            </a:r>
            <a:r>
              <a:rPr kumimoji="0" lang="en-US" sz="1200" b="0" i="0" u="none" strike="noStrike" kern="1200" cap="none" spc="0" normalizeH="0" baseline="0" noProof="0">
                <a:ln>
                  <a:noFill/>
                </a:ln>
                <a:solidFill>
                  <a:srgbClr val="000000"/>
                </a:solidFill>
                <a:effectLst/>
                <a:uLnTx/>
                <a:uFillTx/>
                <a:latin typeface="Segoe UI Semibold"/>
                <a:ea typeface="+mn-ea"/>
                <a:cs typeface="+mn-cs"/>
              </a:rPr>
              <a:t>objective criteria validatio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70C0"/>
                </a:solidFill>
                <a:effectLst/>
                <a:uLnTx/>
                <a:uFillTx/>
                <a:latin typeface="Segoe UI Semibold"/>
                <a:ea typeface="+mn-ea"/>
                <a:cs typeface="+mn-cs"/>
              </a:rPr>
              <a:t>Alignment</a:t>
            </a:r>
            <a:r>
              <a:rPr kumimoji="0" lang="en-US" sz="1200" b="0" i="0" u="none" strike="noStrike" kern="1200" cap="none" spc="0" normalizeH="0" baseline="0" noProof="0">
                <a:ln>
                  <a:noFill/>
                </a:ln>
                <a:solidFill>
                  <a:srgbClr val="000000"/>
                </a:solidFill>
                <a:effectLst/>
                <a:uLnTx/>
                <a:uFillTx/>
                <a:latin typeface="Segoe UI Semibold"/>
                <a:ea typeface="+mn-ea"/>
                <a:cs typeface="+mn-cs"/>
              </a:rPr>
              <a:t> across</a:t>
            </a:r>
            <a:r>
              <a:rPr kumimoji="0" lang="hu-HU" sz="1200" b="0" i="0" u="none" strike="noStrike" kern="1200" cap="none" spc="0" normalizeH="0" baseline="0" noProof="0">
                <a:ln>
                  <a:noFill/>
                </a:ln>
                <a:solidFill>
                  <a:srgbClr val="000000"/>
                </a:solidFill>
                <a:effectLst/>
                <a:uLnTx/>
                <a:uFillTx/>
                <a:latin typeface="Segoe UI Semibold"/>
                <a:ea typeface="+mn-ea"/>
                <a:cs typeface="+mn-cs"/>
              </a:rPr>
              <a:t> Microsoft sales team</a:t>
            </a:r>
            <a:endParaRPr kumimoji="0" lang="en-US" sz="1200" b="0" i="0" u="none" strike="noStrike" kern="1200" cap="none" spc="0" normalizeH="0" baseline="0" noProof="0">
              <a:ln>
                <a:noFill/>
              </a:ln>
              <a:solidFill>
                <a:srgbClr val="000000"/>
              </a:solidFill>
              <a:effectLst/>
              <a:uLnTx/>
              <a:uFillTx/>
              <a:latin typeface="Segoe UI Semibold"/>
              <a:ea typeface="+mn-ea"/>
              <a:cs typeface="+mn-cs"/>
            </a:endParaRPr>
          </a:p>
        </p:txBody>
      </p:sp>
      <p:pic>
        <p:nvPicPr>
          <p:cNvPr id="16" name="Picture 15">
            <a:extLst>
              <a:ext uri="{FF2B5EF4-FFF2-40B4-BE49-F238E27FC236}">
                <a16:creationId xmlns:a16="http://schemas.microsoft.com/office/drawing/2014/main" id="{73F2E9BB-675C-4375-AE8B-6C9ABD228D6B}"/>
              </a:ext>
            </a:extLst>
          </p:cNvPr>
          <p:cNvPicPr>
            <a:picLocks noChangeAspect="1"/>
          </p:cNvPicPr>
          <p:nvPr/>
        </p:nvPicPr>
        <p:blipFill>
          <a:blip r:embed="rId3"/>
          <a:stretch>
            <a:fillRect/>
          </a:stretch>
        </p:blipFill>
        <p:spPr>
          <a:xfrm>
            <a:off x="4363953" y="3244468"/>
            <a:ext cx="1899463" cy="1237452"/>
          </a:xfrm>
          <a:prstGeom prst="rect">
            <a:avLst/>
          </a:prstGeom>
        </p:spPr>
      </p:pic>
      <p:sp>
        <p:nvSpPr>
          <p:cNvPr id="3" name="TextBox 2">
            <a:extLst>
              <a:ext uri="{FF2B5EF4-FFF2-40B4-BE49-F238E27FC236}">
                <a16:creationId xmlns:a16="http://schemas.microsoft.com/office/drawing/2014/main" id="{E4B4FACF-3FCA-4CC9-89AE-E6D42B34F486}"/>
              </a:ext>
            </a:extLst>
          </p:cNvPr>
          <p:cNvSpPr txBox="1"/>
          <p:nvPr/>
        </p:nvSpPr>
        <p:spPr>
          <a:xfrm>
            <a:off x="7187386" y="3470015"/>
            <a:ext cx="1012755"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u-HU"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Global </a:t>
            </a: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SV</a:t>
            </a:r>
          </a:p>
        </p:txBody>
      </p:sp>
      <p:sp>
        <p:nvSpPr>
          <p:cNvPr id="66" name="TextBox 65">
            <a:extLst>
              <a:ext uri="{FF2B5EF4-FFF2-40B4-BE49-F238E27FC236}">
                <a16:creationId xmlns:a16="http://schemas.microsoft.com/office/drawing/2014/main" id="{023AD83B-098B-4637-9B4D-7914431954D1}"/>
              </a:ext>
            </a:extLst>
          </p:cNvPr>
          <p:cNvSpPr txBox="1"/>
          <p:nvPr/>
        </p:nvSpPr>
        <p:spPr>
          <a:xfrm>
            <a:off x="7189079" y="3636247"/>
            <a:ext cx="137444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SV connect premium</a:t>
            </a:r>
          </a:p>
        </p:txBody>
      </p:sp>
      <p:sp>
        <p:nvSpPr>
          <p:cNvPr id="67" name="TextBox 66">
            <a:extLst>
              <a:ext uri="{FF2B5EF4-FFF2-40B4-BE49-F238E27FC236}">
                <a16:creationId xmlns:a16="http://schemas.microsoft.com/office/drawing/2014/main" id="{E6EC7621-B153-468E-8889-5CB8FB2C8830}"/>
              </a:ext>
            </a:extLst>
          </p:cNvPr>
          <p:cNvSpPr txBox="1"/>
          <p:nvPr/>
        </p:nvSpPr>
        <p:spPr>
          <a:xfrm>
            <a:off x="7172711" y="3812204"/>
            <a:ext cx="1159789" cy="153888"/>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u-HU"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EE ISV</a:t>
            </a:r>
            <a:endPar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68" name="Rectangle 81">
            <a:extLst>
              <a:ext uri="{FF2B5EF4-FFF2-40B4-BE49-F238E27FC236}">
                <a16:creationId xmlns:a16="http://schemas.microsoft.com/office/drawing/2014/main" id="{94EF3F47-3D4D-40B8-B52C-9DC2F6BEEA92}"/>
              </a:ext>
            </a:extLst>
          </p:cNvPr>
          <p:cNvSpPr/>
          <p:nvPr/>
        </p:nvSpPr>
        <p:spPr bwMode="auto">
          <a:xfrm>
            <a:off x="4265887" y="3228721"/>
            <a:ext cx="2078470" cy="1296066"/>
          </a:xfrm>
          <a:custGeom>
            <a:avLst/>
            <a:gdLst>
              <a:gd name="connsiteX0" fmla="*/ 0 w 9458324"/>
              <a:gd name="connsiteY0" fmla="*/ 0 h 682624"/>
              <a:gd name="connsiteX1" fmla="*/ 9458324 w 9458324"/>
              <a:gd name="connsiteY1" fmla="*/ 0 h 682624"/>
              <a:gd name="connsiteX2" fmla="*/ 9458324 w 9458324"/>
              <a:gd name="connsiteY2" fmla="*/ 682624 h 682624"/>
              <a:gd name="connsiteX3" fmla="*/ 0 w 9458324"/>
              <a:gd name="connsiteY3" fmla="*/ 682624 h 682624"/>
              <a:gd name="connsiteX4" fmla="*/ 0 w 9458324"/>
              <a:gd name="connsiteY4" fmla="*/ 0 h 682624"/>
              <a:gd name="connsiteX0" fmla="*/ 9458324 w 9549764"/>
              <a:gd name="connsiteY0" fmla="*/ 682624 h 774064"/>
              <a:gd name="connsiteX1" fmla="*/ 0 w 9549764"/>
              <a:gd name="connsiteY1" fmla="*/ 682624 h 774064"/>
              <a:gd name="connsiteX2" fmla="*/ 0 w 9549764"/>
              <a:gd name="connsiteY2" fmla="*/ 0 h 774064"/>
              <a:gd name="connsiteX3" fmla="*/ 9458324 w 9549764"/>
              <a:gd name="connsiteY3" fmla="*/ 0 h 774064"/>
              <a:gd name="connsiteX4" fmla="*/ 9549764 w 9549764"/>
              <a:gd name="connsiteY4" fmla="*/ 774064 h 774064"/>
              <a:gd name="connsiteX0" fmla="*/ 9458324 w 9458324"/>
              <a:gd name="connsiteY0" fmla="*/ 682624 h 682624"/>
              <a:gd name="connsiteX1" fmla="*/ 0 w 9458324"/>
              <a:gd name="connsiteY1" fmla="*/ 682624 h 682624"/>
              <a:gd name="connsiteX2" fmla="*/ 0 w 9458324"/>
              <a:gd name="connsiteY2" fmla="*/ 0 h 682624"/>
              <a:gd name="connsiteX3" fmla="*/ 9458324 w 9458324"/>
              <a:gd name="connsiteY3" fmla="*/ 0 h 682624"/>
            </a:gdLst>
            <a:ahLst/>
            <a:cxnLst>
              <a:cxn ang="0">
                <a:pos x="connsiteX0" y="connsiteY0"/>
              </a:cxn>
              <a:cxn ang="0">
                <a:pos x="connsiteX1" y="connsiteY1"/>
              </a:cxn>
              <a:cxn ang="0">
                <a:pos x="connsiteX2" y="connsiteY2"/>
              </a:cxn>
              <a:cxn ang="0">
                <a:pos x="connsiteX3" y="connsiteY3"/>
              </a:cxn>
            </a:cxnLst>
            <a:rect l="l" t="t" r="r" b="b"/>
            <a:pathLst>
              <a:path w="9458324" h="682624">
                <a:moveTo>
                  <a:pt x="9458324" y="682624"/>
                </a:moveTo>
                <a:lnTo>
                  <a:pt x="0" y="682624"/>
                </a:lnTo>
                <a:lnTo>
                  <a:pt x="0" y="0"/>
                </a:lnTo>
                <a:lnTo>
                  <a:pt x="9458324" y="0"/>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9" name="Rectangle 81">
            <a:extLst>
              <a:ext uri="{FF2B5EF4-FFF2-40B4-BE49-F238E27FC236}">
                <a16:creationId xmlns:a16="http://schemas.microsoft.com/office/drawing/2014/main" id="{CDC8C4CF-BC1A-4065-9C0C-71BED2A958FC}"/>
              </a:ext>
            </a:extLst>
          </p:cNvPr>
          <p:cNvSpPr/>
          <p:nvPr/>
        </p:nvSpPr>
        <p:spPr bwMode="auto">
          <a:xfrm>
            <a:off x="6433034" y="3218356"/>
            <a:ext cx="1972090" cy="1296066"/>
          </a:xfrm>
          <a:custGeom>
            <a:avLst/>
            <a:gdLst>
              <a:gd name="connsiteX0" fmla="*/ 0 w 9458324"/>
              <a:gd name="connsiteY0" fmla="*/ 0 h 682624"/>
              <a:gd name="connsiteX1" fmla="*/ 9458324 w 9458324"/>
              <a:gd name="connsiteY1" fmla="*/ 0 h 682624"/>
              <a:gd name="connsiteX2" fmla="*/ 9458324 w 9458324"/>
              <a:gd name="connsiteY2" fmla="*/ 682624 h 682624"/>
              <a:gd name="connsiteX3" fmla="*/ 0 w 9458324"/>
              <a:gd name="connsiteY3" fmla="*/ 682624 h 682624"/>
              <a:gd name="connsiteX4" fmla="*/ 0 w 9458324"/>
              <a:gd name="connsiteY4" fmla="*/ 0 h 682624"/>
              <a:gd name="connsiteX0" fmla="*/ 9458324 w 9549764"/>
              <a:gd name="connsiteY0" fmla="*/ 682624 h 774064"/>
              <a:gd name="connsiteX1" fmla="*/ 0 w 9549764"/>
              <a:gd name="connsiteY1" fmla="*/ 682624 h 774064"/>
              <a:gd name="connsiteX2" fmla="*/ 0 w 9549764"/>
              <a:gd name="connsiteY2" fmla="*/ 0 h 774064"/>
              <a:gd name="connsiteX3" fmla="*/ 9458324 w 9549764"/>
              <a:gd name="connsiteY3" fmla="*/ 0 h 774064"/>
              <a:gd name="connsiteX4" fmla="*/ 9549764 w 9549764"/>
              <a:gd name="connsiteY4" fmla="*/ 774064 h 774064"/>
              <a:gd name="connsiteX0" fmla="*/ 9458324 w 9458324"/>
              <a:gd name="connsiteY0" fmla="*/ 682624 h 682624"/>
              <a:gd name="connsiteX1" fmla="*/ 0 w 9458324"/>
              <a:gd name="connsiteY1" fmla="*/ 682624 h 682624"/>
              <a:gd name="connsiteX2" fmla="*/ 0 w 9458324"/>
              <a:gd name="connsiteY2" fmla="*/ 0 h 682624"/>
              <a:gd name="connsiteX3" fmla="*/ 9458324 w 9458324"/>
              <a:gd name="connsiteY3" fmla="*/ 0 h 682624"/>
            </a:gdLst>
            <a:ahLst/>
            <a:cxnLst>
              <a:cxn ang="0">
                <a:pos x="connsiteX0" y="connsiteY0"/>
              </a:cxn>
              <a:cxn ang="0">
                <a:pos x="connsiteX1" y="connsiteY1"/>
              </a:cxn>
              <a:cxn ang="0">
                <a:pos x="connsiteX2" y="connsiteY2"/>
              </a:cxn>
              <a:cxn ang="0">
                <a:pos x="connsiteX3" y="connsiteY3"/>
              </a:cxn>
            </a:cxnLst>
            <a:rect l="l" t="t" r="r" b="b"/>
            <a:pathLst>
              <a:path w="9458324" h="682624">
                <a:moveTo>
                  <a:pt x="9458324" y="682624"/>
                </a:moveTo>
                <a:lnTo>
                  <a:pt x="0" y="682624"/>
                </a:lnTo>
                <a:lnTo>
                  <a:pt x="0" y="0"/>
                </a:lnTo>
                <a:lnTo>
                  <a:pt x="9458324" y="0"/>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4" name="Rectangle 81">
            <a:extLst>
              <a:ext uri="{FF2B5EF4-FFF2-40B4-BE49-F238E27FC236}">
                <a16:creationId xmlns:a16="http://schemas.microsoft.com/office/drawing/2014/main" id="{4E010288-F6F5-4F0F-B036-BE6B89F531A8}"/>
              </a:ext>
            </a:extLst>
          </p:cNvPr>
          <p:cNvSpPr/>
          <p:nvPr/>
        </p:nvSpPr>
        <p:spPr bwMode="auto">
          <a:xfrm>
            <a:off x="4269032" y="5514516"/>
            <a:ext cx="4136083" cy="480458"/>
          </a:xfrm>
          <a:custGeom>
            <a:avLst/>
            <a:gdLst>
              <a:gd name="connsiteX0" fmla="*/ 0 w 9458324"/>
              <a:gd name="connsiteY0" fmla="*/ 0 h 682624"/>
              <a:gd name="connsiteX1" fmla="*/ 9458324 w 9458324"/>
              <a:gd name="connsiteY1" fmla="*/ 0 h 682624"/>
              <a:gd name="connsiteX2" fmla="*/ 9458324 w 9458324"/>
              <a:gd name="connsiteY2" fmla="*/ 682624 h 682624"/>
              <a:gd name="connsiteX3" fmla="*/ 0 w 9458324"/>
              <a:gd name="connsiteY3" fmla="*/ 682624 h 682624"/>
              <a:gd name="connsiteX4" fmla="*/ 0 w 9458324"/>
              <a:gd name="connsiteY4" fmla="*/ 0 h 682624"/>
              <a:gd name="connsiteX0" fmla="*/ 9458324 w 9549764"/>
              <a:gd name="connsiteY0" fmla="*/ 682624 h 774064"/>
              <a:gd name="connsiteX1" fmla="*/ 0 w 9549764"/>
              <a:gd name="connsiteY1" fmla="*/ 682624 h 774064"/>
              <a:gd name="connsiteX2" fmla="*/ 0 w 9549764"/>
              <a:gd name="connsiteY2" fmla="*/ 0 h 774064"/>
              <a:gd name="connsiteX3" fmla="*/ 9458324 w 9549764"/>
              <a:gd name="connsiteY3" fmla="*/ 0 h 774064"/>
              <a:gd name="connsiteX4" fmla="*/ 9549764 w 9549764"/>
              <a:gd name="connsiteY4" fmla="*/ 774064 h 774064"/>
              <a:gd name="connsiteX0" fmla="*/ 9458324 w 9458324"/>
              <a:gd name="connsiteY0" fmla="*/ 682624 h 682624"/>
              <a:gd name="connsiteX1" fmla="*/ 0 w 9458324"/>
              <a:gd name="connsiteY1" fmla="*/ 682624 h 682624"/>
              <a:gd name="connsiteX2" fmla="*/ 0 w 9458324"/>
              <a:gd name="connsiteY2" fmla="*/ 0 h 682624"/>
              <a:gd name="connsiteX3" fmla="*/ 9458324 w 9458324"/>
              <a:gd name="connsiteY3" fmla="*/ 0 h 682624"/>
            </a:gdLst>
            <a:ahLst/>
            <a:cxnLst>
              <a:cxn ang="0">
                <a:pos x="connsiteX0" y="connsiteY0"/>
              </a:cxn>
              <a:cxn ang="0">
                <a:pos x="connsiteX1" y="connsiteY1"/>
              </a:cxn>
              <a:cxn ang="0">
                <a:pos x="connsiteX2" y="connsiteY2"/>
              </a:cxn>
              <a:cxn ang="0">
                <a:pos x="connsiteX3" y="connsiteY3"/>
              </a:cxn>
            </a:cxnLst>
            <a:rect l="l" t="t" r="r" b="b"/>
            <a:pathLst>
              <a:path w="9458324" h="682624">
                <a:moveTo>
                  <a:pt x="9458324" y="682624"/>
                </a:moveTo>
                <a:lnTo>
                  <a:pt x="0" y="682624"/>
                </a:lnTo>
                <a:lnTo>
                  <a:pt x="0" y="0"/>
                </a:lnTo>
                <a:lnTo>
                  <a:pt x="9458324" y="0"/>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5" name="Rectangle 74">
            <a:extLst>
              <a:ext uri="{FF2B5EF4-FFF2-40B4-BE49-F238E27FC236}">
                <a16:creationId xmlns:a16="http://schemas.microsoft.com/office/drawing/2014/main" id="{B491D847-4882-40A8-8C2A-638E69F11ACD}"/>
              </a:ext>
            </a:extLst>
          </p:cNvPr>
          <p:cNvSpPr/>
          <p:nvPr/>
        </p:nvSpPr>
        <p:spPr>
          <a:xfrm>
            <a:off x="8833807" y="1342623"/>
            <a:ext cx="2668264" cy="316202"/>
          </a:xfrm>
          <a:prstGeom prst="rect">
            <a:avLst/>
          </a:prstGeom>
          <a:solidFill>
            <a:schemeClr val="accent1">
              <a:lumMod val="20000"/>
              <a:lumOff val="80000"/>
              <a:alpha val="9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Orchestrated execution</a:t>
            </a:r>
          </a:p>
        </p:txBody>
      </p:sp>
    </p:spTree>
    <p:extLst>
      <p:ext uri="{BB962C8B-B14F-4D97-AF65-F5344CB8AC3E}">
        <p14:creationId xmlns:p14="http://schemas.microsoft.com/office/powerpoint/2010/main" val="28681346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636C19E6-060F-472E-A512-7A741AB15062}"/>
              </a:ext>
            </a:extLst>
          </p:cNvPr>
          <p:cNvGraphicFramePr>
            <a:graphicFrameLocks noGrp="1"/>
          </p:cNvGraphicFramePr>
          <p:nvPr>
            <p:extLst>
              <p:ext uri="{D42A27DB-BD31-4B8C-83A1-F6EECF244321}">
                <p14:modId xmlns:p14="http://schemas.microsoft.com/office/powerpoint/2010/main" val="2059885077"/>
              </p:ext>
            </p:extLst>
          </p:nvPr>
        </p:nvGraphicFramePr>
        <p:xfrm>
          <a:off x="424760" y="476256"/>
          <a:ext cx="10881467" cy="6273625"/>
        </p:xfrm>
        <a:graphic>
          <a:graphicData uri="http://schemas.openxmlformats.org/drawingml/2006/table">
            <a:tbl>
              <a:tblPr firstRow="1" bandRow="1">
                <a:tableStyleId>{2D5ABB26-0587-4C30-8999-92F81FD0307C}</a:tableStyleId>
              </a:tblPr>
              <a:tblGrid>
                <a:gridCol w="800797">
                  <a:extLst>
                    <a:ext uri="{9D8B030D-6E8A-4147-A177-3AD203B41FA5}">
                      <a16:colId xmlns:a16="http://schemas.microsoft.com/office/drawing/2014/main" val="2741485589"/>
                    </a:ext>
                  </a:extLst>
                </a:gridCol>
                <a:gridCol w="1866454">
                  <a:extLst>
                    <a:ext uri="{9D8B030D-6E8A-4147-A177-3AD203B41FA5}">
                      <a16:colId xmlns:a16="http://schemas.microsoft.com/office/drawing/2014/main" val="3397289343"/>
                    </a:ext>
                  </a:extLst>
                </a:gridCol>
                <a:gridCol w="3129497">
                  <a:extLst>
                    <a:ext uri="{9D8B030D-6E8A-4147-A177-3AD203B41FA5}">
                      <a16:colId xmlns:a16="http://schemas.microsoft.com/office/drawing/2014/main" val="3745115123"/>
                    </a:ext>
                  </a:extLst>
                </a:gridCol>
                <a:gridCol w="5084719">
                  <a:extLst>
                    <a:ext uri="{9D8B030D-6E8A-4147-A177-3AD203B41FA5}">
                      <a16:colId xmlns:a16="http://schemas.microsoft.com/office/drawing/2014/main" val="2962199511"/>
                    </a:ext>
                  </a:extLst>
                </a:gridCol>
              </a:tblGrid>
              <a:tr h="272360">
                <a:tc>
                  <a:txBody>
                    <a:bodyPr/>
                    <a:lstStyle/>
                    <a:p>
                      <a:pPr marL="0" indent="0" algn="ctr" defTabSz="914367" rtl="0" eaLnBrk="1" fontAlgn="base" latinLnBrk="0" hangingPunct="1">
                        <a:lnSpc>
                          <a:spcPct val="90000"/>
                        </a:lnSpc>
                        <a:spcBef>
                          <a:spcPct val="0"/>
                        </a:spcBef>
                        <a:spcAft>
                          <a:spcPct val="0"/>
                        </a:spcAft>
                      </a:pPr>
                      <a:endParaRPr lang="en-US" sz="1000" b="0" i="0" kern="1200">
                        <a:gradFill>
                          <a:gsLst>
                            <a:gs pos="9756">
                              <a:schemeClr val="tx1"/>
                            </a:gs>
                            <a:gs pos="28000">
                              <a:schemeClr val="tx1"/>
                            </a:gs>
                          </a:gsLst>
                          <a:lin ang="5400000" scaled="1"/>
                        </a:gradFill>
                        <a:latin typeface="Segoe UI Semibold" panose="020B0702040204020203" pitchFamily="34" charset="0"/>
                        <a:ea typeface="+mn-ea"/>
                        <a:cs typeface="Segoe UI Semibold" panose="020B0702040204020203" pitchFamily="34" charset="0"/>
                      </a:endParaRPr>
                    </a:p>
                  </a:txBody>
                  <a:tcPr marL="45720" marR="0" marT="9144" marB="9144" anchor="ctr">
                    <a:lnL>
                      <a:noFill/>
                    </a:lnL>
                    <a:lnR>
                      <a:noFill/>
                    </a:lnR>
                    <a:lnT>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367" rtl="0" eaLnBrk="1" fontAlgn="base" latinLnBrk="0" hangingPunct="1">
                        <a:lnSpc>
                          <a:spcPct val="90000"/>
                        </a:lnSpc>
                        <a:spcBef>
                          <a:spcPct val="0"/>
                        </a:spcBef>
                        <a:spcAft>
                          <a:spcPct val="0"/>
                        </a:spcAft>
                      </a:pPr>
                      <a:endParaRPr lang="en-US" sz="1000" b="0" i="0" kern="1200">
                        <a:gradFill>
                          <a:gsLst>
                            <a:gs pos="9756">
                              <a:schemeClr val="tx1"/>
                            </a:gs>
                            <a:gs pos="28000">
                              <a:schemeClr val="tx1"/>
                            </a:gs>
                          </a:gsLst>
                          <a:lin ang="5400000" scaled="1"/>
                        </a:gradFill>
                        <a:latin typeface="Segoe UI Semibold" panose="020B0702040204020203" pitchFamily="34" charset="0"/>
                        <a:ea typeface="+mn-ea"/>
                        <a:cs typeface="Segoe UI Semibold" panose="020B0702040204020203" pitchFamily="34" charset="0"/>
                      </a:endParaRPr>
                    </a:p>
                  </a:txBody>
                  <a:tcPr marL="45720" marR="0" marT="9144" marB="9144" anchor="ctr">
                    <a:lnL>
                      <a:noFill/>
                    </a:lnL>
                    <a:lnR w="6350" cap="flat" cmpd="sng" algn="ctr">
                      <a:noFill/>
                      <a:prstDash val="solid"/>
                      <a:round/>
                      <a:headEnd type="none" w="med" len="med"/>
                      <a:tailEnd type="none" w="med" len="med"/>
                    </a:lnR>
                    <a:lnT>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ctr" defTabSz="914102" rtl="0" eaLnBrk="1" fontAlgn="base" latinLnBrk="0" hangingPunct="1">
                        <a:lnSpc>
                          <a:spcPct val="90000"/>
                        </a:lnSpc>
                        <a:spcBef>
                          <a:spcPct val="0"/>
                        </a:spcBef>
                        <a:spcAft>
                          <a:spcPct val="0"/>
                        </a:spcAft>
                      </a:pPr>
                      <a:r>
                        <a:rPr lang="en-US" sz="1200" b="0" i="0" kern="1200">
                          <a:solidFill>
                            <a:srgbClr val="000000"/>
                          </a:solidFill>
                          <a:latin typeface="Segoe UI Semibold"/>
                          <a:ea typeface="+mn-ea"/>
                          <a:cs typeface="Segoe UI Semibold"/>
                        </a:rPr>
                        <a:t>PRIORITIES</a:t>
                      </a:r>
                    </a:p>
                  </a:txBody>
                  <a:tcPr marL="45720" marR="81408" marT="9144" marB="9144" anchor="b">
                    <a:lnL w="6350"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ctr" defTabSz="914102" rtl="0" eaLnBrk="1" fontAlgn="base" latinLnBrk="0" hangingPunct="1">
                        <a:lnSpc>
                          <a:spcPct val="90000"/>
                        </a:lnSpc>
                        <a:spcBef>
                          <a:spcPct val="0"/>
                        </a:spcBef>
                        <a:spcAft>
                          <a:spcPct val="0"/>
                        </a:spcAft>
                      </a:pPr>
                      <a:r>
                        <a:rPr lang="en-US" sz="1200" b="0" i="0" kern="1200">
                          <a:gradFill>
                            <a:gsLst>
                              <a:gs pos="9756">
                                <a:schemeClr val="tx1"/>
                              </a:gs>
                              <a:gs pos="28000">
                                <a:schemeClr val="tx1"/>
                              </a:gs>
                            </a:gsLst>
                            <a:lin ang="5400000" scaled="1"/>
                          </a:gradFill>
                          <a:latin typeface="Segoe UI Semibold"/>
                          <a:ea typeface="+mn-ea"/>
                          <a:cs typeface="Segoe UI Semibold"/>
                        </a:rPr>
                        <a:t>SALES PLAYS</a:t>
                      </a:r>
                    </a:p>
                  </a:txBody>
                  <a:tcPr marL="45720" marR="81408" marT="9144" marB="9144"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4003546"/>
                  </a:ext>
                </a:extLst>
              </a:tr>
              <a:tr h="201073">
                <a:tc rowSpan="10">
                  <a:txBody>
                    <a:bodyPr/>
                    <a:lstStyle/>
                    <a:p>
                      <a:pPr marL="0" lvl="0" indent="0" algn="ctr" defTabSz="914367" rtl="0" eaLnBrk="1" fontAlgn="base" latinLnBrk="0" hangingPunct="1">
                        <a:lnSpc>
                          <a:spcPct val="90000"/>
                        </a:lnSpc>
                        <a:spcBef>
                          <a:spcPct val="0"/>
                        </a:spcBef>
                        <a:spcAft>
                          <a:spcPct val="0"/>
                        </a:spcAft>
                      </a:pPr>
                      <a:r>
                        <a:rPr lang="en-US" sz="1200" b="1" kern="1200" noProof="0">
                          <a:solidFill>
                            <a:srgbClr val="FFFFFF"/>
                          </a:solidFill>
                          <a:latin typeface="Segoe UI Semibold"/>
                          <a:ea typeface="+mn-ea"/>
                          <a:cs typeface="Segoe UI Semibold"/>
                        </a:rPr>
                        <a:t>Modern Work &amp; Security</a:t>
                      </a:r>
                    </a:p>
                  </a:txBody>
                  <a:tcPr marL="45720" marR="81408" marT="9144" marB="9144" vert="vert27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rowSpan="10">
                  <a:txBody>
                    <a:bodyPr/>
                    <a:lstStyle/>
                    <a:p>
                      <a:pPr marL="0" lvl="0" indent="0" algn="ctr" defTabSz="914367" rtl="0" eaLnBrk="1" fontAlgn="base" latinLnBrk="0" hangingPunct="1">
                        <a:lnSpc>
                          <a:spcPct val="90000"/>
                        </a:lnSpc>
                        <a:spcBef>
                          <a:spcPct val="0"/>
                        </a:spcBef>
                        <a:spcAft>
                          <a:spcPct val="0"/>
                        </a:spcAft>
                      </a:pPr>
                      <a:r>
                        <a:rPr lang="en-US" sz="1100" b="1" kern="1200" noProof="0">
                          <a:solidFill>
                            <a:schemeClr val="tx1"/>
                          </a:solidFill>
                          <a:latin typeface="Segoe UI Semibold"/>
                          <a:ea typeface="+mn-ea"/>
                          <a:cs typeface="Segoe UI Semibold"/>
                        </a:rPr>
                        <a:t>Microsoft 365</a:t>
                      </a:r>
                    </a:p>
                    <a:p>
                      <a:pPr marL="0" lvl="0" indent="0" algn="ctr" defTabSz="914367" rtl="0" eaLnBrk="1" fontAlgn="base" latinLnBrk="0" hangingPunct="1">
                        <a:lnSpc>
                          <a:spcPct val="90000"/>
                        </a:lnSpc>
                        <a:spcBef>
                          <a:spcPct val="0"/>
                        </a:spcBef>
                        <a:spcAft>
                          <a:spcPct val="0"/>
                        </a:spcAft>
                      </a:pPr>
                      <a:endParaRPr lang="en-US" sz="1100" b="1" kern="1200" noProof="0">
                        <a:solidFill>
                          <a:schemeClr val="tx1"/>
                        </a:solidFill>
                        <a:latin typeface="Segoe UI Semibold" panose="020B0702040204020203" pitchFamily="34" charset="0"/>
                        <a:ea typeface="+mn-ea"/>
                        <a:cs typeface="Segoe UI Semibold" panose="020B0702040204020203" pitchFamily="34" charset="0"/>
                      </a:endParaRPr>
                    </a:p>
                    <a:p>
                      <a:pPr marL="0" lvl="0" indent="0" algn="ctr" defTabSz="914367" rtl="0" eaLnBrk="1" fontAlgn="base" latinLnBrk="0" hangingPunct="1">
                        <a:lnSpc>
                          <a:spcPct val="90000"/>
                        </a:lnSpc>
                        <a:spcBef>
                          <a:spcPct val="0"/>
                        </a:spcBef>
                        <a:spcAft>
                          <a:spcPct val="0"/>
                        </a:spcAft>
                      </a:pPr>
                      <a:r>
                        <a:rPr lang="en-US" sz="1100" b="1" kern="1200" noProof="0">
                          <a:solidFill>
                            <a:schemeClr val="tx1"/>
                          </a:solidFill>
                          <a:latin typeface="Segoe UI Semibold"/>
                          <a:ea typeface="+mn-ea"/>
                          <a:cs typeface="Segoe UI Semibold"/>
                        </a:rPr>
                        <a:t>Surface</a:t>
                      </a:r>
                    </a:p>
                    <a:p>
                      <a:pPr marL="0" lvl="0" indent="0" algn="ctr" defTabSz="914367" rtl="0" eaLnBrk="1" fontAlgn="base" latinLnBrk="0" hangingPunct="1">
                        <a:lnSpc>
                          <a:spcPct val="90000"/>
                        </a:lnSpc>
                        <a:spcBef>
                          <a:spcPct val="0"/>
                        </a:spcBef>
                        <a:spcAft>
                          <a:spcPct val="0"/>
                        </a:spcAft>
                      </a:pPr>
                      <a:endParaRPr lang="en-US" sz="1100" b="1" kern="1200" noProof="0">
                        <a:solidFill>
                          <a:schemeClr val="tx1"/>
                        </a:solidFill>
                        <a:latin typeface="Segoe UI Semibold"/>
                        <a:ea typeface="+mn-ea"/>
                        <a:cs typeface="Segoe UI Semibold"/>
                      </a:endParaRPr>
                    </a:p>
                    <a:p>
                      <a:pPr marL="0" lvl="0" indent="0" algn="ctr" defTabSz="914367" rtl="0" eaLnBrk="1" fontAlgn="base" latinLnBrk="0" hangingPunct="1">
                        <a:lnSpc>
                          <a:spcPct val="90000"/>
                        </a:lnSpc>
                        <a:spcBef>
                          <a:spcPct val="0"/>
                        </a:spcBef>
                        <a:spcAft>
                          <a:spcPct val="0"/>
                        </a:spcAft>
                      </a:pPr>
                      <a:r>
                        <a:rPr lang="en-US" sz="1100" b="1" kern="1200" noProof="0">
                          <a:solidFill>
                            <a:schemeClr val="tx1"/>
                          </a:solidFill>
                          <a:latin typeface="Segoe UI Semibold"/>
                          <a:ea typeface="+mn-ea"/>
                          <a:cs typeface="Segoe UI Semibold"/>
                        </a:rPr>
                        <a:t>Security</a:t>
                      </a:r>
                      <a:endParaRPr lang="en-US" sz="1200" b="0" kern="1200" noProof="0">
                        <a:solidFill>
                          <a:schemeClr val="tx1"/>
                        </a:solidFill>
                        <a:latin typeface="Segoe UI Semibold"/>
                        <a:ea typeface="+mn-ea"/>
                        <a:cs typeface="Segoe UI Semibold"/>
                      </a:endParaRPr>
                    </a:p>
                  </a:txBody>
                  <a:tcPr marL="45720" marR="81408" marT="9144" marB="9144" anchor="ctr">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alpha val="67000"/>
                      </a:schemeClr>
                    </a:solidFill>
                  </a:tcPr>
                </a:tc>
                <a:tc rowSpan="3">
                  <a:txBody>
                    <a:bodyPr/>
                    <a:lstStyle/>
                    <a:p>
                      <a:pPr marL="0" marR="0" lvl="0" indent="0" algn="l" defTabSz="9412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 normalizeH="0" baseline="0" noProof="0">
                          <a:ln>
                            <a:noFill/>
                          </a:ln>
                          <a:gradFill>
                            <a:gsLst>
                              <a:gs pos="9756">
                                <a:schemeClr val="tx1"/>
                              </a:gs>
                              <a:gs pos="28000">
                                <a:schemeClr val="tx1"/>
                              </a:gs>
                            </a:gsLst>
                            <a:lin ang="5400000" scaled="1"/>
                          </a:gradFill>
                          <a:effectLst/>
                          <a:uLnTx/>
                          <a:uFillTx/>
                          <a:latin typeface="Segoe UI Semibold"/>
                          <a:ea typeface="+mn-ea"/>
                          <a:cs typeface="Segoe UI Semibold"/>
                        </a:rPr>
                        <a:t>Enable Secure Remote Work</a:t>
                      </a:r>
                    </a:p>
                  </a:txBody>
                  <a:tcPr marL="45720" marR="81408" marT="9144" marB="9144" anchor="ctr">
                    <a:lnL w="6350"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7013" algn="l"/>
                        </a:tabLst>
                        <a:defRPr/>
                      </a:pPr>
                      <a:r>
                        <a:rPr kumimoji="0" lang="en-US" sz="900" b="1"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1)</a:t>
                      </a: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Teams Meetings &amp; Calling</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9159194"/>
                  </a:ext>
                </a:extLst>
              </a:tr>
              <a:tr h="285030">
                <a:tc vMerge="1">
                  <a:txBody>
                    <a:bodyPr/>
                    <a:lstStyle/>
                    <a:p>
                      <a:pPr marL="0" lvl="0" indent="0" algn="ctr" defTabSz="914367" rtl="0" eaLnBrk="1" fontAlgn="base" latinLnBrk="0" hangingPunct="1">
                        <a:lnSpc>
                          <a:spcPct val="90000"/>
                        </a:lnSpc>
                        <a:spcBef>
                          <a:spcPct val="0"/>
                        </a:spcBef>
                        <a:spcAft>
                          <a:spcPct val="0"/>
                        </a:spcAft>
                      </a:pPr>
                      <a:endParaRPr lang="en-US" sz="1600" b="1" kern="1200" noProof="0">
                        <a:solidFill>
                          <a:schemeClr val="bg1"/>
                        </a:solidFill>
                        <a:latin typeface="Segoe UI Semibold"/>
                        <a:ea typeface="+mn-ea"/>
                        <a:cs typeface="Segoe UI Semibold"/>
                      </a:endParaRPr>
                    </a:p>
                  </a:txBody>
                  <a:tcPr marL="45720" marR="81408" marT="27432" marB="27432" vert="vert27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pPr marL="0" lvl="0" indent="0" algn="ctr" defTabSz="914367" rtl="0" eaLnBrk="1" fontAlgn="base" latinLnBrk="0" hangingPunct="1">
                        <a:lnSpc>
                          <a:spcPct val="90000"/>
                        </a:lnSpc>
                        <a:spcBef>
                          <a:spcPct val="0"/>
                        </a:spcBef>
                        <a:spcAft>
                          <a:spcPct val="0"/>
                        </a:spcAft>
                      </a:pPr>
                      <a:endParaRPr lang="en-US" sz="1600" b="0" kern="1200" noProof="0">
                        <a:solidFill>
                          <a:schemeClr val="bg1"/>
                        </a:solidFill>
                        <a:latin typeface="Segoe UI Semibold"/>
                        <a:ea typeface="+mn-ea"/>
                        <a:cs typeface="Segoe UI Semibold"/>
                      </a:endParaRPr>
                    </a:p>
                  </a:txBody>
                  <a:tcPr marL="45720" marR="81408" marT="27432" marB="27432"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alpha val="67000"/>
                      </a:schemeClr>
                    </a:solidFill>
                  </a:tcPr>
                </a:tc>
                <a:tc vMerge="1">
                  <a:txBody>
                    <a:bodyPr/>
                    <a:lstStyle/>
                    <a:p>
                      <a:pPr marL="0" marR="0" lvl="0" indent="0" algn="l" defTabSz="94125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 normalizeH="0" baseline="0" noProof="0">
                        <a:ln>
                          <a:noFill/>
                        </a:ln>
                        <a:solidFill>
                          <a:sysClr val="windowText" lastClr="000000"/>
                        </a:solidFill>
                        <a:effectLst/>
                        <a:uLnTx/>
                        <a:uFillTx/>
                        <a:latin typeface="Segoe UI Semibold"/>
                        <a:ea typeface="+mn-ea"/>
                        <a:cs typeface="Segoe UI Semibold"/>
                      </a:endParaRPr>
                    </a:p>
                  </a:txBody>
                  <a:tcPr marL="45720" marR="81408"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7013" algn="l"/>
                        </a:tabLst>
                        <a:defRPr/>
                      </a:pPr>
                      <a:r>
                        <a:rPr kumimoji="0" lang="en-US" sz="900" b="1"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2)</a:t>
                      </a: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Secure Remote Work (Identity, Cloud Management, Protection)</a:t>
                      </a:r>
                      <a:endPar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endParaRP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4952923"/>
                  </a:ext>
                </a:extLst>
              </a:tr>
              <a:tr h="201073">
                <a:tc vMerge="1">
                  <a:txBody>
                    <a:bodyPr/>
                    <a:lstStyle/>
                    <a:p>
                      <a:pPr marL="0" lvl="0" indent="0" algn="ctr" defTabSz="914367" rtl="0" eaLnBrk="1" fontAlgn="base" latinLnBrk="0" hangingPunct="1">
                        <a:lnSpc>
                          <a:spcPct val="90000"/>
                        </a:lnSpc>
                        <a:spcBef>
                          <a:spcPct val="0"/>
                        </a:spcBef>
                        <a:spcAft>
                          <a:spcPct val="0"/>
                        </a:spcAft>
                      </a:pPr>
                      <a:endParaRPr lang="en-US" sz="1600" b="1" kern="1200" noProof="0">
                        <a:solidFill>
                          <a:schemeClr val="bg1"/>
                        </a:solidFill>
                        <a:latin typeface="Segoe UI Semibold"/>
                        <a:ea typeface="+mn-ea"/>
                        <a:cs typeface="Segoe UI Semibold"/>
                      </a:endParaRPr>
                    </a:p>
                  </a:txBody>
                  <a:tcPr marL="45720" marR="81408" marT="27432" marB="27432" vert="vert27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pPr marL="0" lvl="0" indent="0" algn="ctr" defTabSz="914367" rtl="0" eaLnBrk="1" fontAlgn="base" latinLnBrk="0" hangingPunct="1">
                        <a:lnSpc>
                          <a:spcPct val="90000"/>
                        </a:lnSpc>
                        <a:spcBef>
                          <a:spcPct val="0"/>
                        </a:spcBef>
                        <a:spcAft>
                          <a:spcPct val="0"/>
                        </a:spcAft>
                      </a:pPr>
                      <a:endParaRPr lang="en-US" sz="1600" b="0" kern="1200" noProof="0">
                        <a:solidFill>
                          <a:schemeClr val="bg1"/>
                        </a:solidFill>
                        <a:latin typeface="Segoe UI Semibold"/>
                        <a:ea typeface="+mn-ea"/>
                        <a:cs typeface="Segoe UI Semibold"/>
                      </a:endParaRPr>
                    </a:p>
                  </a:txBody>
                  <a:tcPr marL="45720" marR="81408" marT="27432" marB="27432" anchor="ctr">
                    <a:lnL w="19050" cap="flat" cmpd="sng" algn="ctr">
                      <a:no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alpha val="67000"/>
                      </a:schemeClr>
                    </a:solidFill>
                  </a:tcPr>
                </a:tc>
                <a:tc vMerge="1">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4125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 normalizeH="0" baseline="0" noProof="0">
                        <a:ln>
                          <a:noFill/>
                        </a:ln>
                        <a:solidFill>
                          <a:sysClr val="windowText" lastClr="000000"/>
                        </a:solidFill>
                        <a:effectLst/>
                        <a:uLnTx/>
                        <a:uFillTx/>
                        <a:latin typeface="Segoe UI Semibold"/>
                        <a:ea typeface="+mn-ea"/>
                        <a:cs typeface="Segoe UI Semibold"/>
                      </a:endParaRPr>
                    </a:p>
                  </a:txBody>
                  <a:tcPr marL="45720" marR="81408"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Surface &amp; Partner Devices</a:t>
                      </a:r>
                    </a:p>
                  </a:txBody>
                  <a:tcPr marL="45720" marR="81408" marT="9144" marB="914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6149311"/>
                  </a:ext>
                </a:extLst>
              </a:tr>
              <a:tr h="285030">
                <a:tc vMerge="1">
                  <a:txBody>
                    <a:bodyPr/>
                    <a:lstStyle/>
                    <a:p>
                      <a:endParaRPr lang="en-US"/>
                    </a:p>
                  </a:txBody>
                  <a:tcPr/>
                </a:tc>
                <a:tc vMerge="1">
                  <a:txBody>
                    <a:bodyPr/>
                    <a:lstStyle/>
                    <a:p>
                      <a:endParaRPr lang="en-US"/>
                    </a:p>
                  </a:txBody>
                  <a:tcPr/>
                </a:tc>
                <a:tc rowSpan="3">
                  <a:txBody>
                    <a:bodyPr/>
                    <a:lstStyle/>
                    <a:p>
                      <a:pPr marL="0" marR="0" lvl="0" indent="0" algn="l" defTabSz="9412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 normalizeH="0" baseline="0" noProof="0">
                          <a:ln>
                            <a:noFill/>
                          </a:ln>
                          <a:gradFill>
                            <a:gsLst>
                              <a:gs pos="9756">
                                <a:schemeClr val="tx1"/>
                              </a:gs>
                              <a:gs pos="28000">
                                <a:schemeClr val="tx1"/>
                              </a:gs>
                            </a:gsLst>
                            <a:lin ang="5400000" scaled="1"/>
                          </a:gradFill>
                          <a:effectLst/>
                          <a:uLnTx/>
                          <a:uFillTx/>
                          <a:latin typeface="Segoe UI Semibold"/>
                          <a:ea typeface="+mn-ea"/>
                          <a:cs typeface="Segoe UI Semibold"/>
                        </a:rPr>
                        <a:t>Reduce Cost and Manage Risk</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3) </a:t>
                      </a: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Security (Integrated Threat Protection including MTP + ASC + Sentinel)</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7927866"/>
                  </a:ext>
                </a:extLst>
              </a:tr>
              <a:tr h="275422">
                <a:tc vMerge="1">
                  <a:txBody>
                    <a:bodyPr/>
                    <a:lstStyle/>
                    <a:p>
                      <a:endParaRPr lang="en-US"/>
                    </a:p>
                  </a:txBody>
                  <a:tcPr/>
                </a:tc>
                <a:tc vMerge="1">
                  <a:txBody>
                    <a:bodyPr/>
                    <a:lstStyle/>
                    <a:p>
                      <a:endParaRPr lang="en-US"/>
                    </a:p>
                  </a:txBody>
                  <a:tcPr/>
                </a:tc>
                <a:tc vMerge="1">
                  <a:txBody>
                    <a:bodyPr/>
                    <a:lstStyle/>
                    <a:p>
                      <a:pPr marL="0" marR="0" lvl="0" indent="0" algn="l" defTabSz="94125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 normalizeH="0" baseline="0" noProof="0">
                        <a:ln>
                          <a:noFill/>
                        </a:ln>
                        <a:solidFill>
                          <a:sysClr val="windowText" lastClr="000000"/>
                        </a:solidFill>
                        <a:effectLst/>
                        <a:uLnTx/>
                        <a:uFillTx/>
                        <a:latin typeface="Segoe UI Semibold"/>
                        <a:ea typeface="+mn-ea"/>
                        <a:cs typeface="Segoe UI Semibold"/>
                      </a:endParaRPr>
                    </a:p>
                  </a:txBody>
                  <a:tcPr marL="45720" marR="81408"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solidFill>
                            <a:srgbClr val="000000"/>
                          </a:solidFill>
                          <a:effectLst/>
                          <a:uLnTx/>
                          <a:uFillTx/>
                          <a:latin typeface="+mn-lt"/>
                          <a:ea typeface="+mn-ea"/>
                          <a:cs typeface="Segoe UI Semibold"/>
                        </a:rPr>
                        <a:t>4)</a:t>
                      </a:r>
                      <a:r>
                        <a:rPr kumimoji="0" lang="en-US" sz="900" b="0" i="0" u="none" strike="noStrike" kern="1200" cap="none" spc="-30" normalizeH="0" baseline="0" noProof="0">
                          <a:ln>
                            <a:noFill/>
                          </a:ln>
                          <a:solidFill>
                            <a:srgbClr val="000000"/>
                          </a:solidFill>
                          <a:effectLst/>
                          <a:uLnTx/>
                          <a:uFillTx/>
                          <a:latin typeface="+mn-lt"/>
                          <a:ea typeface="+mn-ea"/>
                          <a:cs typeface="Segoe UI Semibold"/>
                        </a:rPr>
                        <a:t> 	</a:t>
                      </a:r>
                      <a: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Compliance (Insider Risk Management, Info Protection &amp; Governance)</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1310336"/>
                  </a:ext>
                </a:extLst>
              </a:tr>
              <a:tr h="201073">
                <a:tc vMerge="1">
                  <a:txBody>
                    <a:bodyPr/>
                    <a:lstStyle/>
                    <a:p>
                      <a:endParaRPr lang="en-US"/>
                    </a:p>
                  </a:txBody>
                  <a:tcPr>
                    <a:lnT w="19050" cap="flat" cmpd="sng" algn="ctr">
                      <a:solidFill>
                        <a:schemeClr val="bg1"/>
                      </a:solidFill>
                      <a:prstDash val="solid"/>
                      <a:round/>
                      <a:headEnd type="none" w="med" len="med"/>
                      <a:tailEnd type="none" w="med" len="med"/>
                    </a:lnT>
                  </a:tcPr>
                </a:tc>
                <a:tc vMerge="1">
                  <a:txBody>
                    <a:bodyPr/>
                    <a:lstStyle/>
                    <a:p>
                      <a:endParaRPr lang="en-US"/>
                    </a:p>
                  </a:txBody>
                  <a:tcPr>
                    <a:lnT w="19050" cap="flat" cmpd="sng" algn="ctr">
                      <a:solidFill>
                        <a:schemeClr val="bg1"/>
                      </a:solidFill>
                      <a:prstDash val="solid"/>
                      <a:round/>
                      <a:headEnd type="none" w="med" len="med"/>
                      <a:tailEnd type="none" w="med" len="med"/>
                    </a:lnT>
                  </a:tcPr>
                </a:tc>
                <a:tc vMerge="1">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4125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 normalizeH="0" baseline="0" noProof="0">
                        <a:ln>
                          <a:noFill/>
                        </a:ln>
                        <a:solidFill>
                          <a:sysClr val="windowText" lastClr="000000"/>
                        </a:solidFill>
                        <a:effectLst/>
                        <a:uLnTx/>
                        <a:uFillTx/>
                        <a:latin typeface="Segoe UI Semibold"/>
                        <a:ea typeface="+mn-ea"/>
                        <a:cs typeface="Segoe UI Semibold"/>
                      </a:endParaRPr>
                    </a:p>
                  </a:txBody>
                  <a:tcPr marL="45720" marR="81408" marT="27432" marB="27432" anchor="ctr">
                    <a:lnR w="6350" cap="flat" cmpd="sng" algn="ctr">
                      <a:solidFill>
                        <a:schemeClr val="bg1">
                          <a:lumMod val="5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Teams Meetings &amp; Calling </a:t>
                      </a:r>
                      <a:endParaRPr kumimoji="0" lang="en-US" sz="900" b="0" i="0" u="none" strike="noStrike" kern="1200" cap="none" spc="-30" normalizeH="0" baseline="0" noProof="0">
                        <a:ln>
                          <a:noFill/>
                        </a:ln>
                        <a:solidFill>
                          <a:srgbClr val="FF0000"/>
                        </a:solidFill>
                        <a:effectLst/>
                        <a:uLnTx/>
                        <a:uFillTx/>
                        <a:latin typeface="+mn-lt"/>
                        <a:ea typeface="+mn-ea"/>
                        <a:cs typeface="Segoe UI Semibold"/>
                      </a:endParaRPr>
                    </a:p>
                  </a:txBody>
                  <a:tcPr marL="45720" marR="81408" marT="9144" marB="914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7086646"/>
                  </a:ext>
                </a:extLst>
              </a:tr>
              <a:tr h="179217">
                <a:tc vMerge="1">
                  <a:txBody>
                    <a:bodyPr/>
                    <a:lstStyle/>
                    <a:p>
                      <a:endParaRPr lang="en-US"/>
                    </a:p>
                  </a:txBody>
                  <a:tcPr/>
                </a:tc>
                <a:tc vMerge="1">
                  <a:txBody>
                    <a:bodyPr/>
                    <a:lstStyle/>
                    <a:p>
                      <a:endParaRPr lang="en-US"/>
                    </a:p>
                  </a:txBody>
                  <a:tcPr/>
                </a:tc>
                <a:tc rowSpan="4">
                  <a:txBody>
                    <a:bodyPr/>
                    <a:lstStyle/>
                    <a:p>
                      <a:pPr marL="0" marR="0" lvl="0" indent="0" algn="l" defTabSz="9412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 normalizeH="0" baseline="0" noProof="0">
                          <a:ln>
                            <a:noFill/>
                          </a:ln>
                          <a:gradFill>
                            <a:gsLst>
                              <a:gs pos="9756">
                                <a:schemeClr val="tx1"/>
                              </a:gs>
                              <a:gs pos="28000">
                                <a:schemeClr val="tx1"/>
                              </a:gs>
                            </a:gsLst>
                            <a:lin ang="5400000" scaled="1"/>
                          </a:gradFill>
                          <a:effectLst/>
                          <a:uLnTx/>
                          <a:uFillTx/>
                          <a:latin typeface="Segoe UI Semibold"/>
                          <a:ea typeface="+mn-ea"/>
                          <a:cs typeface="Segoe UI Semibold"/>
                        </a:rPr>
                        <a:t>Transform Organizational Productivity</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200"/>
                        </a:spcAft>
                        <a:buFont typeface="+mj-lt"/>
                        <a:buNone/>
                        <a:tabLst>
                          <a:tab pos="227013" algn="l"/>
                        </a:tabLst>
                      </a:pPr>
                      <a:r>
                        <a:rPr kumimoji="0" lang="en-US" sz="900" b="1" i="0" u="none" strike="noStrike" kern="1200" cap="none" spc="-30" normalizeH="0" baseline="0" noProof="0">
                          <a:ln>
                            <a:noFill/>
                          </a:ln>
                          <a:solidFill>
                            <a:srgbClr val="000000"/>
                          </a:solidFill>
                          <a:effectLst/>
                          <a:uLnTx/>
                          <a:uFillTx/>
                          <a:latin typeface="+mn-lt"/>
                          <a:ea typeface="+mn-ea"/>
                          <a:cs typeface="Segoe UI Semibold"/>
                        </a:rPr>
                        <a:t>5)</a:t>
                      </a:r>
                      <a:r>
                        <a:rPr kumimoji="0" lang="en-US" sz="900" b="0" i="0" u="none" strike="noStrike" kern="1200" cap="none" spc="-30" normalizeH="0" baseline="0" noProof="0">
                          <a:ln>
                            <a:noFill/>
                          </a:ln>
                          <a:solidFill>
                            <a:srgbClr val="000000"/>
                          </a:solidFill>
                          <a:effectLst/>
                          <a:uLnTx/>
                          <a:uFillTx/>
                          <a:latin typeface="+mn-lt"/>
                          <a:ea typeface="+mn-ea"/>
                          <a:cs typeface="Segoe UI Semibold"/>
                        </a:rPr>
                        <a:t> 	</a:t>
                      </a: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Surface &amp; Partner Devices</a:t>
                      </a:r>
                      <a:endParaRPr kumimoji="0" lang="en-US" sz="900" b="0" i="0" u="none" strike="noStrike" kern="1200" cap="none" spc="-30" normalizeH="0" baseline="0" noProof="0">
                        <a:ln>
                          <a:noFill/>
                        </a:ln>
                        <a:solidFill>
                          <a:srgbClr val="FF0000"/>
                        </a:solidFill>
                        <a:effectLst/>
                        <a:uLnTx/>
                        <a:uFillTx/>
                        <a:latin typeface="+mn-lt"/>
                        <a:ea typeface="+mn-ea"/>
                        <a:cs typeface="Segoe UI Semibold"/>
                      </a:endParaRP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5406625"/>
                  </a:ext>
                </a:extLst>
              </a:tr>
              <a:tr h="179217">
                <a:tc vMerge="1">
                  <a:txBody>
                    <a:bodyPr/>
                    <a:lstStyle/>
                    <a:p>
                      <a:endParaRPr lang="en-US"/>
                    </a:p>
                  </a:txBody>
                  <a:tcPr/>
                </a:tc>
                <a:tc vMerge="1">
                  <a:txBody>
                    <a:bodyPr/>
                    <a:lstStyle/>
                    <a:p>
                      <a:endParaRPr lang="en-US"/>
                    </a:p>
                  </a:txBody>
                  <a:tcPr/>
                </a:tc>
                <a:tc vMerge="1">
                  <a:txBody>
                    <a:bodyPr/>
                    <a:lstStyle/>
                    <a:p>
                      <a:pPr marL="0" marR="0" lvl="0" indent="0" algn="l" defTabSz="94125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 normalizeH="0" baseline="0" noProof="0">
                        <a:ln>
                          <a:noFill/>
                        </a:ln>
                        <a:solidFill>
                          <a:sysClr val="windowText" lastClr="000000"/>
                        </a:solidFill>
                        <a:effectLst/>
                        <a:uLnTx/>
                        <a:uFillTx/>
                        <a:latin typeface="Segoe UI Semibold"/>
                        <a:ea typeface="+mn-ea"/>
                        <a:cs typeface="Segoe UI Semibold"/>
                      </a:endParaRPr>
                    </a:p>
                  </a:txBody>
                  <a:tcPr marL="45720" marR="81408"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solidFill>
                            <a:srgbClr val="000000"/>
                          </a:solidFill>
                          <a:effectLst/>
                          <a:uLnTx/>
                          <a:uFillTx/>
                          <a:latin typeface="+mn-lt"/>
                          <a:ea typeface="+mn-ea"/>
                          <a:cs typeface="Segoe UI Semibold"/>
                        </a:rPr>
                        <a:t>6)	</a:t>
                      </a:r>
                      <a:r>
                        <a:rPr kumimoji="0" lang="en-US" sz="900" b="0" i="0" u="none" strike="noStrike" kern="1200" cap="none" spc="-30" normalizeH="0" baseline="0" noProof="0">
                          <a:ln>
                            <a:noFill/>
                          </a:ln>
                          <a:solidFill>
                            <a:srgbClr val="000000"/>
                          </a:solidFill>
                          <a:effectLst/>
                          <a:uLnTx/>
                          <a:uFillTx/>
                          <a:latin typeface="+mn-lt"/>
                          <a:ea typeface="+mn-ea"/>
                          <a:cs typeface="Segoe UI Semibold"/>
                        </a:rPr>
                        <a:t>Teams Platform</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8391173"/>
                  </a:ext>
                </a:extLst>
              </a:tr>
              <a:tr h="201073">
                <a:tc vMerge="1">
                  <a:txBody>
                    <a:bodyPr/>
                    <a:lstStyle/>
                    <a:p>
                      <a:endParaRPr lang="en-US"/>
                    </a:p>
                  </a:txBody>
                  <a:tcPr/>
                </a:tc>
                <a:tc vMerge="1">
                  <a:txBody>
                    <a:bodyPr/>
                    <a:lstStyle/>
                    <a:p>
                      <a:endParaRPr lang="en-US"/>
                    </a:p>
                  </a:txBody>
                  <a:tcPr/>
                </a:tc>
                <a:tc vMerge="1">
                  <a:txBody>
                    <a:bodyPr/>
                    <a:lstStyle/>
                    <a:p>
                      <a:pPr marL="0" marR="0" lvl="0" indent="0" algn="l" defTabSz="94125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 normalizeH="0" baseline="0" noProof="0">
                        <a:ln>
                          <a:noFill/>
                        </a:ln>
                        <a:solidFill>
                          <a:sysClr val="windowText" lastClr="000000"/>
                        </a:solidFill>
                        <a:effectLst/>
                        <a:uLnTx/>
                        <a:uFillTx/>
                        <a:latin typeface="Segoe UI Semibold"/>
                        <a:ea typeface="+mn-ea"/>
                        <a:cs typeface="Segoe UI Semibold"/>
                      </a:endParaRPr>
                    </a:p>
                  </a:txBody>
                  <a:tcPr marL="45720" marR="81408"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7)</a:t>
                      </a: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Firstline Workers</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0010560"/>
                  </a:ext>
                </a:extLst>
              </a:tr>
              <a:tr h="179217">
                <a:tc vMerge="1">
                  <a:txBody>
                    <a:bodyPr/>
                    <a:lstStyle/>
                    <a:p>
                      <a:pPr marL="0" lvl="0" indent="0" algn="ctr" defTabSz="914367" rtl="0" eaLnBrk="1" fontAlgn="base" latinLnBrk="0" hangingPunct="1">
                        <a:lnSpc>
                          <a:spcPct val="90000"/>
                        </a:lnSpc>
                        <a:spcBef>
                          <a:spcPct val="0"/>
                        </a:spcBef>
                        <a:spcAft>
                          <a:spcPct val="0"/>
                        </a:spcAft>
                      </a:pPr>
                      <a:endParaRPr lang="en-US" sz="1600" b="1" kern="1200" noProof="0">
                        <a:solidFill>
                          <a:schemeClr val="bg1"/>
                        </a:solidFill>
                        <a:latin typeface="Segoe UI Semibold"/>
                        <a:ea typeface="+mn-ea"/>
                        <a:cs typeface="Segoe UI Semibold"/>
                      </a:endParaRPr>
                    </a:p>
                  </a:txBody>
                  <a:tcPr marL="45720" marR="81408" marT="0" marB="0" vert="vert270" anchor="ctr">
                    <a:lnR w="28575" cap="flat" cmpd="sng" algn="ctr">
                      <a:solidFill>
                        <a:schemeClr val="tx1"/>
                      </a:solidFill>
                      <a:prstDash val="solid"/>
                      <a:round/>
                      <a:headEnd type="none" w="med" len="med"/>
                      <a:tailEnd type="none" w="med" len="med"/>
                    </a:lnR>
                    <a:lnT w="19050" cap="flat" cmpd="sng" algn="ctr">
                      <a:solidFill>
                        <a:schemeClr val="tx2">
                          <a:lumMod val="50000"/>
                        </a:schemeClr>
                      </a:solidFill>
                      <a:prstDash val="solid"/>
                      <a:round/>
                      <a:headEnd type="none" w="med" len="med"/>
                      <a:tailEnd type="none" w="med" len="med"/>
                    </a:lnT>
                    <a:lnB w="19050" cap="flat" cmpd="sng" algn="ctr">
                      <a:solidFill>
                        <a:schemeClr val="tx2">
                          <a:lumMod val="50000"/>
                        </a:schemeClr>
                      </a:solidFill>
                      <a:prstDash val="solid"/>
                      <a:round/>
                      <a:headEnd type="none" w="med" len="med"/>
                      <a:tailEnd type="none" w="med" len="med"/>
                    </a:lnB>
                    <a:solidFill>
                      <a:srgbClr val="D13902"/>
                    </a:solidFill>
                  </a:tcPr>
                </a:tc>
                <a:tc vMerge="1">
                  <a:txBody>
                    <a:bodyPr/>
                    <a:lstStyle/>
                    <a:p>
                      <a:pPr marL="0" lvl="0" indent="0" algn="ctr" defTabSz="914367" rtl="0" eaLnBrk="1" fontAlgn="base" latinLnBrk="0" hangingPunct="1">
                        <a:lnSpc>
                          <a:spcPct val="90000"/>
                        </a:lnSpc>
                        <a:spcBef>
                          <a:spcPct val="0"/>
                        </a:spcBef>
                        <a:spcAft>
                          <a:spcPct val="0"/>
                        </a:spcAft>
                      </a:pPr>
                      <a:endParaRPr lang="en-US" sz="1600" b="0" kern="1200" noProof="0">
                        <a:solidFill>
                          <a:schemeClr val="bg1"/>
                        </a:solidFill>
                        <a:latin typeface="Segoe UI Semibold"/>
                        <a:ea typeface="+mn-ea"/>
                        <a:cs typeface="Segoe UI Semibold"/>
                      </a:endParaRPr>
                    </a:p>
                  </a:txBody>
                  <a:tcPr marL="45720" marR="81408" marT="166102" marB="166102"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13902">
                        <a:alpha val="67000"/>
                      </a:srgbClr>
                    </a:solidFill>
                  </a:tcPr>
                </a:tc>
                <a:tc vMerge="1">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4125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 normalizeH="0" baseline="0" noProof="0">
                        <a:ln>
                          <a:noFill/>
                        </a:ln>
                        <a:solidFill>
                          <a:sysClr val="windowText" lastClr="000000"/>
                        </a:solidFill>
                        <a:effectLst/>
                        <a:uLnTx/>
                        <a:uFillTx/>
                        <a:latin typeface="Segoe UI Semibold"/>
                        <a:ea typeface="+mn-ea"/>
                        <a:cs typeface="Segoe UI Semibold"/>
                      </a:endParaRPr>
                    </a:p>
                  </a:txBody>
                  <a:tcPr marL="45720" marR="81408"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200"/>
                        </a:spcAft>
                        <a:buFont typeface="+mj-lt"/>
                        <a:buNone/>
                        <a:tabLst>
                          <a:tab pos="227013" algn="l"/>
                        </a:tabLst>
                      </a:pPr>
                      <a:r>
                        <a:rPr kumimoji="0" lang="en-US" sz="900" b="1" i="0" u="none" strike="noStrike" kern="1200" cap="none" spc="-30" normalizeH="0" baseline="0" noProof="0">
                          <a:ln>
                            <a:noFill/>
                          </a:ln>
                          <a:solidFill>
                            <a:srgbClr val="000000"/>
                          </a:solidFill>
                          <a:effectLst/>
                          <a:uLnTx/>
                          <a:uFillTx/>
                          <a:latin typeface="+mn-lt"/>
                          <a:ea typeface="+mn-ea"/>
                          <a:cs typeface="Segoe UI Semibold"/>
                        </a:rPr>
                        <a:t>8)</a:t>
                      </a:r>
                      <a:r>
                        <a:rPr kumimoji="0" lang="en-US" sz="900" b="0" i="0" u="none" strike="noStrike" kern="1200" cap="none" spc="-30" normalizeH="0" baseline="0" noProof="0">
                          <a:ln>
                            <a:noFill/>
                          </a:ln>
                          <a:solidFill>
                            <a:srgbClr val="000000"/>
                          </a:solidFill>
                          <a:effectLst/>
                          <a:uLnTx/>
                          <a:uFillTx/>
                          <a:latin typeface="+mn-lt"/>
                          <a:ea typeface="+mn-ea"/>
                          <a:cs typeface="Segoe UI Semibold"/>
                        </a:rPr>
                        <a:t> 	</a:t>
                      </a: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Knowledge &amp; Insights</a:t>
                      </a:r>
                      <a:endPar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endParaRP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7920581"/>
                  </a:ext>
                </a:extLst>
              </a:tr>
              <a:tr h="179217">
                <a:tc rowSpan="12">
                  <a:txBody>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lang="en-US" sz="1200" b="1" kern="1200" noProof="0">
                          <a:solidFill>
                            <a:srgbClr val="FFFFFF"/>
                          </a:solidFill>
                          <a:latin typeface="Segoe UI Semibold"/>
                          <a:ea typeface="+mn-ea"/>
                          <a:cs typeface="Segoe UI Semibold"/>
                        </a:rPr>
                        <a:t>Apps &amp; Infra</a:t>
                      </a:r>
                    </a:p>
                    <a:p>
                      <a:pPr marL="0" marR="0" lvl="0" indent="0" algn="ctr" defTabSz="914367" rtl="0" eaLnBrk="1" fontAlgn="base" latinLnBrk="0" hangingPunct="1">
                        <a:lnSpc>
                          <a:spcPct val="90000"/>
                        </a:lnSpc>
                        <a:spcBef>
                          <a:spcPct val="0"/>
                        </a:spcBef>
                        <a:spcAft>
                          <a:spcPct val="0"/>
                        </a:spcAft>
                        <a:buClrTx/>
                        <a:buSzTx/>
                        <a:buFontTx/>
                        <a:buNone/>
                        <a:tabLst/>
                        <a:defRPr/>
                      </a:pPr>
                      <a:r>
                        <a:rPr lang="en-US" sz="1200" b="1" kern="1200" noProof="0">
                          <a:solidFill>
                            <a:srgbClr val="FFFFFF"/>
                          </a:solidFill>
                          <a:latin typeface="Segoe UI Semibold"/>
                          <a:ea typeface="+mn-ea"/>
                          <a:cs typeface="Segoe UI Semibold"/>
                        </a:rPr>
                        <a:t>Data &amp; AI</a:t>
                      </a:r>
                    </a:p>
                  </a:txBody>
                  <a:tcPr marL="45720" marR="81408" marT="9144" marB="9144" vert="vert27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12">
                  <a:txBody>
                    <a:bodyPr/>
                    <a:lstStyle/>
                    <a:p>
                      <a:pPr marL="0" lvl="0" indent="0" algn="ctr" defTabSz="914367" rtl="0" eaLnBrk="1" fontAlgn="base" latinLnBrk="0" hangingPunct="1">
                        <a:lnSpc>
                          <a:spcPct val="90000"/>
                        </a:lnSpc>
                        <a:spcBef>
                          <a:spcPct val="0"/>
                        </a:spcBef>
                        <a:spcAft>
                          <a:spcPct val="0"/>
                        </a:spcAft>
                      </a:pPr>
                      <a:r>
                        <a:rPr lang="en-US" sz="1100" b="1" kern="1200" noProof="0">
                          <a:solidFill>
                            <a:schemeClr val="tx1"/>
                          </a:solidFill>
                          <a:latin typeface="Segoe UI Semibold"/>
                          <a:ea typeface="+mn-ea"/>
                          <a:cs typeface="Segoe UI Semibold"/>
                        </a:rPr>
                        <a:t>Azure</a:t>
                      </a:r>
                      <a:endParaRPr lang="en-US" sz="1200" b="0" kern="1200" noProof="0">
                        <a:solidFill>
                          <a:schemeClr val="tx1"/>
                        </a:solidFill>
                        <a:latin typeface="Segoe UI Semibold"/>
                        <a:ea typeface="+mn-ea"/>
                        <a:cs typeface="Segoe UI Semibold"/>
                      </a:endParaRPr>
                    </a:p>
                  </a:txBody>
                  <a:tcPr marL="45720" marR="81408" marT="9144" marB="9144" anchor="ctr">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alpha val="67000"/>
                      </a:schemeClr>
                    </a:solidFill>
                  </a:tcPr>
                </a:tc>
                <a:tc rowSpan="5">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0" marR="0" lvl="0" indent="0" algn="l" defTabSz="9412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 normalizeH="0" baseline="0">
                          <a:ln>
                            <a:noFill/>
                          </a:ln>
                          <a:gradFill>
                            <a:gsLst>
                              <a:gs pos="9756">
                                <a:schemeClr val="tx1"/>
                              </a:gs>
                              <a:gs pos="28000">
                                <a:schemeClr val="tx1"/>
                              </a:gs>
                            </a:gsLst>
                            <a:lin ang="5400000" scaled="1"/>
                          </a:gradFill>
                          <a:effectLst/>
                          <a:uLnTx/>
                          <a:uFillTx/>
                          <a:latin typeface="Segoe UI Semibold"/>
                          <a:ea typeface="+mn-ea"/>
                          <a:cs typeface="Segoe UI Semibold"/>
                        </a:rPr>
                        <a:t>Migrate existing applications to Azure and optimize</a:t>
                      </a:r>
                    </a:p>
                  </a:txBody>
                  <a:tcPr marL="45720" marR="45720" marT="9144" marB="9144" anchor="ctr">
                    <a:lnL w="6350"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solidFill>
                            <a:srgbClr val="000000"/>
                          </a:solidFill>
                          <a:effectLst/>
                          <a:uLnTx/>
                          <a:uFillTx/>
                          <a:latin typeface="+mn-lt"/>
                          <a:ea typeface="+mn-ea"/>
                          <a:cs typeface="Segoe UI Semibold"/>
                        </a:rPr>
                        <a:t>9)</a:t>
                      </a:r>
                      <a:r>
                        <a:rPr kumimoji="0" lang="en-US" sz="900" b="0" i="0" u="none" strike="noStrike" kern="1200" cap="none" spc="-30" normalizeH="0" baseline="0" noProof="0">
                          <a:ln>
                            <a:noFill/>
                          </a:ln>
                          <a:solidFill>
                            <a:srgbClr val="000000"/>
                          </a:solidFill>
                          <a:effectLst/>
                          <a:uLnTx/>
                          <a:uFillTx/>
                          <a:latin typeface="+mn-lt"/>
                          <a:ea typeface="+mn-ea"/>
                          <a:cs typeface="Segoe UI Semibold"/>
                        </a:rPr>
                        <a:t>	</a:t>
                      </a:r>
                      <a: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Windows Server &amp; SQL Server on Azure</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0363365"/>
                  </a:ext>
                </a:extLst>
              </a:tr>
              <a:tr h="201073">
                <a:tc vMerge="1">
                  <a:txBody>
                    <a:bodyPr/>
                    <a:lstStyle/>
                    <a:p>
                      <a:endParaRPr lang="en-US"/>
                    </a:p>
                  </a:txBody>
                  <a:tcPr/>
                </a:tc>
                <a:tc vMerge="1">
                  <a:txBody>
                    <a:bodyPr/>
                    <a:lstStyle/>
                    <a:p>
                      <a:endParaRPr lang="en-US"/>
                    </a:p>
                  </a:txBody>
                  <a:tcPr/>
                </a:tc>
                <a:tc vMerge="1">
                  <a:txBody>
                    <a:bodyPr/>
                    <a:lstStyle/>
                    <a:p>
                      <a:pPr marL="0" lvl="1" indent="0" algn="l" defTabSz="914102" rtl="0" eaLnBrk="1" fontAlgn="base" latinLnBrk="0" hangingPunct="1">
                        <a:lnSpc>
                          <a:spcPct val="90000"/>
                        </a:lnSpc>
                        <a:spcBef>
                          <a:spcPct val="0"/>
                        </a:spcBef>
                        <a:spcAft>
                          <a:spcPct val="0"/>
                        </a:spcAft>
                      </a:pPr>
                      <a:endParaRPr lang="en-US" sz="800" kern="1200">
                        <a:solidFill>
                          <a:sysClr val="windowText" lastClr="000000"/>
                        </a:solidFill>
                        <a:latin typeface="+mn-lt"/>
                        <a:ea typeface="+mn-ea"/>
                        <a:cs typeface="+mn-cs"/>
                      </a:endParaRPr>
                    </a:p>
                  </a:txBody>
                  <a:tcPr marL="45720" marR="45720"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10)</a:t>
                      </a: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a:t>
                      </a:r>
                      <a: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Linux and OSS DBs on Azure </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3773019"/>
                  </a:ext>
                </a:extLst>
              </a:tr>
              <a:tr h="179217">
                <a:tc vMerge="1">
                  <a:txBody>
                    <a:bodyPr/>
                    <a:lstStyle/>
                    <a:p>
                      <a:endParaRPr lang="en-US"/>
                    </a:p>
                  </a:txBody>
                  <a:tcPr/>
                </a:tc>
                <a:tc vMerge="1">
                  <a:txBody>
                    <a:bodyPr/>
                    <a:lstStyle/>
                    <a:p>
                      <a:endParaRPr lang="en-US"/>
                    </a:p>
                  </a:txBody>
                  <a:tcPr/>
                </a:tc>
                <a:tc vMerge="1">
                  <a:txBody>
                    <a:bodyPr/>
                    <a:lstStyle/>
                    <a:p>
                      <a:pPr marL="0" lvl="1" indent="0" algn="l" defTabSz="914102" rtl="0" eaLnBrk="1" fontAlgn="base" latinLnBrk="0" hangingPunct="1">
                        <a:lnSpc>
                          <a:spcPct val="90000"/>
                        </a:lnSpc>
                        <a:spcBef>
                          <a:spcPct val="0"/>
                        </a:spcBef>
                        <a:spcAft>
                          <a:spcPct val="0"/>
                        </a:spcAft>
                      </a:pPr>
                      <a:endParaRPr lang="en-US" sz="800" kern="1200">
                        <a:solidFill>
                          <a:sysClr val="windowText" lastClr="000000"/>
                        </a:solidFill>
                        <a:latin typeface="+mn-lt"/>
                        <a:ea typeface="+mn-ea"/>
                        <a:cs typeface="+mn-cs"/>
                      </a:endParaRPr>
                    </a:p>
                  </a:txBody>
                  <a:tcPr marL="45720" marR="45720"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solidFill>
                            <a:srgbClr val="000000"/>
                          </a:solidFill>
                          <a:effectLst/>
                          <a:uLnTx/>
                          <a:uFillTx/>
                          <a:latin typeface="+mn-lt"/>
                          <a:ea typeface="+mn-ea"/>
                          <a:cs typeface="Segoe UI Semibold"/>
                        </a:rPr>
                        <a:t>11)</a:t>
                      </a:r>
                      <a:r>
                        <a:rPr kumimoji="0" lang="en-US" sz="900" b="0" i="0" u="none" strike="noStrike" kern="1200" cap="none" spc="-30" normalizeH="0" baseline="0" noProof="0">
                          <a:ln>
                            <a:noFill/>
                          </a:ln>
                          <a:solidFill>
                            <a:srgbClr val="000000"/>
                          </a:solidFill>
                          <a:effectLst/>
                          <a:uLnTx/>
                          <a:uFillTx/>
                          <a:latin typeface="+mn-lt"/>
                          <a:ea typeface="+mn-ea"/>
                          <a:cs typeface="Segoe UI Semibold"/>
                        </a:rPr>
                        <a:t>	</a:t>
                      </a:r>
                      <a:r>
                        <a:rPr kumimoji="0" lang="en-US" sz="900" b="0" i="0" u="none" strike="noStrike" kern="1200" cap="none" spc="-30" normalizeH="0" baseline="0">
                          <a:ln>
                            <a:noFill/>
                          </a:ln>
                          <a:solidFill>
                            <a:srgbClr val="000000"/>
                          </a:solidFill>
                          <a:effectLst/>
                          <a:uLnTx/>
                          <a:uFillTx/>
                          <a:latin typeface="+mn-lt"/>
                          <a:ea typeface="+mn-ea"/>
                          <a:cs typeface="Segoe UI Semibold"/>
                        </a:rPr>
                        <a:t>SAP on Azure</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9662552"/>
                  </a:ext>
                </a:extLst>
              </a:tr>
              <a:tr h="179217">
                <a:tc vMerge="1">
                  <a:txBody>
                    <a:bodyPr/>
                    <a:lstStyle/>
                    <a:p>
                      <a:endParaRPr lang="en-US"/>
                    </a:p>
                  </a:txBody>
                  <a:tcPr/>
                </a:tc>
                <a:tc vMerge="1">
                  <a:txBody>
                    <a:bodyPr/>
                    <a:lstStyle/>
                    <a:p>
                      <a:endParaRPr lang="en-US"/>
                    </a:p>
                  </a:txBody>
                  <a:tcPr/>
                </a:tc>
                <a:tc vMerge="1">
                  <a:txBody>
                    <a:bodyPr/>
                    <a:lstStyle/>
                    <a:p>
                      <a:pPr marL="0" lvl="1" indent="0" algn="l" defTabSz="914102" rtl="0" eaLnBrk="1" fontAlgn="base" latinLnBrk="0" hangingPunct="1">
                        <a:lnSpc>
                          <a:spcPct val="90000"/>
                        </a:lnSpc>
                        <a:spcBef>
                          <a:spcPct val="0"/>
                        </a:spcBef>
                        <a:spcAft>
                          <a:spcPct val="0"/>
                        </a:spcAft>
                      </a:pPr>
                      <a:endParaRPr lang="en-US" sz="800" kern="1200">
                        <a:solidFill>
                          <a:sysClr val="windowText" lastClr="000000"/>
                        </a:solidFill>
                        <a:latin typeface="+mn-lt"/>
                        <a:ea typeface="+mn-ea"/>
                        <a:cs typeface="+mn-cs"/>
                      </a:endParaRPr>
                    </a:p>
                  </a:txBody>
                  <a:tcPr marL="45720" marR="45720"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solidFill>
                            <a:srgbClr val="000000"/>
                          </a:solidFill>
                          <a:effectLst/>
                          <a:uLnTx/>
                          <a:uFillTx/>
                          <a:latin typeface="+mn-lt"/>
                          <a:ea typeface="+mn-ea"/>
                          <a:cs typeface="Segoe UI Semibold"/>
                        </a:rPr>
                        <a:t>12)</a:t>
                      </a:r>
                      <a:r>
                        <a:rPr kumimoji="0" lang="en-US" sz="900" b="0" i="0" u="none" strike="noStrike" kern="1200" cap="none" spc="-30" normalizeH="0" baseline="0" noProof="0">
                          <a:ln>
                            <a:noFill/>
                          </a:ln>
                          <a:solidFill>
                            <a:srgbClr val="000000"/>
                          </a:solidFill>
                          <a:effectLst/>
                          <a:uLnTx/>
                          <a:uFillTx/>
                          <a:latin typeface="+mn-lt"/>
                          <a:ea typeface="+mn-ea"/>
                          <a:cs typeface="Segoe UI Semibold"/>
                        </a:rPr>
                        <a:t>	</a:t>
                      </a:r>
                      <a:r>
                        <a:rPr kumimoji="0" lang="en-US" sz="900" b="0" i="0" u="none" strike="noStrike" kern="1200" cap="none" spc="-30" normalizeH="0" baseline="0">
                          <a:ln>
                            <a:noFill/>
                          </a:ln>
                          <a:solidFill>
                            <a:srgbClr val="000000"/>
                          </a:solidFill>
                          <a:effectLst/>
                          <a:uLnTx/>
                          <a:uFillTx/>
                          <a:latin typeface="+mn-lt"/>
                          <a:ea typeface="+mn-ea"/>
                          <a:cs typeface="Segoe UI Semibold"/>
                        </a:rPr>
                        <a:t>Windows Virtual Desktop (WVD)</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6497436"/>
                  </a:ext>
                </a:extLst>
              </a:tr>
              <a:tr h="179217">
                <a:tc vMerge="1">
                  <a:txBody>
                    <a:bodyPr/>
                    <a:lstStyle/>
                    <a:p>
                      <a:endParaRPr lang="en-US"/>
                    </a:p>
                  </a:txBody>
                  <a:tcPr/>
                </a:tc>
                <a:tc vMerge="1">
                  <a:txBody>
                    <a:bodyPr/>
                    <a:lstStyle/>
                    <a:p>
                      <a:endParaRPr lang="en-US"/>
                    </a:p>
                  </a:txBody>
                  <a:tcPr/>
                </a:tc>
                <a:tc vMerge="1">
                  <a:txBody>
                    <a:bodyPr/>
                    <a:lstStyle/>
                    <a:p>
                      <a:pPr marL="0" lvl="1" indent="0" algn="l" defTabSz="914102" rtl="0" eaLnBrk="1" fontAlgn="base" latinLnBrk="0" hangingPunct="1">
                        <a:lnSpc>
                          <a:spcPct val="90000"/>
                        </a:lnSpc>
                        <a:spcBef>
                          <a:spcPct val="0"/>
                        </a:spcBef>
                        <a:spcAft>
                          <a:spcPct val="0"/>
                        </a:spcAft>
                      </a:pPr>
                      <a:endParaRPr lang="en-US" sz="800" kern="1200">
                        <a:solidFill>
                          <a:sysClr val="windowText" lastClr="000000"/>
                        </a:solidFill>
                        <a:latin typeface="+mn-lt"/>
                        <a:ea typeface="+mn-ea"/>
                        <a:cs typeface="+mn-cs"/>
                      </a:endParaRPr>
                    </a:p>
                  </a:txBody>
                  <a:tcPr marL="45720" marR="45720"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solidFill>
                            <a:srgbClr val="000000"/>
                          </a:solidFill>
                          <a:effectLst/>
                          <a:uLnTx/>
                          <a:uFillTx/>
                          <a:latin typeface="+mn-lt"/>
                          <a:ea typeface="+mn-ea"/>
                          <a:cs typeface="Segoe UI Semibold"/>
                        </a:rPr>
                        <a:t>13)</a:t>
                      </a:r>
                      <a:r>
                        <a:rPr kumimoji="0" lang="en-US" sz="900" b="0" i="0" u="none" strike="noStrike" kern="1200" cap="none" spc="-30" normalizeH="0" baseline="0" noProof="0">
                          <a:ln>
                            <a:noFill/>
                          </a:ln>
                          <a:solidFill>
                            <a:srgbClr val="000000"/>
                          </a:solidFill>
                          <a:effectLst/>
                          <a:uLnTx/>
                          <a:uFillTx/>
                          <a:latin typeface="+mn-lt"/>
                          <a:ea typeface="+mn-ea"/>
                          <a:cs typeface="Segoe UI Semibold"/>
                        </a:rPr>
                        <a:t>	</a:t>
                      </a:r>
                      <a:r>
                        <a:rPr kumimoji="0" lang="en-US" sz="900" b="0" i="0" u="none" strike="noStrike" kern="1200" cap="none" spc="-30" normalizeH="0" baseline="0">
                          <a:ln>
                            <a:noFill/>
                          </a:ln>
                          <a:solidFill>
                            <a:srgbClr val="000000"/>
                          </a:solidFill>
                          <a:effectLst/>
                          <a:uLnTx/>
                          <a:uFillTx/>
                          <a:latin typeface="+mn-lt"/>
                          <a:ea typeface="+mn-ea"/>
                          <a:cs typeface="Segoe UI Semibold"/>
                        </a:rPr>
                        <a:t>Hybrid Cloud Solutions </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7105535"/>
                  </a:ext>
                </a:extLst>
              </a:tr>
              <a:tr h="179217">
                <a:tc vMerge="1">
                  <a:txBody>
                    <a:bodyPr/>
                    <a:lstStyle/>
                    <a:p>
                      <a:endParaRPr lang="en-US"/>
                    </a:p>
                  </a:txBody>
                  <a:tcPr/>
                </a:tc>
                <a:tc vMerge="1">
                  <a:txBody>
                    <a:bodyPr/>
                    <a:lstStyle/>
                    <a:p>
                      <a:endParaRPr lang="en-US"/>
                    </a:p>
                  </a:txBody>
                  <a:tcPr/>
                </a:tc>
                <a:tc rowSpan="3">
                  <a:txBody>
                    <a:bodyPr/>
                    <a:lstStyle/>
                    <a:p>
                      <a:pPr marL="0" lvl="1" indent="0" algn="l" defTabSz="914102" rtl="0" eaLnBrk="1" fontAlgn="base" latinLnBrk="0" hangingPunct="1">
                        <a:lnSpc>
                          <a:spcPct val="90000"/>
                        </a:lnSpc>
                        <a:spcBef>
                          <a:spcPct val="0"/>
                        </a:spcBef>
                        <a:spcAft>
                          <a:spcPct val="0"/>
                        </a:spcAft>
                      </a:pPr>
                      <a:r>
                        <a:rPr kumimoji="0" lang="en-US" sz="1000" b="1" i="0" u="none" strike="noStrike" kern="1200" cap="none" spc="-30" normalizeH="0" baseline="0">
                          <a:ln>
                            <a:noFill/>
                          </a:ln>
                          <a:gradFill>
                            <a:gsLst>
                              <a:gs pos="9756">
                                <a:schemeClr val="tx1"/>
                              </a:gs>
                              <a:gs pos="28000">
                                <a:schemeClr val="tx1"/>
                              </a:gs>
                            </a:gsLst>
                            <a:lin ang="5400000" scaled="1"/>
                          </a:gradFill>
                          <a:effectLst/>
                          <a:uLnTx/>
                          <a:uFillTx/>
                          <a:latin typeface="Segoe UI Semibold"/>
                          <a:ea typeface="+mn-ea"/>
                          <a:cs typeface="Segoe UI Semibold"/>
                        </a:rPr>
                        <a:t>Innovate with new apps and modernize existing apps</a:t>
                      </a:r>
                    </a:p>
                  </a:txBody>
                  <a:tcPr marL="45720" marR="45720"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solidFill>
                            <a:srgbClr val="000000"/>
                          </a:solidFill>
                          <a:effectLst/>
                          <a:uLnTx/>
                          <a:uFillTx/>
                          <a:latin typeface="+mn-lt"/>
                          <a:ea typeface="+mn-ea"/>
                          <a:cs typeface="Segoe UI Semibold"/>
                        </a:rPr>
                        <a:t>14)</a:t>
                      </a:r>
                      <a:r>
                        <a:rPr kumimoji="0" lang="en-US" sz="900" b="0" i="0" u="none" strike="noStrike" kern="1200" cap="none" spc="-30" normalizeH="0" baseline="0" noProof="0">
                          <a:ln>
                            <a:noFill/>
                          </a:ln>
                          <a:solidFill>
                            <a:srgbClr val="000000"/>
                          </a:solidFill>
                          <a:effectLst/>
                          <a:uLnTx/>
                          <a:uFillTx/>
                          <a:latin typeface="+mn-lt"/>
                          <a:ea typeface="+mn-ea"/>
                          <a:cs typeface="Segoe UI Semibold"/>
                        </a:rPr>
                        <a:t>	</a:t>
                      </a:r>
                      <a:r>
                        <a:rPr kumimoji="0" lang="en-US" sz="900" b="0" i="0" u="none" strike="noStrike" kern="1200" cap="none" spc="-30" normalizeH="0" baseline="0">
                          <a:ln>
                            <a:noFill/>
                          </a:ln>
                          <a:solidFill>
                            <a:srgbClr val="000000"/>
                          </a:solidFill>
                          <a:effectLst/>
                          <a:uLnTx/>
                          <a:uFillTx/>
                          <a:latin typeface="+mn-lt"/>
                          <a:ea typeface="+mn-ea"/>
                          <a:cs typeface="Segoe UI Semibold"/>
                        </a:rPr>
                        <a:t>Analytics &amp; AI</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4818033"/>
                  </a:ext>
                </a:extLst>
              </a:tr>
              <a:tr h="201073">
                <a:tc vMerge="1">
                  <a:txBody>
                    <a:bodyPr/>
                    <a:lstStyle/>
                    <a:p>
                      <a:endParaRPr lang="en-US"/>
                    </a:p>
                  </a:txBody>
                  <a:tcPr/>
                </a:tc>
                <a:tc vMerge="1">
                  <a:txBody>
                    <a:bodyPr/>
                    <a:lstStyle/>
                    <a:p>
                      <a:endParaRPr lang="en-US"/>
                    </a:p>
                  </a:txBody>
                  <a:tcPr/>
                </a:tc>
                <a:tc vMerge="1">
                  <a:txBody>
                    <a:bodyPr/>
                    <a:lstStyle/>
                    <a:p>
                      <a:pPr marL="0" lvl="1" indent="0" algn="l" defTabSz="914102" rtl="0" eaLnBrk="1" fontAlgn="base" latinLnBrk="0" hangingPunct="1">
                        <a:lnSpc>
                          <a:spcPct val="90000"/>
                        </a:lnSpc>
                        <a:spcBef>
                          <a:spcPct val="0"/>
                        </a:spcBef>
                        <a:spcAft>
                          <a:spcPct val="0"/>
                        </a:spcAft>
                      </a:pPr>
                      <a:endParaRPr lang="en-US" sz="1400">
                        <a:solidFill>
                          <a:sysClr val="windowText" lastClr="000000"/>
                        </a:solidFill>
                      </a:endParaRPr>
                    </a:p>
                  </a:txBody>
                  <a:tcPr marL="45720" marR="45720"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15)</a:t>
                      </a: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a:t>
                      </a:r>
                      <a: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Modernize .Net Apps with App Service, Azure SQL DB </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8269094"/>
                  </a:ext>
                </a:extLst>
              </a:tr>
              <a:tr h="275422">
                <a:tc vMerge="1">
                  <a:txBody>
                    <a:bodyPr/>
                    <a:lstStyle/>
                    <a:p>
                      <a:endParaRPr lang="en-US"/>
                    </a:p>
                  </a:txBody>
                  <a:tcPr/>
                </a:tc>
                <a:tc vMerge="1">
                  <a:txBody>
                    <a:bodyPr/>
                    <a:lstStyle/>
                    <a:p>
                      <a:endParaRPr lang="en-US"/>
                    </a:p>
                  </a:txBody>
                  <a:tcPr/>
                </a:tc>
                <a:tc vMerge="1">
                  <a:txBody>
                    <a:bodyPr/>
                    <a:lstStyle/>
                    <a:p>
                      <a:pPr marL="0" lvl="1" indent="0" algn="l" defTabSz="914102" rtl="0" eaLnBrk="1" fontAlgn="base" latinLnBrk="0" hangingPunct="1">
                        <a:lnSpc>
                          <a:spcPct val="90000"/>
                        </a:lnSpc>
                        <a:spcBef>
                          <a:spcPct val="0"/>
                        </a:spcBef>
                        <a:spcAft>
                          <a:spcPct val="0"/>
                        </a:spcAft>
                      </a:pPr>
                      <a:endParaRPr lang="en-US" sz="1400">
                        <a:solidFill>
                          <a:sysClr val="windowText" lastClr="000000"/>
                        </a:solidFill>
                      </a:endParaRPr>
                    </a:p>
                  </a:txBody>
                  <a:tcPr marL="45720" marR="45720"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solidFill>
                            <a:srgbClr val="000000"/>
                          </a:solidFill>
                          <a:effectLst/>
                          <a:uLnTx/>
                          <a:uFillTx/>
                          <a:latin typeface="+mn-lt"/>
                          <a:ea typeface="+mn-ea"/>
                          <a:cs typeface="Segoe UI Semibold"/>
                        </a:rPr>
                        <a:t>16) </a:t>
                      </a:r>
                      <a:r>
                        <a:rPr kumimoji="0" lang="en-US" sz="900" b="0" i="0" u="none" strike="noStrike" kern="1200" cap="none" spc="-30" normalizeH="0" baseline="0" noProof="0">
                          <a:ln>
                            <a:noFill/>
                          </a:ln>
                          <a:solidFill>
                            <a:srgbClr val="000000"/>
                          </a:solidFill>
                          <a:effectLst/>
                          <a:uLnTx/>
                          <a:uFillTx/>
                          <a:latin typeface="+mn-lt"/>
                          <a:ea typeface="+mn-ea"/>
                          <a:cs typeface="Segoe UI Semibold"/>
                        </a:rPr>
                        <a:t>	</a:t>
                      </a:r>
                      <a:r>
                        <a:rPr kumimoji="0" lang="en-US" sz="900" b="0" i="0" u="none" strike="noStrike" kern="1200" cap="none" spc="-30" normalizeH="0" baseline="0">
                          <a:ln>
                            <a:noFill/>
                          </a:ln>
                          <a:solidFill>
                            <a:srgbClr val="000000"/>
                          </a:solidFill>
                          <a:effectLst/>
                          <a:uLnTx/>
                          <a:uFillTx/>
                          <a:latin typeface="+mn-lt"/>
                          <a:ea typeface="+mn-ea"/>
                          <a:cs typeface="Segoe UI Semibold"/>
                        </a:rPr>
                        <a:t>Cloud Native apps with AI, Kubernetes, Azure Cosmos DB / PostgreSQL</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867035"/>
                  </a:ext>
                </a:extLst>
              </a:tr>
              <a:tr h="179217">
                <a:tc vMerge="1">
                  <a:txBody>
                    <a:bodyPr/>
                    <a:lstStyle/>
                    <a:p>
                      <a:endParaRPr lang="en-US"/>
                    </a:p>
                  </a:txBody>
                  <a:tcPr/>
                </a:tc>
                <a:tc vMerge="1">
                  <a:txBody>
                    <a:bodyPr/>
                    <a:lstStyle/>
                    <a:p>
                      <a:endParaRPr lang="en-US"/>
                    </a:p>
                  </a:txBody>
                  <a:tcPr/>
                </a:tc>
                <a:tc rowSpan="2">
                  <a:txBody>
                    <a:bodyPr/>
                    <a:lstStyle/>
                    <a:p>
                      <a:pPr marL="0" lvl="1" indent="0" algn="l" defTabSz="914102" rtl="0" eaLnBrk="1" fontAlgn="base" latinLnBrk="0" hangingPunct="1">
                        <a:lnSpc>
                          <a:spcPct val="90000"/>
                        </a:lnSpc>
                        <a:spcBef>
                          <a:spcPct val="0"/>
                        </a:spcBef>
                        <a:spcAft>
                          <a:spcPct val="0"/>
                        </a:spcAft>
                      </a:pPr>
                      <a:r>
                        <a:rPr kumimoji="0" lang="en-US" sz="1000" b="1" i="0" u="none" strike="noStrike" kern="1200" cap="none" spc="-30" normalizeH="0" baseline="0">
                          <a:ln>
                            <a:noFill/>
                          </a:ln>
                          <a:gradFill>
                            <a:gsLst>
                              <a:gs pos="9756">
                                <a:schemeClr val="tx1"/>
                              </a:gs>
                              <a:gs pos="28000">
                                <a:schemeClr val="tx1"/>
                              </a:gs>
                            </a:gsLst>
                            <a:lin ang="5400000" scaled="1"/>
                          </a:gradFill>
                          <a:effectLst/>
                          <a:uLnTx/>
                          <a:uFillTx/>
                          <a:latin typeface="Segoe UI Semibold"/>
                          <a:ea typeface="+mn-ea"/>
                          <a:cs typeface="Segoe UI Semibold"/>
                        </a:rPr>
                        <a:t>Enable customers for successful cloud use</a:t>
                      </a:r>
                    </a:p>
                  </a:txBody>
                  <a:tcPr marL="45720" marR="45720"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solidFill>
                            <a:srgbClr val="000000"/>
                          </a:solidFill>
                          <a:effectLst/>
                          <a:uLnTx/>
                          <a:uFillTx/>
                          <a:latin typeface="+mn-lt"/>
                          <a:ea typeface="+mn-ea"/>
                          <a:cs typeface="Segoe UI Semibold"/>
                        </a:rPr>
                        <a:t>17)</a:t>
                      </a:r>
                      <a:r>
                        <a:rPr kumimoji="0" lang="en-US" sz="900" b="0" i="0" u="none" strike="noStrike" kern="1200" cap="none" spc="-30" normalizeH="0" baseline="0" noProof="0">
                          <a:ln>
                            <a:noFill/>
                          </a:ln>
                          <a:solidFill>
                            <a:srgbClr val="000000"/>
                          </a:solidFill>
                          <a:effectLst/>
                          <a:uLnTx/>
                          <a:uFillTx/>
                          <a:latin typeface="+mn-lt"/>
                          <a:ea typeface="+mn-ea"/>
                          <a:cs typeface="Segoe UI Semibold"/>
                        </a:rPr>
                        <a:t>	</a:t>
                      </a:r>
                      <a:r>
                        <a:rPr kumimoji="0" lang="en-US" sz="900" b="0" i="0" u="none" strike="noStrike" kern="1200" cap="none" spc="-30" normalizeH="0" baseline="0">
                          <a:ln>
                            <a:noFill/>
                          </a:ln>
                          <a:solidFill>
                            <a:srgbClr val="000000"/>
                          </a:solidFill>
                          <a:effectLst/>
                          <a:uLnTx/>
                          <a:uFillTx/>
                          <a:latin typeface="+mn-lt"/>
                          <a:ea typeface="+mn-ea"/>
                          <a:cs typeface="Segoe UI Semibold"/>
                        </a:rPr>
                        <a:t>Developer engagement</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7548158"/>
                  </a:ext>
                </a:extLst>
              </a:tr>
              <a:tr h="201073">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endParaRPr lang="en-US"/>
                    </a:p>
                  </a:txBody>
                  <a:tcP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alpha val="67000"/>
                      </a:schemeClr>
                    </a:solidFill>
                  </a:tcPr>
                </a:tc>
                <a:tc vMerge="1">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0" lvl="1" indent="0" algn="l" defTabSz="914102" rtl="0" eaLnBrk="1" fontAlgn="base" latinLnBrk="0" hangingPunct="1">
                        <a:lnSpc>
                          <a:spcPct val="90000"/>
                        </a:lnSpc>
                        <a:spcBef>
                          <a:spcPct val="0"/>
                        </a:spcBef>
                        <a:spcAft>
                          <a:spcPct val="0"/>
                        </a:spcAft>
                      </a:pPr>
                      <a:endParaRPr lang="en-US" sz="800" kern="1200">
                        <a:solidFill>
                          <a:sysClr val="windowText" lastClr="000000"/>
                        </a:solidFill>
                        <a:latin typeface="+mn-lt"/>
                        <a:ea typeface="+mn-ea"/>
                        <a:cs typeface="+mn-cs"/>
                      </a:endParaRPr>
                    </a:p>
                  </a:txBody>
                  <a:tcPr marL="45720" marR="45720"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18)</a:t>
                      </a: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a:t>
                      </a:r>
                      <a: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DevOps with GitHub</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1436662"/>
                  </a:ext>
                </a:extLst>
              </a:tr>
              <a:tr h="201073">
                <a:tc vMerge="1">
                  <a:txBody>
                    <a:bodyPr/>
                    <a:lstStyle/>
                    <a:p>
                      <a:endParaRPr lang="en-US"/>
                    </a:p>
                  </a:txBody>
                  <a:tcPr/>
                </a:tc>
                <a:tc vMerge="1">
                  <a:txBody>
                    <a:bodyPr/>
                    <a:lstStyle/>
                    <a:p>
                      <a:endParaRPr lang="en-US"/>
                    </a:p>
                  </a:txBody>
                  <a:tcPr/>
                </a:tc>
                <a:tc rowSpan="2">
                  <a:txBody>
                    <a:bodyPr/>
                    <a:lstStyle/>
                    <a:p>
                      <a:pPr marL="0" lvl="1" indent="0" algn="l" defTabSz="914102" rtl="0" eaLnBrk="1" fontAlgn="base" latinLnBrk="0" hangingPunct="1">
                        <a:lnSpc>
                          <a:spcPct val="90000"/>
                        </a:lnSpc>
                        <a:spcBef>
                          <a:spcPct val="0"/>
                        </a:spcBef>
                        <a:spcAft>
                          <a:spcPct val="0"/>
                        </a:spcAft>
                      </a:pPr>
                      <a:r>
                        <a:rPr kumimoji="0" lang="en-US" sz="1000" b="1" i="0" u="none" strike="noStrike" kern="1200" cap="none" spc="-30" normalizeH="0" baseline="0">
                          <a:ln>
                            <a:noFill/>
                          </a:ln>
                          <a:gradFill>
                            <a:gsLst>
                              <a:gs pos="9756">
                                <a:schemeClr val="tx1"/>
                              </a:gs>
                              <a:gs pos="28000">
                                <a:schemeClr val="tx1"/>
                              </a:gs>
                            </a:gsLst>
                            <a:lin ang="5400000" scaled="1"/>
                          </a:gradFill>
                          <a:effectLst/>
                          <a:uLnTx/>
                          <a:uFillTx/>
                          <a:latin typeface="Segoe UI Semibold"/>
                          <a:ea typeface="+mn-ea"/>
                          <a:cs typeface="Segoe UI Semibold"/>
                        </a:rPr>
                        <a:t>Deliver unique, specialized solutions, focusing on Enterprise customers</a:t>
                      </a:r>
                    </a:p>
                  </a:txBody>
                  <a:tcPr marL="45720" marR="45720"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630238" algn="l"/>
                        </a:tabLst>
                        <a:defRPr/>
                      </a:pPr>
                      <a: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Applications: </a:t>
                      </a:r>
                      <a:r>
                        <a:rPr kumimoji="0" lang="hu-HU"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 </a:t>
                      </a: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a:t>
                      </a:r>
                      <a:r>
                        <a:rPr kumimoji="0" lang="en-US" sz="900" b="1"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19</a:t>
                      </a:r>
                      <a:r>
                        <a:rPr kumimoji="0" lang="en-US" sz="900" b="1"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 </a:t>
                      </a:r>
                      <a: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IoT, </a:t>
                      </a:r>
                      <a:r>
                        <a:rPr kumimoji="0" lang="en-US" sz="900" b="1"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20) </a:t>
                      </a:r>
                      <a: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MR, </a:t>
                      </a:r>
                      <a:r>
                        <a:rPr kumimoji="0" lang="en-US" sz="900" b="1"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21)</a:t>
                      </a:r>
                      <a: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 Gaming </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5656474"/>
                  </a:ext>
                </a:extLst>
              </a:tr>
              <a:tr h="375919">
                <a:tc vMerge="1">
                  <a:txBody>
                    <a:bodyPr/>
                    <a:lstStyle/>
                    <a:p>
                      <a:pPr marL="0" lvl="0" indent="0" algn="ctr" defTabSz="914367" rtl="0" eaLnBrk="1" fontAlgn="base" latinLnBrk="0" hangingPunct="1">
                        <a:lnSpc>
                          <a:spcPct val="90000"/>
                        </a:lnSpc>
                        <a:spcBef>
                          <a:spcPct val="0"/>
                        </a:spcBef>
                        <a:spcAft>
                          <a:spcPct val="0"/>
                        </a:spcAft>
                      </a:pPr>
                      <a:endParaRPr lang="en-US" sz="1600" b="1" kern="1200" noProof="0">
                        <a:solidFill>
                          <a:schemeClr val="bg1"/>
                        </a:solidFill>
                        <a:latin typeface="Segoe UI Semibold" panose="020B0702040204020203" pitchFamily="34" charset="0"/>
                        <a:ea typeface="+mn-ea"/>
                        <a:cs typeface="Segoe UI Semibold" panose="020B0702040204020203" pitchFamily="34" charset="0"/>
                      </a:endParaRPr>
                    </a:p>
                  </a:txBody>
                  <a:tcPr marL="45720" marR="81408" marT="0" marB="0" vert="vert27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pPr marL="0" lvl="0" indent="0" algn="ctr" defTabSz="914367" rtl="0" eaLnBrk="1" fontAlgn="base" latinLnBrk="0" hangingPunct="1">
                        <a:lnSpc>
                          <a:spcPct val="90000"/>
                        </a:lnSpc>
                        <a:spcBef>
                          <a:spcPct val="0"/>
                        </a:spcBef>
                        <a:spcAft>
                          <a:spcPct val="0"/>
                        </a:spcAft>
                      </a:pPr>
                      <a:endParaRPr lang="en-US" sz="1600" b="0" kern="1200" noProof="0">
                        <a:solidFill>
                          <a:schemeClr val="bg1"/>
                        </a:solidFill>
                        <a:latin typeface="+mj-lt"/>
                        <a:ea typeface="+mn-ea"/>
                        <a:cs typeface="+mn-cs"/>
                      </a:endParaRPr>
                    </a:p>
                  </a:txBody>
                  <a:tcPr marL="45720" marR="81408" marT="166102" marB="166102" anchor="ctr">
                    <a:lnL w="19050" cap="flat" cmpd="sng" algn="ctr">
                      <a:no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alpha val="67000"/>
                      </a:schemeClr>
                    </a:solidFill>
                  </a:tcPr>
                </a:tc>
                <a:tc vMerge="1">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0" marR="0" lvl="0" indent="0" algn="l" defTabSz="941250" rtl="0" eaLnBrk="1" fontAlgn="auto" latinLnBrk="0" hangingPunct="1">
                        <a:lnSpc>
                          <a:spcPct val="100000"/>
                        </a:lnSpc>
                        <a:spcBef>
                          <a:spcPts val="0"/>
                        </a:spcBef>
                        <a:spcAft>
                          <a:spcPts val="0"/>
                        </a:spcAft>
                        <a:buClrTx/>
                        <a:buSzTx/>
                        <a:buFontTx/>
                        <a:buNone/>
                        <a:tabLst/>
                        <a:defRPr/>
                      </a:pPr>
                      <a:endParaRPr lang="en-US" sz="800" kern="1200">
                        <a:solidFill>
                          <a:sysClr val="windowText" lastClr="000000"/>
                        </a:solidFill>
                        <a:latin typeface="+mn-lt"/>
                        <a:ea typeface="+mn-ea"/>
                        <a:cs typeface="+mn-cs"/>
                      </a:endParaRPr>
                    </a:p>
                  </a:txBody>
                  <a:tcPr marL="45720" marR="45720"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30238" marR="0" lvl="0" indent="-630238" algn="l" defTabSz="914102" rtl="0" eaLnBrk="1" fontAlgn="auto" latinLnBrk="0" hangingPunct="1">
                        <a:lnSpc>
                          <a:spcPct val="100000"/>
                        </a:lnSpc>
                        <a:spcBef>
                          <a:spcPts val="0"/>
                        </a:spcBef>
                        <a:spcAft>
                          <a:spcPts val="200"/>
                        </a:spcAft>
                        <a:buClrTx/>
                        <a:buSzTx/>
                        <a:buFont typeface="+mj-lt"/>
                        <a:buNone/>
                        <a:tabLst>
                          <a:tab pos="630238" algn="l"/>
                        </a:tabLst>
                        <a:defRPr/>
                      </a:pPr>
                      <a: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Infrastructure:</a:t>
                      </a:r>
                      <a:r>
                        <a:rPr kumimoji="0" lang="hu-HU"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a:t>
                      </a:r>
                      <a:r>
                        <a:rPr kumimoji="0" lang="en-US" sz="900" b="1"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22</a:t>
                      </a:r>
                      <a:r>
                        <a:rPr kumimoji="0" lang="en-US" sz="900" b="1"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 </a:t>
                      </a:r>
                      <a: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Azure VMware Solutions, </a:t>
                      </a:r>
                      <a:r>
                        <a:rPr kumimoji="0" lang="en-US" sz="900" b="1"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23) </a:t>
                      </a:r>
                      <a: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HPC,</a:t>
                      </a:r>
                      <a:b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br>
                      <a:r>
                        <a:rPr kumimoji="0" lang="hu-HU"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         </a:t>
                      </a:r>
                      <a:r>
                        <a:rPr kumimoji="0" lang="en-US" sz="900" b="1"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24) </a:t>
                      </a:r>
                      <a:r>
                        <a:rPr kumimoji="0" lang="en-US" sz="900" b="0" i="0" u="none" strike="noStrike" kern="1200" cap="none" spc="-30" normalizeH="0" baseline="0">
                          <a:ln>
                            <a:noFill/>
                          </a:ln>
                          <a:gradFill>
                            <a:gsLst>
                              <a:gs pos="9756">
                                <a:schemeClr val="tx1"/>
                              </a:gs>
                              <a:gs pos="28000">
                                <a:schemeClr val="tx1"/>
                              </a:gs>
                            </a:gsLst>
                            <a:lin ang="5400000" scaled="1"/>
                          </a:gradFill>
                          <a:effectLst/>
                          <a:uLnTx/>
                          <a:uFillTx/>
                          <a:latin typeface="+mn-lt"/>
                          <a:ea typeface="+mn-ea"/>
                          <a:cs typeface="Segoe UI Semibold"/>
                        </a:rPr>
                        <a:t>Advanced Networking</a:t>
                      </a:r>
                      <a:endParaRPr kumimoji="0" lang="en-US" sz="900" b="0" i="0" u="none" strike="sngStrike" kern="1200" cap="none" spc="-30" normalizeH="0" baseline="0">
                        <a:ln>
                          <a:noFill/>
                        </a:ln>
                        <a:solidFill>
                          <a:srgbClr val="107C10"/>
                        </a:solidFill>
                        <a:effectLst/>
                        <a:uLnTx/>
                        <a:uFillTx/>
                        <a:latin typeface="+mn-lt"/>
                        <a:ea typeface="+mn-ea"/>
                        <a:cs typeface="Segoe UI Semibold"/>
                      </a:endParaRP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035481"/>
                  </a:ext>
                </a:extLst>
              </a:tr>
              <a:tr h="201073">
                <a:tc rowSpan="6">
                  <a:txBody>
                    <a:bodyPr/>
                    <a:lstStyle/>
                    <a:p>
                      <a:pPr marL="0" lvl="0" indent="0" algn="ctr" defTabSz="914367" rtl="0" eaLnBrk="1" fontAlgn="base" latinLnBrk="0" hangingPunct="1">
                        <a:lnSpc>
                          <a:spcPct val="90000"/>
                        </a:lnSpc>
                        <a:spcBef>
                          <a:spcPct val="0"/>
                        </a:spcBef>
                        <a:spcAft>
                          <a:spcPct val="0"/>
                        </a:spcAft>
                      </a:pPr>
                      <a:r>
                        <a:rPr lang="en-US" sz="1200" b="1" kern="1200" spc="-20" baseline="0" noProof="0">
                          <a:solidFill>
                            <a:srgbClr val="FFFFFF"/>
                          </a:solidFill>
                          <a:latin typeface="Segoe UI Semibold"/>
                          <a:ea typeface="+mn-ea"/>
                          <a:cs typeface="Segoe UI Semibold"/>
                        </a:rPr>
                        <a:t>Business Applications</a:t>
                      </a:r>
                    </a:p>
                  </a:txBody>
                  <a:tcPr marL="45720" marR="81408" marT="9144" marB="9144" vert="vert27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07C10"/>
                    </a:solidFill>
                  </a:tcPr>
                </a:tc>
                <a:tc rowSpan="6">
                  <a:txBody>
                    <a:bodyPr/>
                    <a:lstStyle/>
                    <a:p>
                      <a:pPr marL="0" lvl="0" indent="0" algn="ctr" defTabSz="914367" rtl="0" eaLnBrk="1" fontAlgn="base" latinLnBrk="0" hangingPunct="1">
                        <a:lnSpc>
                          <a:spcPct val="90000"/>
                        </a:lnSpc>
                        <a:spcBef>
                          <a:spcPct val="0"/>
                        </a:spcBef>
                        <a:spcAft>
                          <a:spcPct val="0"/>
                        </a:spcAft>
                      </a:pPr>
                      <a:r>
                        <a:rPr lang="en-US" sz="1100" b="1" kern="1200" noProof="0">
                          <a:solidFill>
                            <a:schemeClr val="tx1"/>
                          </a:solidFill>
                          <a:latin typeface="Segoe UI Semibold"/>
                          <a:ea typeface="+mn-ea"/>
                          <a:cs typeface="Segoe UI Semibold"/>
                        </a:rPr>
                        <a:t>Dynamics 365</a:t>
                      </a:r>
                    </a:p>
                    <a:p>
                      <a:pPr marL="0" lvl="0" indent="0" algn="ctr" defTabSz="914367" rtl="0" eaLnBrk="1" fontAlgn="base" latinLnBrk="0" hangingPunct="1">
                        <a:lnSpc>
                          <a:spcPct val="90000"/>
                        </a:lnSpc>
                        <a:spcBef>
                          <a:spcPct val="0"/>
                        </a:spcBef>
                        <a:spcAft>
                          <a:spcPct val="0"/>
                        </a:spcAft>
                      </a:pPr>
                      <a:endParaRPr lang="en-US" sz="1100" b="1" kern="1200" noProof="0">
                        <a:solidFill>
                          <a:schemeClr val="tx1"/>
                        </a:solidFill>
                        <a:latin typeface="Segoe UI Semibold" panose="020B0702040204020203" pitchFamily="34" charset="0"/>
                        <a:ea typeface="+mn-ea"/>
                        <a:cs typeface="Segoe UI Semibold" panose="020B0702040204020203" pitchFamily="34" charset="0"/>
                      </a:endParaRPr>
                    </a:p>
                    <a:p>
                      <a:pPr marL="0" lvl="0" indent="0" algn="ctr" defTabSz="914367" rtl="0" eaLnBrk="1" fontAlgn="base" latinLnBrk="0" hangingPunct="1">
                        <a:lnSpc>
                          <a:spcPct val="90000"/>
                        </a:lnSpc>
                        <a:spcBef>
                          <a:spcPct val="0"/>
                        </a:spcBef>
                        <a:spcAft>
                          <a:spcPct val="0"/>
                        </a:spcAft>
                      </a:pPr>
                      <a:r>
                        <a:rPr lang="en-US" sz="1100" b="1" kern="1200" noProof="0">
                          <a:solidFill>
                            <a:schemeClr val="tx1"/>
                          </a:solidFill>
                          <a:latin typeface="Segoe UI Semibold"/>
                          <a:ea typeface="+mn-ea"/>
                          <a:cs typeface="Segoe UI Semibold"/>
                        </a:rPr>
                        <a:t>Power Platform</a:t>
                      </a:r>
                      <a:endParaRPr lang="en-US" sz="1200" b="0" kern="1200" noProof="0">
                        <a:solidFill>
                          <a:schemeClr val="tx1"/>
                        </a:solidFill>
                        <a:latin typeface="Segoe UI Semibold"/>
                        <a:ea typeface="+mn-ea"/>
                        <a:cs typeface="Segoe UI Semibold"/>
                      </a:endParaRPr>
                    </a:p>
                  </a:txBody>
                  <a:tcPr marL="45720" marR="81408" marT="9144" marB="9144" anchor="ctr">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alpha val="67000"/>
                      </a:schemeClr>
                    </a:solidFill>
                  </a:tcPr>
                </a:tc>
                <a:tc rowSpan="2">
                  <a:txBody>
                    <a:bodyPr/>
                    <a:lstStyle/>
                    <a:p>
                      <a:pPr marL="0" marR="0" lvl="0" indent="-64770" algn="l" rtl="0" eaLnBrk="1" fontAlgn="base" latinLnBrk="0" hangingPunct="1">
                        <a:lnSpc>
                          <a:spcPct val="90000"/>
                        </a:lnSpc>
                        <a:spcBef>
                          <a:spcPct val="0"/>
                        </a:spcBef>
                        <a:spcAft>
                          <a:spcPct val="0"/>
                        </a:spcAft>
                        <a:buFont typeface="+mj-lt"/>
                        <a:buNone/>
                      </a:pPr>
                      <a:r>
                        <a:rPr lang="en-US" sz="1000" kern="0" noProof="0">
                          <a:gradFill>
                            <a:gsLst>
                              <a:gs pos="9756">
                                <a:schemeClr val="tx1"/>
                              </a:gs>
                              <a:gs pos="28000">
                                <a:schemeClr val="tx1"/>
                              </a:gs>
                            </a:gsLst>
                            <a:lin ang="5400000" scaled="1"/>
                          </a:gradFill>
                          <a:latin typeface="Segoe UI Semibold"/>
                          <a:ea typeface="+mn-ea"/>
                          <a:cs typeface="Segoe UI Semibold"/>
                        </a:rPr>
                        <a:t>Stay Connected with Customers</a:t>
                      </a:r>
                      <a:endParaRPr lang="en-US" sz="1000" kern="1200">
                        <a:gradFill>
                          <a:gsLst>
                            <a:gs pos="9756">
                              <a:schemeClr val="tx1"/>
                            </a:gs>
                            <a:gs pos="28000">
                              <a:schemeClr val="tx1"/>
                            </a:gs>
                          </a:gsLst>
                          <a:lin ang="5400000" scaled="1"/>
                        </a:gradFill>
                        <a:latin typeface="Segoe UI Semibold"/>
                        <a:ea typeface="+mn-ea"/>
                        <a:cs typeface="Segoe UI Semibold"/>
                      </a:endParaRPr>
                    </a:p>
                  </a:txBody>
                  <a:tcPr marL="45720" marR="81408" marT="9144" marB="9144" anchor="ctr">
                    <a:lnL w="6350"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25)</a:t>
                      </a: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Activate Digital Selling</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2693132"/>
                  </a:ext>
                </a:extLst>
              </a:tr>
              <a:tr h="201073">
                <a:tc vMerge="1">
                  <a:txBody>
                    <a:bodyPr/>
                    <a:lstStyle/>
                    <a:p>
                      <a:endParaRPr lang="en-US"/>
                    </a:p>
                  </a:txBody>
                  <a:tcPr/>
                </a:tc>
                <a:tc vMerge="1">
                  <a:txBody>
                    <a:bodyPr/>
                    <a:lstStyle/>
                    <a:p>
                      <a:endParaRPr lang="en-US"/>
                    </a:p>
                  </a:txBody>
                  <a:tcPr/>
                </a:tc>
                <a:tc vMerge="1">
                  <a:txBody>
                    <a:bodyPr/>
                    <a:lstStyle/>
                    <a:p>
                      <a:pPr marL="0" marR="0" lvl="0" indent="-64770" algn="l" rtl="0" eaLnBrk="1" fontAlgn="base" latinLnBrk="0" hangingPunct="1">
                        <a:lnSpc>
                          <a:spcPct val="90000"/>
                        </a:lnSpc>
                        <a:spcBef>
                          <a:spcPct val="0"/>
                        </a:spcBef>
                        <a:spcAft>
                          <a:spcPct val="0"/>
                        </a:spcAft>
                        <a:buFont typeface="+mj-lt"/>
                        <a:buNone/>
                      </a:pPr>
                      <a:endParaRPr lang="en-US" sz="1100" kern="1200">
                        <a:solidFill>
                          <a:sysClr val="windowText" lastClr="000000"/>
                        </a:solidFill>
                        <a:latin typeface="Segoe UI Semibold"/>
                        <a:ea typeface="+mn-ea"/>
                        <a:cs typeface="Segoe UI Semibold"/>
                      </a:endParaRPr>
                    </a:p>
                  </a:txBody>
                  <a:tcPr marL="45720" marR="81408"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26)</a:t>
                      </a: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Enable Always-On Service</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1215868"/>
                  </a:ext>
                </a:extLst>
              </a:tr>
              <a:tr h="201073">
                <a:tc vMerge="1">
                  <a:txBody>
                    <a:bodyPr/>
                    <a:lstStyle/>
                    <a:p>
                      <a:endParaRPr lang="en-US"/>
                    </a:p>
                  </a:txBody>
                  <a:tcPr/>
                </a:tc>
                <a:tc vMerge="1">
                  <a:txBody>
                    <a:bodyPr/>
                    <a:lstStyle/>
                    <a:p>
                      <a:endParaRPr lang="en-US"/>
                    </a:p>
                  </a:txBody>
                  <a:tcPr/>
                </a:tc>
                <a:tc rowSpan="2">
                  <a:txBody>
                    <a:bodyPr/>
                    <a:lstStyle/>
                    <a:p>
                      <a:pPr marL="0" marR="0" lvl="0" indent="-64770" algn="l" defTabSz="914102" rtl="0" eaLnBrk="1" fontAlgn="base" latinLnBrk="0" hangingPunct="1">
                        <a:lnSpc>
                          <a:spcPct val="90000"/>
                        </a:lnSpc>
                        <a:spcBef>
                          <a:spcPct val="0"/>
                        </a:spcBef>
                        <a:spcAft>
                          <a:spcPct val="0"/>
                        </a:spcAft>
                        <a:buClrTx/>
                        <a:buSzTx/>
                        <a:buFont typeface="+mj-lt"/>
                        <a:buNone/>
                        <a:tabLst/>
                        <a:defRPr/>
                      </a:pPr>
                      <a:r>
                        <a:rPr lang="en-US" sz="1000" kern="0" noProof="0">
                          <a:gradFill>
                            <a:gsLst>
                              <a:gs pos="9756">
                                <a:schemeClr val="tx1"/>
                              </a:gs>
                              <a:gs pos="28000">
                                <a:schemeClr val="tx1"/>
                              </a:gs>
                            </a:gsLst>
                            <a:lin ang="5400000" scaled="1"/>
                          </a:gradFill>
                          <a:latin typeface="Segoe UI Semibold"/>
                          <a:ea typeface="+mn-ea"/>
                          <a:cs typeface="Segoe UI Semibold"/>
                        </a:rPr>
                        <a:t>Run Adaptive Business Operations</a:t>
                      </a:r>
                      <a:endParaRPr lang="en-US" sz="1000" kern="1200">
                        <a:gradFill>
                          <a:gsLst>
                            <a:gs pos="9756">
                              <a:schemeClr val="tx1"/>
                            </a:gs>
                            <a:gs pos="28000">
                              <a:schemeClr val="tx1"/>
                            </a:gs>
                          </a:gsLst>
                          <a:lin ang="5400000" scaled="1"/>
                        </a:gradFill>
                        <a:latin typeface="Segoe UI Semibold"/>
                        <a:ea typeface="+mn-ea"/>
                        <a:cs typeface="Segoe UI Semibold"/>
                      </a:endParaRP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27)</a:t>
                      </a:r>
                      <a:r>
                        <a:rPr kumimoji="0" lang="en-US" sz="900" b="0" i="0" u="none" strike="noStrike" kern="1200" cap="none" spc="-30" normalizeH="0" baseline="0" noProof="0">
                          <a:ln>
                            <a:noFill/>
                          </a:ln>
                          <a:gradFill>
                            <a:gsLst>
                              <a:gs pos="9756">
                                <a:schemeClr val="tx1"/>
                              </a:gs>
                              <a:gs pos="28000">
                                <a:schemeClr val="tx1"/>
                              </a:gs>
                            </a:gsLst>
                            <a:lin ang="5400000" scaled="1"/>
                          </a:gradFill>
                          <a:effectLst/>
                          <a:uLnTx/>
                          <a:uFillTx/>
                          <a:latin typeface="+mn-lt"/>
                          <a:ea typeface="+mn-ea"/>
                          <a:cs typeface="Segoe UI Semibold"/>
                        </a:rPr>
                        <a:t>	Build a Resilient Supply Chain</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8419030"/>
                  </a:ext>
                </a:extLst>
              </a:tr>
              <a:tr h="194874">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endParaRPr lang="en-US"/>
                    </a:p>
                  </a:txBody>
                  <a:tcP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alpha val="67000"/>
                      </a:schemeClr>
                    </a:solidFill>
                  </a:tcPr>
                </a:tc>
                <a:tc vMerge="1">
                  <a:txBody>
                    <a:bodyPr/>
                    <a:lstStyle/>
                    <a:p>
                      <a:pPr marL="0" marR="0" lvl="0" indent="-64770" algn="l" defTabSz="914102" rtl="0" eaLnBrk="1" fontAlgn="base" latinLnBrk="0" hangingPunct="1">
                        <a:lnSpc>
                          <a:spcPct val="90000"/>
                        </a:lnSpc>
                        <a:spcBef>
                          <a:spcPct val="0"/>
                        </a:spcBef>
                        <a:spcAft>
                          <a:spcPct val="0"/>
                        </a:spcAft>
                        <a:buClrTx/>
                        <a:buSzTx/>
                        <a:buFont typeface="+mj-lt"/>
                        <a:buNone/>
                        <a:tabLst/>
                        <a:defRPr/>
                      </a:pPr>
                      <a:endParaRPr lang="en-US" sz="1100" kern="1200">
                        <a:solidFill>
                          <a:sysClr val="windowText" lastClr="000000"/>
                        </a:solidFill>
                        <a:latin typeface="Segoe UI Semibold"/>
                        <a:ea typeface="+mn-ea"/>
                        <a:cs typeface="Segoe UI Semibold"/>
                      </a:endParaRPr>
                    </a:p>
                  </a:txBody>
                  <a:tcPr marL="45720" marR="81408"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solidFill>
                            <a:srgbClr val="000000"/>
                          </a:solidFill>
                          <a:effectLst/>
                          <a:uLnTx/>
                          <a:uFillTx/>
                          <a:latin typeface="+mn-lt"/>
                          <a:ea typeface="+mn-ea"/>
                          <a:cs typeface="Segoe UI Semibold"/>
                        </a:rPr>
                        <a:t>28)</a:t>
                      </a:r>
                      <a:r>
                        <a:rPr kumimoji="0" lang="en-US" sz="900" b="0" i="0" u="none" strike="noStrike" kern="1200" cap="none" spc="-30" normalizeH="0" baseline="0" noProof="0">
                          <a:ln>
                            <a:noFill/>
                          </a:ln>
                          <a:solidFill>
                            <a:srgbClr val="000000"/>
                          </a:solidFill>
                          <a:effectLst/>
                          <a:uLnTx/>
                          <a:uFillTx/>
                          <a:latin typeface="+mn-lt"/>
                          <a:ea typeface="+mn-ea"/>
                          <a:cs typeface="Segoe UI Semibold"/>
                        </a:rPr>
                        <a:t>	Manage Financial Risk and Reduce Fraud</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5739613"/>
                  </a:ext>
                </a:extLst>
              </a:tr>
              <a:tr h="179217">
                <a:tc vMerge="1">
                  <a:txBody>
                    <a:bodyPr/>
                    <a:lstStyle/>
                    <a:p>
                      <a:endParaRPr lang="en-US"/>
                    </a:p>
                  </a:txBody>
                  <a:tcPr/>
                </a:tc>
                <a:tc vMerge="1">
                  <a:txBody>
                    <a:bodyPr/>
                    <a:lstStyle/>
                    <a:p>
                      <a:endParaRPr lang="en-US"/>
                    </a:p>
                  </a:txBody>
                  <a:tcPr/>
                </a:tc>
                <a:tc rowSpan="2">
                  <a:txBody>
                    <a:bodyPr/>
                    <a:lstStyle/>
                    <a:p>
                      <a:pPr marL="0" marR="0" lvl="0" indent="-64770" algn="l" defTabSz="914102" rtl="0" eaLnBrk="1" fontAlgn="base" latinLnBrk="0" hangingPunct="1">
                        <a:lnSpc>
                          <a:spcPct val="90000"/>
                        </a:lnSpc>
                        <a:spcBef>
                          <a:spcPct val="0"/>
                        </a:spcBef>
                        <a:spcAft>
                          <a:spcPct val="0"/>
                        </a:spcAft>
                        <a:buClrTx/>
                        <a:buSzTx/>
                        <a:buFont typeface="+mj-lt"/>
                        <a:buNone/>
                        <a:tabLst/>
                        <a:defRPr/>
                      </a:pPr>
                      <a:r>
                        <a:rPr lang="en-US" sz="1000" kern="0" noProof="0">
                          <a:gradFill>
                            <a:gsLst>
                              <a:gs pos="9756">
                                <a:schemeClr val="tx1"/>
                              </a:gs>
                              <a:gs pos="28000">
                                <a:schemeClr val="tx1"/>
                              </a:gs>
                            </a:gsLst>
                            <a:lin ang="5400000" scaled="1"/>
                          </a:gradFill>
                          <a:latin typeface="Segoe UI Semibold"/>
                          <a:ea typeface="+mn-ea"/>
                          <a:cs typeface="Segoe UI Semibold"/>
                        </a:rPr>
                        <a:t>Rapidly adapt and automate business processes</a:t>
                      </a:r>
                      <a:endParaRPr lang="en-US" sz="1000" b="0" kern="1200">
                        <a:gradFill>
                          <a:gsLst>
                            <a:gs pos="9756">
                              <a:schemeClr val="tx1"/>
                            </a:gs>
                            <a:gs pos="28000">
                              <a:schemeClr val="tx1"/>
                            </a:gs>
                          </a:gsLst>
                          <a:lin ang="5400000" scaled="1"/>
                        </a:gradFill>
                        <a:latin typeface="Segoe UI Semibold"/>
                        <a:ea typeface="+mn-ea"/>
                        <a:cs typeface="Segoe UI Semibold"/>
                      </a:endParaRP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solidFill>
                            <a:srgbClr val="000000"/>
                          </a:solidFill>
                          <a:effectLst/>
                          <a:uLnTx/>
                          <a:uFillTx/>
                          <a:latin typeface="+mn-lt"/>
                          <a:ea typeface="+mn-ea"/>
                          <a:cs typeface="Segoe UI Semibold"/>
                        </a:rPr>
                        <a:t>29)</a:t>
                      </a:r>
                      <a:r>
                        <a:rPr kumimoji="0" lang="en-US" sz="900" b="0" i="0" u="none" strike="noStrike" kern="1200" cap="none" spc="-30" normalizeH="0" baseline="0" noProof="0">
                          <a:ln>
                            <a:noFill/>
                          </a:ln>
                          <a:solidFill>
                            <a:srgbClr val="000000"/>
                          </a:solidFill>
                          <a:effectLst/>
                          <a:uLnTx/>
                          <a:uFillTx/>
                          <a:latin typeface="+mn-lt"/>
                          <a:ea typeface="+mn-ea"/>
                          <a:cs typeface="Segoe UI Semibold"/>
                        </a:rPr>
                        <a:t>	Build Agile Business Processes</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5508197"/>
                  </a:ext>
                </a:extLst>
              </a:tr>
              <a:tr h="305595">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endParaRPr lang="en-US"/>
                    </a:p>
                  </a:txBody>
                  <a:tcP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alpha val="67000"/>
                      </a:schemeClr>
                    </a:solidFill>
                  </a:tcPr>
                </a:tc>
                <a:tc vMerge="1">
                  <a:txBody>
                    <a:bodyPr/>
                    <a:lstStyle/>
                    <a:p>
                      <a:pPr marL="0" marR="0" lvl="0" indent="-64770" algn="l" defTabSz="914102" rtl="0" eaLnBrk="1" fontAlgn="base" latinLnBrk="0" hangingPunct="1">
                        <a:lnSpc>
                          <a:spcPct val="90000"/>
                        </a:lnSpc>
                        <a:spcBef>
                          <a:spcPct val="0"/>
                        </a:spcBef>
                        <a:spcAft>
                          <a:spcPct val="0"/>
                        </a:spcAft>
                        <a:buClrTx/>
                        <a:buSzTx/>
                        <a:buFont typeface="+mj-lt"/>
                        <a:buNone/>
                        <a:tabLst/>
                        <a:defRPr/>
                      </a:pPr>
                      <a:endParaRPr lang="en-US" sz="1100" b="0" kern="1200">
                        <a:solidFill>
                          <a:sysClr val="windowText" lastClr="000000"/>
                        </a:solidFill>
                        <a:latin typeface="Segoe UI Semibold"/>
                        <a:ea typeface="+mn-ea"/>
                        <a:cs typeface="Segoe UI Semibold"/>
                      </a:endParaRPr>
                    </a:p>
                  </a:txBody>
                  <a:tcPr marL="45720" marR="81408" marT="27432" marB="27432"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02" rtl="0" eaLnBrk="1" fontAlgn="auto" latinLnBrk="0" hangingPunct="1">
                        <a:lnSpc>
                          <a:spcPct val="100000"/>
                        </a:lnSpc>
                        <a:spcBef>
                          <a:spcPts val="0"/>
                        </a:spcBef>
                        <a:spcAft>
                          <a:spcPts val="200"/>
                        </a:spcAft>
                        <a:buClrTx/>
                        <a:buSzTx/>
                        <a:buFont typeface="+mj-lt"/>
                        <a:buNone/>
                        <a:tabLst>
                          <a:tab pos="228600" algn="l"/>
                        </a:tabLst>
                        <a:defRPr/>
                      </a:pPr>
                      <a:r>
                        <a:rPr kumimoji="0" lang="en-US" sz="900" b="1" i="0" u="none" strike="noStrike" kern="1200" cap="none" spc="-30" normalizeH="0" baseline="0" noProof="0">
                          <a:ln>
                            <a:noFill/>
                          </a:ln>
                          <a:solidFill>
                            <a:srgbClr val="000000"/>
                          </a:solidFill>
                          <a:effectLst/>
                          <a:uLnTx/>
                          <a:uFillTx/>
                          <a:latin typeface="+mn-lt"/>
                          <a:ea typeface="+mn-ea"/>
                          <a:cs typeface="Segoe UI Semibold"/>
                        </a:rPr>
                        <a:t>30)</a:t>
                      </a:r>
                      <a:r>
                        <a:rPr kumimoji="0" lang="en-US" sz="900" b="0" i="0" u="none" strike="noStrike" kern="1200" cap="none" spc="-30" normalizeH="0" baseline="0" noProof="0">
                          <a:ln>
                            <a:noFill/>
                          </a:ln>
                          <a:solidFill>
                            <a:srgbClr val="000000"/>
                          </a:solidFill>
                          <a:effectLst/>
                          <a:uLnTx/>
                          <a:uFillTx/>
                          <a:latin typeface="+mn-lt"/>
                          <a:ea typeface="+mn-ea"/>
                          <a:cs typeface="Segoe UI Semibold"/>
                        </a:rPr>
                        <a:t>	Generate Value with Proactive Insights</a:t>
                      </a:r>
                    </a:p>
                  </a:txBody>
                  <a:tcPr marL="45720" marR="81408" marT="9144"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6084559"/>
                  </a:ext>
                </a:extLst>
              </a:tr>
            </a:tbl>
          </a:graphicData>
        </a:graphic>
      </p:graphicFrame>
      <p:sp>
        <p:nvSpPr>
          <p:cNvPr id="7" name="Title 1">
            <a:extLst>
              <a:ext uri="{FF2B5EF4-FFF2-40B4-BE49-F238E27FC236}">
                <a16:creationId xmlns:a16="http://schemas.microsoft.com/office/drawing/2014/main" id="{A4128426-6757-4DA0-A4E9-A6833D1AF84C}"/>
              </a:ext>
            </a:extLst>
          </p:cNvPr>
          <p:cNvSpPr txBox="1">
            <a:spLocks/>
          </p:cNvSpPr>
          <p:nvPr/>
        </p:nvSpPr>
        <p:spPr>
          <a:xfrm>
            <a:off x="471546" y="3338131"/>
            <a:ext cx="2185387" cy="560323"/>
          </a:xfrm>
          <a:prstGeom prst="rect">
            <a:avLst/>
          </a:prstGeom>
        </p:spPr>
        <p:txBody>
          <a:bodyPr vert="horz" wrap="square" lIns="0" tIns="164592" rIns="0" bIns="0" rtlCol="0" anchor="t">
            <a:noAutofit/>
          </a:bodyPr>
          <a:lst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9"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147" normalizeH="0" baseline="0" noProof="0">
              <a:ln w="3175">
                <a:noFill/>
              </a:ln>
              <a:solidFill>
                <a:srgbClr val="000000"/>
              </a:solidFill>
              <a:effectLst/>
              <a:uLnTx/>
              <a:uFillTx/>
              <a:latin typeface="Segoe UI Semibold"/>
              <a:ea typeface="+mn-ea"/>
              <a:cs typeface="Segoe UI" pitchFamily="34" charset="0"/>
            </a:endParaRPr>
          </a:p>
        </p:txBody>
      </p:sp>
      <p:sp>
        <p:nvSpPr>
          <p:cNvPr id="3" name="Rectangle 2">
            <a:extLst>
              <a:ext uri="{FF2B5EF4-FFF2-40B4-BE49-F238E27FC236}">
                <a16:creationId xmlns:a16="http://schemas.microsoft.com/office/drawing/2014/main" id="{FECAD351-2738-4EED-BA9A-A670AF20E53D}"/>
              </a:ext>
            </a:extLst>
          </p:cNvPr>
          <p:cNvSpPr/>
          <p:nvPr/>
        </p:nvSpPr>
        <p:spPr>
          <a:xfrm>
            <a:off x="382998" y="106924"/>
            <a:ext cx="712915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a:ln>
                  <a:noFill/>
                </a:ln>
                <a:solidFill>
                  <a:srgbClr val="000000"/>
                </a:solidFill>
                <a:effectLst/>
                <a:uLnTx/>
                <a:uFillTx/>
                <a:latin typeface="Segoe UI"/>
                <a:ea typeface="+mn-ea"/>
                <a:cs typeface="+mn-cs"/>
              </a:rPr>
              <a:t>What are the solutions we would like to work with you</a:t>
            </a:r>
            <a:r>
              <a:rPr kumimoji="0" lang="hu-HU" sz="1800" b="0" i="0" u="none" strike="noStrike" kern="1200" cap="none" spc="0" normalizeH="0" baseline="0">
                <a:ln>
                  <a:noFill/>
                </a:ln>
                <a:solidFill>
                  <a:srgbClr val="000000"/>
                </a:solidFill>
                <a:effectLst/>
                <a:uLnTx/>
                <a:uFillTx/>
                <a:latin typeface="Segoe UI"/>
                <a:ea typeface="+mn-ea"/>
                <a:cs typeface="+mn-cs"/>
              </a:rPr>
              <a:t> on</a:t>
            </a:r>
            <a:r>
              <a:rPr kumimoji="0" lang="hu-HU" sz="1800" b="0" i="0" u="none" strike="noStrike" kern="1200" cap="none" spc="0" normalizeH="0" baseline="0" noProof="0">
                <a:ln>
                  <a:noFill/>
                </a:ln>
                <a:solidFill>
                  <a:srgbClr val="000000"/>
                </a:solidFill>
                <a:effectLst/>
                <a:uLnTx/>
                <a:uFillTx/>
                <a:latin typeface="Segoe UI"/>
                <a:ea typeface="+mn-ea"/>
                <a:cs typeface="+mn-cs"/>
              </a:rPr>
              <a:t>?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820682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Y20 Co-Sell Guide" descr="FY20 Co-sell Guide">
            <a:extLst>
              <a:ext uri="{FF2B5EF4-FFF2-40B4-BE49-F238E27FC236}">
                <a16:creationId xmlns:a16="http://schemas.microsoft.com/office/drawing/2014/main" id="{6CF67FE7-FDF2-485E-920B-C579DAED9632}"/>
              </a:ext>
            </a:extLst>
          </p:cNvPr>
          <p:cNvSpPr>
            <a:spLocks noGrp="1"/>
          </p:cNvSpPr>
          <p:nvPr>
            <p:ph type="title"/>
          </p:nvPr>
        </p:nvSpPr>
        <p:spPr>
          <a:xfrm>
            <a:off x="423848" y="2919262"/>
            <a:ext cx="9144000" cy="1661993"/>
          </a:xfrm>
        </p:spPr>
        <p:txBody>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hu-HU">
                <a:latin typeface="Segoe UI Semibold"/>
              </a:rPr>
              <a:t>Modern Work</a:t>
            </a:r>
            <a:br>
              <a:rPr lang="hu-HU">
                <a:latin typeface="Segoe UI Semibold"/>
              </a:rPr>
            </a:br>
            <a:br>
              <a:rPr lang="hu-HU">
                <a:latin typeface="Segoe UI Semibold"/>
              </a:rPr>
            </a:br>
            <a:r>
              <a:rPr lang="hu-HU">
                <a:latin typeface="Segoe UI Semibold"/>
              </a:rPr>
              <a:t>Szabolcs Lippé</a:t>
            </a:r>
            <a:endParaRPr kumimoji="0" lang="hu-HU" sz="9600" b="0" i="0" u="none" strike="noStrike" kern="1200" cap="none" spc="-50" normalizeH="0" baseline="0" noProof="0">
              <a:ln w="3175">
                <a:noFill/>
              </a:ln>
              <a:solidFill>
                <a:srgbClr val="50E6FF"/>
              </a:solidFill>
              <a:effectLst/>
              <a:uLnTx/>
              <a:uFillTx/>
              <a:latin typeface="Segoe UI Semibold"/>
              <a:ea typeface="+mn-ea"/>
              <a:cs typeface="Segoe UI" panose="020B0502040204020203" pitchFamily="34" charset="0"/>
            </a:endParaRPr>
          </a:p>
        </p:txBody>
      </p:sp>
      <p:pic>
        <p:nvPicPr>
          <p:cNvPr id="6" name="Co-sell graphic" descr="Connections">
            <a:extLst>
              <a:ext uri="{FF2B5EF4-FFF2-40B4-BE49-F238E27FC236}">
                <a16:creationId xmlns:a16="http://schemas.microsoft.com/office/drawing/2014/main" id="{E07770A4-D2E5-414E-9EE1-4890FFB473C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5535605" y="-82866"/>
            <a:ext cx="6826477" cy="6826477"/>
          </a:xfrm>
          <a:prstGeom prst="rect">
            <a:avLst/>
          </a:prstGeom>
        </p:spPr>
      </p:pic>
    </p:spTree>
    <p:extLst>
      <p:ext uri="{BB962C8B-B14F-4D97-AF65-F5344CB8AC3E}">
        <p14:creationId xmlns:p14="http://schemas.microsoft.com/office/powerpoint/2010/main" val="34220640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98B20-7C73-403A-A938-F2C51F7DE73E}"/>
              </a:ext>
            </a:extLst>
          </p:cNvPr>
          <p:cNvSpPr>
            <a:spLocks noGrp="1"/>
          </p:cNvSpPr>
          <p:nvPr>
            <p:ph type="title"/>
          </p:nvPr>
        </p:nvSpPr>
        <p:spPr>
          <a:xfrm>
            <a:off x="290370" y="146270"/>
            <a:ext cx="11655840" cy="899665"/>
          </a:xfrm>
        </p:spPr>
        <p:txBody>
          <a:bodyPr/>
          <a:lstStyle/>
          <a:p>
            <a:r>
              <a:rPr kumimoji="0" lang="en-US" sz="4000" b="0" i="0" u="none" strike="noStrike" kern="1200" cap="none" spc="-100" normalizeH="0" baseline="0" noProof="0">
                <a:ln w="3175">
                  <a:noFill/>
                </a:ln>
                <a:solidFill>
                  <a:srgbClr val="0078D7"/>
                </a:solidFill>
                <a:effectLst/>
                <a:uLnTx/>
                <a:uFillTx/>
                <a:latin typeface="Segoe UI Light"/>
                <a:ea typeface="+mn-ea"/>
                <a:cs typeface="Segoe UI" pitchFamily="34" charset="0"/>
              </a:rPr>
              <a:t>FY21 Objectives, Priorities and Sales Plays</a:t>
            </a:r>
            <a:endParaRPr lang="en-US" sz="4000"/>
          </a:p>
        </p:txBody>
      </p:sp>
      <p:graphicFrame>
        <p:nvGraphicFramePr>
          <p:cNvPr id="90" name="Table 90">
            <a:extLst>
              <a:ext uri="{FF2B5EF4-FFF2-40B4-BE49-F238E27FC236}">
                <a16:creationId xmlns:a16="http://schemas.microsoft.com/office/drawing/2014/main" id="{3EE023A5-AFF3-42A9-B5D6-A8116BD1D960}"/>
              </a:ext>
            </a:extLst>
          </p:cNvPr>
          <p:cNvGraphicFramePr>
            <a:graphicFrameLocks noGrp="1"/>
          </p:cNvGraphicFramePr>
          <p:nvPr>
            <p:extLst>
              <p:ext uri="{D42A27DB-BD31-4B8C-83A1-F6EECF244321}">
                <p14:modId xmlns:p14="http://schemas.microsoft.com/office/powerpoint/2010/main" val="1134511498"/>
              </p:ext>
            </p:extLst>
          </p:nvPr>
        </p:nvGraphicFramePr>
        <p:xfrm>
          <a:off x="269239" y="2105024"/>
          <a:ext cx="11655839" cy="4023360"/>
        </p:xfrm>
        <a:graphic>
          <a:graphicData uri="http://schemas.openxmlformats.org/drawingml/2006/table">
            <a:tbl>
              <a:tblPr firstRow="1" bandRow="1">
                <a:tableStyleId>{5C22544A-7EE6-4342-B048-85BDC9FD1C3A}</a:tableStyleId>
              </a:tblPr>
              <a:tblGrid>
                <a:gridCol w="2051174">
                  <a:extLst>
                    <a:ext uri="{9D8B030D-6E8A-4147-A177-3AD203B41FA5}">
                      <a16:colId xmlns:a16="http://schemas.microsoft.com/office/drawing/2014/main" val="3035459549"/>
                    </a:ext>
                  </a:extLst>
                </a:gridCol>
                <a:gridCol w="3201555">
                  <a:extLst>
                    <a:ext uri="{9D8B030D-6E8A-4147-A177-3AD203B41FA5}">
                      <a16:colId xmlns:a16="http://schemas.microsoft.com/office/drawing/2014/main" val="1060679134"/>
                    </a:ext>
                  </a:extLst>
                </a:gridCol>
                <a:gridCol w="3201555">
                  <a:extLst>
                    <a:ext uri="{9D8B030D-6E8A-4147-A177-3AD203B41FA5}">
                      <a16:colId xmlns:a16="http://schemas.microsoft.com/office/drawing/2014/main" val="3429464020"/>
                    </a:ext>
                  </a:extLst>
                </a:gridCol>
                <a:gridCol w="3201555">
                  <a:extLst>
                    <a:ext uri="{9D8B030D-6E8A-4147-A177-3AD203B41FA5}">
                      <a16:colId xmlns:a16="http://schemas.microsoft.com/office/drawing/2014/main" val="3151495174"/>
                    </a:ext>
                  </a:extLst>
                </a:gridCol>
              </a:tblGrid>
              <a:tr h="335411">
                <a:tc>
                  <a:txBody>
                    <a:bodyPr/>
                    <a:lstStyle/>
                    <a:p>
                      <a:endParaRPr lang="en-US"/>
                    </a:p>
                  </a:txBody>
                  <a:tcPr>
                    <a:lnR w="12700" cap="flat" cmpd="sng" algn="ctr">
                      <a:no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a:r>
                        <a:rPr lang="en-US" sz="2400" b="0">
                          <a:solidFill>
                            <a:srgbClr val="0070C0"/>
                          </a:solidFill>
                          <a:latin typeface="+mj-lt"/>
                        </a:rPr>
                        <a:t>Business Objectiv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0">
                          <a:solidFill>
                            <a:srgbClr val="0070C0"/>
                          </a:solidFill>
                          <a:latin typeface="+mj-lt"/>
                        </a:rPr>
                        <a:t>Priorities</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0">
                          <a:solidFill>
                            <a:srgbClr val="0070C0"/>
                          </a:solidFill>
                          <a:latin typeface="+mj-lt"/>
                        </a:rPr>
                        <a:t>Sales Plays</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4537610"/>
                  </a:ext>
                </a:extLst>
              </a:tr>
              <a:tr h="1188720">
                <a:tc rowSpan="3">
                  <a:txBody>
                    <a:bodyPr/>
                    <a:lstStyle/>
                    <a:p>
                      <a:endParaRPr lang="en-US"/>
                    </a:p>
                  </a:txBody>
                  <a:tcPr>
                    <a:lnT w="12700" cap="flat" cmpd="sng" algn="ctr">
                      <a:solidFill>
                        <a:schemeClr val="bg1"/>
                      </a:solidFill>
                      <a:prstDash val="solid"/>
                      <a:round/>
                      <a:headEnd type="none" w="med" len="med"/>
                      <a:tailEnd type="none" w="med" len="med"/>
                    </a:lnT>
                    <a:solidFill>
                      <a:schemeClr val="tx2"/>
                    </a:solidFill>
                  </a:tcPr>
                </a:tc>
                <a:tc rowSpan="3">
                  <a:txBody>
                    <a:bodyPr/>
                    <a:lstStyle/>
                    <a:p>
                      <a:pPr lvl="0" defTabSz="941250">
                        <a:spcBef>
                          <a:spcPts val="1200"/>
                        </a:spcBef>
                        <a:defRPr/>
                      </a:pPr>
                      <a:r>
                        <a:rPr lang="en-US" sz="1600" kern="0">
                          <a:solidFill>
                            <a:schemeClr val="tx2"/>
                          </a:solidFill>
                          <a:latin typeface="Segoe UI Semibold"/>
                          <a:cs typeface="Segoe UI Semibold"/>
                        </a:rPr>
                        <a:t>Grow Usage</a:t>
                      </a:r>
                    </a:p>
                    <a:p>
                      <a:pPr defTabSz="941250">
                        <a:spcBef>
                          <a:spcPts val="1200"/>
                        </a:spcBef>
                        <a:defRPr/>
                      </a:pPr>
                      <a:r>
                        <a:rPr lang="en-US" sz="1400" spc="-40">
                          <a:solidFill>
                            <a:srgbClr val="000000"/>
                          </a:solidFill>
                          <a:latin typeface="Segoe UI"/>
                        </a:rPr>
                        <a:t>Grow usage of Teams, Identity, and establish customer health across Microsoft 365</a:t>
                      </a:r>
                      <a:endParaRPr lang="en-US" sz="1400" kern="0">
                        <a:solidFill>
                          <a:schemeClr val="tx2"/>
                        </a:solidFill>
                        <a:latin typeface="Segoe UI Semibold"/>
                        <a:cs typeface="Segoe UI Semibold"/>
                      </a:endParaRPr>
                    </a:p>
                    <a:p>
                      <a:pPr lvl="0" defTabSz="941250">
                        <a:spcBef>
                          <a:spcPts val="1200"/>
                        </a:spcBef>
                        <a:defRPr/>
                      </a:pPr>
                      <a:r>
                        <a:rPr lang="en-US" sz="1600" kern="0">
                          <a:solidFill>
                            <a:schemeClr val="tx2"/>
                          </a:solidFill>
                          <a:latin typeface="Segoe UI Semibold"/>
                          <a:cs typeface="Segoe UI Semibold"/>
                        </a:rPr>
                        <a:t>Increase Premium Mix</a:t>
                      </a:r>
                    </a:p>
                    <a:p>
                      <a:pPr lvl="0" defTabSz="941250">
                        <a:spcBef>
                          <a:spcPts val="1200"/>
                        </a:spcBef>
                        <a:defRPr/>
                      </a:pPr>
                      <a:r>
                        <a:rPr lang="en-US" sz="1400" kern="1200" spc="-40">
                          <a:solidFill>
                            <a:srgbClr val="000000"/>
                          </a:solidFill>
                          <a:latin typeface="Segoe UI"/>
                          <a:ea typeface="+mn-ea"/>
                          <a:cs typeface="+mn-cs"/>
                        </a:rPr>
                        <a:t>Upsell to Microsoft 365 suites and E5 by helping customers consolidate vendors and save cost</a:t>
                      </a:r>
                    </a:p>
                    <a:p>
                      <a:pPr lvl="0" defTabSz="941250">
                        <a:spcBef>
                          <a:spcPts val="1200"/>
                        </a:spcBef>
                        <a:defRPr/>
                      </a:pPr>
                      <a:r>
                        <a:rPr lang="en-US" sz="1600" kern="0">
                          <a:solidFill>
                            <a:schemeClr val="tx2"/>
                          </a:solidFill>
                          <a:latin typeface="Segoe UI Semibold"/>
                          <a:cs typeface="Segoe UI Semibold"/>
                        </a:rPr>
                        <a:t>Drive Seats and </a:t>
                      </a:r>
                      <a:r>
                        <a:rPr lang="en-US" sz="1600" kern="0">
                          <a:solidFill>
                            <a:schemeClr val="tx2"/>
                          </a:solidFill>
                          <a:latin typeface="Segoe UI Semibold"/>
                          <a:ea typeface="+mn-ea"/>
                          <a:cs typeface="Segoe UI Semibold"/>
                        </a:rPr>
                        <a:t>Devices</a:t>
                      </a:r>
                    </a:p>
                    <a:p>
                      <a:pPr lvl="0" defTabSz="941250">
                        <a:spcBef>
                          <a:spcPts val="1200"/>
                        </a:spcBef>
                        <a:defRPr/>
                      </a:pPr>
                      <a:r>
                        <a:rPr lang="en-US" sz="1400" kern="1200" spc="-40">
                          <a:solidFill>
                            <a:srgbClr val="000000"/>
                          </a:solidFill>
                          <a:latin typeface="Segoe UI"/>
                          <a:ea typeface="+mn-ea"/>
                          <a:cs typeface="+mn-cs"/>
                        </a:rPr>
                        <a:t>Increase users, Firstline workers and Surface</a:t>
                      </a:r>
                    </a:p>
                  </a:txBody>
                  <a:tcPr anchor="ctr">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bg1">
                        <a:lumMod val="95000"/>
                      </a:schemeClr>
                    </a:solidFill>
                  </a:tcPr>
                </a:tc>
                <a:tc>
                  <a:txBody>
                    <a:bodyPr/>
                    <a:lstStyle/>
                    <a:p>
                      <a:r>
                        <a:rPr lang="en-US" sz="1400" kern="0">
                          <a:solidFill>
                            <a:schemeClr val="tx1"/>
                          </a:solidFill>
                          <a:latin typeface="Segoe UI Semibold"/>
                          <a:ea typeface="+mn-ea"/>
                          <a:cs typeface="Segoe UI Semibold"/>
                        </a:rPr>
                        <a:t>Secure Remote Work</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bg1">
                        <a:lumMod val="95000"/>
                      </a:schemeClr>
                    </a:solidFill>
                  </a:tcPr>
                </a:tc>
                <a:tc>
                  <a:txBody>
                    <a:bodyPr/>
                    <a:lstStyle/>
                    <a:p>
                      <a:pPr>
                        <a:spcBef>
                          <a:spcPts val="300"/>
                        </a:spcBef>
                        <a:spcAft>
                          <a:spcPts val="300"/>
                        </a:spcAft>
                      </a:pPr>
                      <a:r>
                        <a:rPr lang="en-US" sz="1400" kern="0">
                          <a:solidFill>
                            <a:schemeClr val="tx1"/>
                          </a:solidFill>
                          <a:latin typeface="Segoe UI Semibold"/>
                          <a:ea typeface="+mn-ea"/>
                          <a:cs typeface="Segoe UI Semibold"/>
                        </a:rPr>
                        <a:t>Teams Meetings &amp; Calling</a:t>
                      </a:r>
                      <a:endParaRPr lang="en-US" sz="1400" kern="0">
                        <a:solidFill>
                          <a:srgbClr val="FF0000"/>
                        </a:solidFill>
                        <a:latin typeface="Segoe UI Semibold"/>
                        <a:ea typeface="+mn-ea"/>
                        <a:cs typeface="Segoe UI Semibold"/>
                      </a:endParaRPr>
                    </a:p>
                    <a:p>
                      <a:pPr>
                        <a:spcBef>
                          <a:spcPts val="300"/>
                        </a:spcBef>
                        <a:spcAft>
                          <a:spcPts val="300"/>
                        </a:spcAft>
                      </a:pPr>
                      <a:r>
                        <a:rPr lang="en-US" sz="1400" kern="0">
                          <a:solidFill>
                            <a:schemeClr val="tx1"/>
                          </a:solidFill>
                          <a:latin typeface="Segoe UI Semibold"/>
                          <a:ea typeface="+mn-ea"/>
                          <a:cs typeface="Segoe UI Semibold"/>
                        </a:rPr>
                        <a:t>Surface and Partner Devices</a:t>
                      </a:r>
                    </a:p>
                    <a:p>
                      <a:pPr>
                        <a:spcBef>
                          <a:spcPts val="300"/>
                        </a:spcBef>
                        <a:spcAft>
                          <a:spcPts val="300"/>
                        </a:spcAft>
                      </a:pPr>
                      <a:r>
                        <a:rPr lang="en-US" sz="1400" kern="0">
                          <a:solidFill>
                            <a:schemeClr val="tx1"/>
                          </a:solidFill>
                          <a:latin typeface="Segoe UI" panose="020B0502040204020203" pitchFamily="34" charset="0"/>
                          <a:ea typeface="+mn-ea"/>
                          <a:cs typeface="Segoe UI" panose="020B0502040204020203" pitchFamily="34" charset="0"/>
                        </a:rPr>
                        <a:t>Security</a:t>
                      </a:r>
                    </a:p>
                  </a:txBody>
                  <a:tcPr anchor="ctr">
                    <a:lnL w="28575"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69074127"/>
                  </a:ext>
                </a:extLst>
              </a:tr>
              <a:tr h="1188720">
                <a:tc vMerge="1">
                  <a:txBody>
                    <a:bodyPr/>
                    <a:lstStyle/>
                    <a:p>
                      <a:endParaRPr lang="en-US"/>
                    </a:p>
                  </a:txBody>
                  <a:tcPr/>
                </a:tc>
                <a:tc vMerge="1">
                  <a:txBody>
                    <a:bodyPr/>
                    <a:lstStyle/>
                    <a:p>
                      <a:endParaRPr lang="en-US"/>
                    </a:p>
                  </a:txBody>
                  <a:tcPr/>
                </a:tc>
                <a:tc>
                  <a:txBody>
                    <a:bodyPr/>
                    <a:lstStyle/>
                    <a:p>
                      <a:r>
                        <a:rPr lang="en-US" sz="1400" kern="0">
                          <a:solidFill>
                            <a:schemeClr val="tx1"/>
                          </a:solidFill>
                          <a:latin typeface="Segoe UI Semibold"/>
                          <a:ea typeface="+mn-ea"/>
                          <a:cs typeface="Segoe UI Semibold"/>
                        </a:rPr>
                        <a:t>Reduce Cost and Manage Risk</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bg1">
                        <a:lumMod val="95000"/>
                      </a:schemeClr>
                    </a:solidFill>
                  </a:tcPr>
                </a:tc>
                <a:tc>
                  <a:txBody>
                    <a:bodyPr/>
                    <a:lstStyle/>
                    <a:p>
                      <a:pPr>
                        <a:spcBef>
                          <a:spcPts val="300"/>
                        </a:spcBef>
                        <a:spcAft>
                          <a:spcPts val="300"/>
                        </a:spcAft>
                      </a:pPr>
                      <a:r>
                        <a:rPr lang="en-US" sz="1400" kern="0">
                          <a:solidFill>
                            <a:schemeClr val="tx1"/>
                          </a:solidFill>
                          <a:latin typeface="Segoe UI Semibold"/>
                          <a:ea typeface="+mn-ea"/>
                          <a:cs typeface="Segoe UI Semibold"/>
                        </a:rPr>
                        <a:t>Security</a:t>
                      </a:r>
                    </a:p>
                    <a:p>
                      <a:pPr marL="0" algn="l" defTabSz="914192" rtl="0" eaLnBrk="1" latinLnBrk="0" hangingPunct="1">
                        <a:spcBef>
                          <a:spcPts val="300"/>
                        </a:spcBef>
                        <a:spcAft>
                          <a:spcPts val="300"/>
                        </a:spcAft>
                      </a:pPr>
                      <a:r>
                        <a:rPr lang="en-US" sz="1400" kern="0">
                          <a:solidFill>
                            <a:schemeClr val="tx1"/>
                          </a:solidFill>
                          <a:latin typeface="Segoe UI" panose="020B0502040204020203" pitchFamily="34" charset="0"/>
                          <a:ea typeface="+mn-ea"/>
                          <a:cs typeface="Segoe UI" panose="020B0502040204020203" pitchFamily="34" charset="0"/>
                        </a:rPr>
                        <a:t>Teams Meetings &amp; Calling</a:t>
                      </a:r>
                    </a:p>
                    <a:p>
                      <a:pPr marL="0" algn="l" defTabSz="914192" rtl="0" eaLnBrk="1" latinLnBrk="0" hangingPunct="1">
                        <a:spcBef>
                          <a:spcPts val="300"/>
                        </a:spcBef>
                        <a:spcAft>
                          <a:spcPts val="300"/>
                        </a:spcAft>
                      </a:pPr>
                      <a:r>
                        <a:rPr lang="en-US" sz="1400" kern="0">
                          <a:solidFill>
                            <a:schemeClr val="tx1"/>
                          </a:solidFill>
                          <a:latin typeface="Segoe UI" panose="020B0502040204020203" pitchFamily="34" charset="0"/>
                          <a:ea typeface="+mn-ea"/>
                          <a:cs typeface="Segoe UI" panose="020B0502040204020203" pitchFamily="34" charset="0"/>
                        </a:rPr>
                        <a:t>Compliance</a:t>
                      </a:r>
                    </a:p>
                  </a:txBody>
                  <a:tcPr anchor="ctr">
                    <a:lnL w="28575" cap="flat" cmpd="sng" algn="ctr">
                      <a:solidFill>
                        <a:schemeClr val="bg1"/>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3507156461"/>
                  </a:ext>
                </a:extLst>
              </a:tr>
              <a:tr h="1188720">
                <a:tc vMerge="1">
                  <a:txBody>
                    <a:bodyPr/>
                    <a:lstStyle/>
                    <a:p>
                      <a:endParaRPr lang="en-US"/>
                    </a:p>
                  </a:txBody>
                  <a:tcPr/>
                </a:tc>
                <a:tc vMerge="1">
                  <a:txBody>
                    <a:bodyPr/>
                    <a:lstStyle/>
                    <a:p>
                      <a:endParaRPr lang="en-US"/>
                    </a:p>
                  </a:txBody>
                  <a:tcPr/>
                </a:tc>
                <a:tc>
                  <a:txBody>
                    <a:bodyPr/>
                    <a:lstStyle/>
                    <a:p>
                      <a:r>
                        <a:rPr lang="en-US" sz="1400" kern="0">
                          <a:solidFill>
                            <a:schemeClr val="tx1"/>
                          </a:solidFill>
                          <a:latin typeface="Segoe UI Semibold"/>
                          <a:ea typeface="+mn-ea"/>
                          <a:cs typeface="Segoe UI Semibold"/>
                        </a:rPr>
                        <a:t>Transform Organization Productivit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bg1">
                        <a:lumMod val="95000"/>
                      </a:schemeClr>
                    </a:solidFill>
                  </a:tcPr>
                </a:tc>
                <a:tc>
                  <a:txBody>
                    <a:bodyPr/>
                    <a:lstStyle/>
                    <a:p>
                      <a:pPr>
                        <a:spcBef>
                          <a:spcPts val="300"/>
                        </a:spcBef>
                        <a:spcAft>
                          <a:spcPts val="300"/>
                        </a:spcAft>
                      </a:pPr>
                      <a:r>
                        <a:rPr lang="en-US" sz="1400" kern="0">
                          <a:solidFill>
                            <a:schemeClr val="tx1"/>
                          </a:solidFill>
                          <a:latin typeface="Segoe UI Semibold"/>
                          <a:ea typeface="+mn-ea"/>
                          <a:cs typeface="Segoe UI Semibold"/>
                        </a:rPr>
                        <a:t>Teams Platform</a:t>
                      </a:r>
                    </a:p>
                    <a:p>
                      <a:pPr marL="0" algn="l" defTabSz="914192" rtl="0" eaLnBrk="1" latinLnBrk="0" hangingPunct="1">
                        <a:spcBef>
                          <a:spcPts val="300"/>
                        </a:spcBef>
                        <a:spcAft>
                          <a:spcPts val="300"/>
                        </a:spcAft>
                      </a:pPr>
                      <a:r>
                        <a:rPr lang="en-US" sz="1400" kern="0">
                          <a:solidFill>
                            <a:schemeClr val="tx1"/>
                          </a:solidFill>
                          <a:latin typeface="Segoe UI Semibold"/>
                          <a:ea typeface="+mn-ea"/>
                          <a:cs typeface="Segoe UI Semibold"/>
                        </a:rPr>
                        <a:t>Firstline Worker</a:t>
                      </a:r>
                    </a:p>
                    <a:p>
                      <a:pPr marL="0" algn="l" defTabSz="914192" rtl="0" eaLnBrk="1" latinLnBrk="0" hangingPunct="1">
                        <a:spcBef>
                          <a:spcPts val="300"/>
                        </a:spcBef>
                        <a:spcAft>
                          <a:spcPts val="300"/>
                        </a:spcAft>
                      </a:pPr>
                      <a:r>
                        <a:rPr lang="en-US" sz="1400" kern="0">
                          <a:solidFill>
                            <a:schemeClr val="tx1"/>
                          </a:solidFill>
                          <a:latin typeface="Segoe UI" panose="020B0502040204020203" pitchFamily="34" charset="0"/>
                          <a:ea typeface="+mn-ea"/>
                          <a:cs typeface="Segoe UI" panose="020B0502040204020203" pitchFamily="34" charset="0"/>
                        </a:rPr>
                        <a:t>Knowledge and Insights</a:t>
                      </a:r>
                    </a:p>
                    <a:p>
                      <a:pPr marL="0" algn="l" defTabSz="914192" rtl="0" eaLnBrk="1" latinLnBrk="0" hangingPunct="1">
                        <a:spcBef>
                          <a:spcPts val="300"/>
                        </a:spcBef>
                        <a:spcAft>
                          <a:spcPts val="300"/>
                        </a:spcAft>
                      </a:pPr>
                      <a:r>
                        <a:rPr lang="en-US" sz="1400" kern="0">
                          <a:solidFill>
                            <a:schemeClr val="tx1"/>
                          </a:solidFill>
                          <a:latin typeface="Segoe UI" panose="020B0502040204020203" pitchFamily="34" charset="0"/>
                          <a:ea typeface="+mn-ea"/>
                          <a:cs typeface="Segoe UI" panose="020B0502040204020203" pitchFamily="34" charset="0"/>
                        </a:rPr>
                        <a:t>Surface and Partner Devices</a:t>
                      </a:r>
                    </a:p>
                  </a:txBody>
                  <a:tcPr anchor="ctr">
                    <a:lnL w="28575" cap="flat" cmpd="sng" algn="ctr">
                      <a:solidFill>
                        <a:schemeClr val="bg1"/>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4161176306"/>
                  </a:ext>
                </a:extLst>
              </a:tr>
            </a:tbl>
          </a:graphicData>
        </a:graphic>
      </p:graphicFrame>
      <p:sp>
        <p:nvSpPr>
          <p:cNvPr id="93" name="Rectangle: Rounded Corners 21">
            <a:extLst>
              <a:ext uri="{FF2B5EF4-FFF2-40B4-BE49-F238E27FC236}">
                <a16:creationId xmlns:a16="http://schemas.microsoft.com/office/drawing/2014/main" id="{25702D3C-6BF3-48D6-BFA0-5553D2C47F2F}"/>
              </a:ext>
            </a:extLst>
          </p:cNvPr>
          <p:cNvSpPr/>
          <p:nvPr/>
        </p:nvSpPr>
        <p:spPr bwMode="auto">
          <a:xfrm>
            <a:off x="9456680" y="2056305"/>
            <a:ext cx="1737360" cy="50959"/>
          </a:xfrm>
          <a:custGeom>
            <a:avLst/>
            <a:gdLst>
              <a:gd name="connsiteX0" fmla="*/ 0 w 773464"/>
              <a:gd name="connsiteY0" fmla="*/ 50959 h 101918"/>
              <a:gd name="connsiteX1" fmla="*/ 50959 w 773464"/>
              <a:gd name="connsiteY1" fmla="*/ 0 h 101918"/>
              <a:gd name="connsiteX2" fmla="*/ 722505 w 773464"/>
              <a:gd name="connsiteY2" fmla="*/ 0 h 101918"/>
              <a:gd name="connsiteX3" fmla="*/ 773464 w 773464"/>
              <a:gd name="connsiteY3" fmla="*/ 50959 h 101918"/>
              <a:gd name="connsiteX4" fmla="*/ 773464 w 773464"/>
              <a:gd name="connsiteY4" fmla="*/ 50959 h 101918"/>
              <a:gd name="connsiteX5" fmla="*/ 722505 w 773464"/>
              <a:gd name="connsiteY5" fmla="*/ 101918 h 101918"/>
              <a:gd name="connsiteX6" fmla="*/ 50959 w 773464"/>
              <a:gd name="connsiteY6" fmla="*/ 101918 h 101918"/>
              <a:gd name="connsiteX7" fmla="*/ 0 w 773464"/>
              <a:gd name="connsiteY7" fmla="*/ 50959 h 101918"/>
              <a:gd name="connsiteX0" fmla="*/ 50959 w 773464"/>
              <a:gd name="connsiteY0" fmla="*/ 101918 h 193358"/>
              <a:gd name="connsiteX1" fmla="*/ 0 w 773464"/>
              <a:gd name="connsiteY1" fmla="*/ 50959 h 193358"/>
              <a:gd name="connsiteX2" fmla="*/ 50959 w 773464"/>
              <a:gd name="connsiteY2" fmla="*/ 0 h 193358"/>
              <a:gd name="connsiteX3" fmla="*/ 722505 w 773464"/>
              <a:gd name="connsiteY3" fmla="*/ 0 h 193358"/>
              <a:gd name="connsiteX4" fmla="*/ 773464 w 773464"/>
              <a:gd name="connsiteY4" fmla="*/ 50959 h 193358"/>
              <a:gd name="connsiteX5" fmla="*/ 773464 w 773464"/>
              <a:gd name="connsiteY5" fmla="*/ 50959 h 193358"/>
              <a:gd name="connsiteX6" fmla="*/ 722505 w 773464"/>
              <a:gd name="connsiteY6" fmla="*/ 101918 h 193358"/>
              <a:gd name="connsiteX7" fmla="*/ 142399 w 773464"/>
              <a:gd name="connsiteY7" fmla="*/ 193358 h 193358"/>
              <a:gd name="connsiteX0" fmla="*/ 50959 w 773464"/>
              <a:gd name="connsiteY0" fmla="*/ 101918 h 101918"/>
              <a:gd name="connsiteX1" fmla="*/ 0 w 773464"/>
              <a:gd name="connsiteY1" fmla="*/ 50959 h 101918"/>
              <a:gd name="connsiteX2" fmla="*/ 50959 w 773464"/>
              <a:gd name="connsiteY2" fmla="*/ 0 h 101918"/>
              <a:gd name="connsiteX3" fmla="*/ 722505 w 773464"/>
              <a:gd name="connsiteY3" fmla="*/ 0 h 101918"/>
              <a:gd name="connsiteX4" fmla="*/ 773464 w 773464"/>
              <a:gd name="connsiteY4" fmla="*/ 50959 h 101918"/>
              <a:gd name="connsiteX5" fmla="*/ 773464 w 773464"/>
              <a:gd name="connsiteY5" fmla="*/ 50959 h 101918"/>
              <a:gd name="connsiteX6" fmla="*/ 722505 w 773464"/>
              <a:gd name="connsiteY6" fmla="*/ 101918 h 101918"/>
              <a:gd name="connsiteX0" fmla="*/ 0 w 773464"/>
              <a:gd name="connsiteY0" fmla="*/ 50959 h 101918"/>
              <a:gd name="connsiteX1" fmla="*/ 50959 w 773464"/>
              <a:gd name="connsiteY1" fmla="*/ 0 h 101918"/>
              <a:gd name="connsiteX2" fmla="*/ 722505 w 773464"/>
              <a:gd name="connsiteY2" fmla="*/ 0 h 101918"/>
              <a:gd name="connsiteX3" fmla="*/ 773464 w 773464"/>
              <a:gd name="connsiteY3" fmla="*/ 50959 h 101918"/>
              <a:gd name="connsiteX4" fmla="*/ 773464 w 773464"/>
              <a:gd name="connsiteY4" fmla="*/ 50959 h 101918"/>
              <a:gd name="connsiteX5" fmla="*/ 722505 w 773464"/>
              <a:gd name="connsiteY5" fmla="*/ 101918 h 101918"/>
              <a:gd name="connsiteX0" fmla="*/ 0 w 773464"/>
              <a:gd name="connsiteY0" fmla="*/ 50959 h 50959"/>
              <a:gd name="connsiteX1" fmla="*/ 50959 w 773464"/>
              <a:gd name="connsiteY1" fmla="*/ 0 h 50959"/>
              <a:gd name="connsiteX2" fmla="*/ 722505 w 773464"/>
              <a:gd name="connsiteY2" fmla="*/ 0 h 50959"/>
              <a:gd name="connsiteX3" fmla="*/ 773464 w 773464"/>
              <a:gd name="connsiteY3" fmla="*/ 50959 h 50959"/>
              <a:gd name="connsiteX4" fmla="*/ 773464 w 773464"/>
              <a:gd name="connsiteY4" fmla="*/ 50959 h 50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464" h="50959">
                <a:moveTo>
                  <a:pt x="0" y="50959"/>
                </a:moveTo>
                <a:cubicBezTo>
                  <a:pt x="0" y="22815"/>
                  <a:pt x="22815" y="0"/>
                  <a:pt x="50959" y="0"/>
                </a:cubicBezTo>
                <a:lnTo>
                  <a:pt x="722505" y="0"/>
                </a:lnTo>
                <a:cubicBezTo>
                  <a:pt x="750649" y="0"/>
                  <a:pt x="773464" y="22815"/>
                  <a:pt x="773464" y="50959"/>
                </a:cubicBezTo>
                <a:lnTo>
                  <a:pt x="773464" y="50959"/>
                </a:lnTo>
              </a:path>
            </a:pathLst>
          </a:custGeom>
          <a:solidFill>
            <a:schemeClr val="tx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Rounded Corners 21">
            <a:extLst>
              <a:ext uri="{FF2B5EF4-FFF2-40B4-BE49-F238E27FC236}">
                <a16:creationId xmlns:a16="http://schemas.microsoft.com/office/drawing/2014/main" id="{142B766D-0948-448E-BCDE-70335C6E350C}"/>
              </a:ext>
            </a:extLst>
          </p:cNvPr>
          <p:cNvSpPr/>
          <p:nvPr/>
        </p:nvSpPr>
        <p:spPr bwMode="auto">
          <a:xfrm>
            <a:off x="6261769" y="2056305"/>
            <a:ext cx="1737360" cy="50959"/>
          </a:xfrm>
          <a:custGeom>
            <a:avLst/>
            <a:gdLst>
              <a:gd name="connsiteX0" fmla="*/ 0 w 773464"/>
              <a:gd name="connsiteY0" fmla="*/ 50959 h 101918"/>
              <a:gd name="connsiteX1" fmla="*/ 50959 w 773464"/>
              <a:gd name="connsiteY1" fmla="*/ 0 h 101918"/>
              <a:gd name="connsiteX2" fmla="*/ 722505 w 773464"/>
              <a:gd name="connsiteY2" fmla="*/ 0 h 101918"/>
              <a:gd name="connsiteX3" fmla="*/ 773464 w 773464"/>
              <a:gd name="connsiteY3" fmla="*/ 50959 h 101918"/>
              <a:gd name="connsiteX4" fmla="*/ 773464 w 773464"/>
              <a:gd name="connsiteY4" fmla="*/ 50959 h 101918"/>
              <a:gd name="connsiteX5" fmla="*/ 722505 w 773464"/>
              <a:gd name="connsiteY5" fmla="*/ 101918 h 101918"/>
              <a:gd name="connsiteX6" fmla="*/ 50959 w 773464"/>
              <a:gd name="connsiteY6" fmla="*/ 101918 h 101918"/>
              <a:gd name="connsiteX7" fmla="*/ 0 w 773464"/>
              <a:gd name="connsiteY7" fmla="*/ 50959 h 101918"/>
              <a:gd name="connsiteX0" fmla="*/ 50959 w 773464"/>
              <a:gd name="connsiteY0" fmla="*/ 101918 h 193358"/>
              <a:gd name="connsiteX1" fmla="*/ 0 w 773464"/>
              <a:gd name="connsiteY1" fmla="*/ 50959 h 193358"/>
              <a:gd name="connsiteX2" fmla="*/ 50959 w 773464"/>
              <a:gd name="connsiteY2" fmla="*/ 0 h 193358"/>
              <a:gd name="connsiteX3" fmla="*/ 722505 w 773464"/>
              <a:gd name="connsiteY3" fmla="*/ 0 h 193358"/>
              <a:gd name="connsiteX4" fmla="*/ 773464 w 773464"/>
              <a:gd name="connsiteY4" fmla="*/ 50959 h 193358"/>
              <a:gd name="connsiteX5" fmla="*/ 773464 w 773464"/>
              <a:gd name="connsiteY5" fmla="*/ 50959 h 193358"/>
              <a:gd name="connsiteX6" fmla="*/ 722505 w 773464"/>
              <a:gd name="connsiteY6" fmla="*/ 101918 h 193358"/>
              <a:gd name="connsiteX7" fmla="*/ 142399 w 773464"/>
              <a:gd name="connsiteY7" fmla="*/ 193358 h 193358"/>
              <a:gd name="connsiteX0" fmla="*/ 50959 w 773464"/>
              <a:gd name="connsiteY0" fmla="*/ 101918 h 101918"/>
              <a:gd name="connsiteX1" fmla="*/ 0 w 773464"/>
              <a:gd name="connsiteY1" fmla="*/ 50959 h 101918"/>
              <a:gd name="connsiteX2" fmla="*/ 50959 w 773464"/>
              <a:gd name="connsiteY2" fmla="*/ 0 h 101918"/>
              <a:gd name="connsiteX3" fmla="*/ 722505 w 773464"/>
              <a:gd name="connsiteY3" fmla="*/ 0 h 101918"/>
              <a:gd name="connsiteX4" fmla="*/ 773464 w 773464"/>
              <a:gd name="connsiteY4" fmla="*/ 50959 h 101918"/>
              <a:gd name="connsiteX5" fmla="*/ 773464 w 773464"/>
              <a:gd name="connsiteY5" fmla="*/ 50959 h 101918"/>
              <a:gd name="connsiteX6" fmla="*/ 722505 w 773464"/>
              <a:gd name="connsiteY6" fmla="*/ 101918 h 101918"/>
              <a:gd name="connsiteX0" fmla="*/ 0 w 773464"/>
              <a:gd name="connsiteY0" fmla="*/ 50959 h 101918"/>
              <a:gd name="connsiteX1" fmla="*/ 50959 w 773464"/>
              <a:gd name="connsiteY1" fmla="*/ 0 h 101918"/>
              <a:gd name="connsiteX2" fmla="*/ 722505 w 773464"/>
              <a:gd name="connsiteY2" fmla="*/ 0 h 101918"/>
              <a:gd name="connsiteX3" fmla="*/ 773464 w 773464"/>
              <a:gd name="connsiteY3" fmla="*/ 50959 h 101918"/>
              <a:gd name="connsiteX4" fmla="*/ 773464 w 773464"/>
              <a:gd name="connsiteY4" fmla="*/ 50959 h 101918"/>
              <a:gd name="connsiteX5" fmla="*/ 722505 w 773464"/>
              <a:gd name="connsiteY5" fmla="*/ 101918 h 101918"/>
              <a:gd name="connsiteX0" fmla="*/ 0 w 773464"/>
              <a:gd name="connsiteY0" fmla="*/ 50959 h 50959"/>
              <a:gd name="connsiteX1" fmla="*/ 50959 w 773464"/>
              <a:gd name="connsiteY1" fmla="*/ 0 h 50959"/>
              <a:gd name="connsiteX2" fmla="*/ 722505 w 773464"/>
              <a:gd name="connsiteY2" fmla="*/ 0 h 50959"/>
              <a:gd name="connsiteX3" fmla="*/ 773464 w 773464"/>
              <a:gd name="connsiteY3" fmla="*/ 50959 h 50959"/>
              <a:gd name="connsiteX4" fmla="*/ 773464 w 773464"/>
              <a:gd name="connsiteY4" fmla="*/ 50959 h 50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464" h="50959">
                <a:moveTo>
                  <a:pt x="0" y="50959"/>
                </a:moveTo>
                <a:cubicBezTo>
                  <a:pt x="0" y="22815"/>
                  <a:pt x="22815" y="0"/>
                  <a:pt x="50959" y="0"/>
                </a:cubicBezTo>
                <a:lnTo>
                  <a:pt x="722505" y="0"/>
                </a:lnTo>
                <a:cubicBezTo>
                  <a:pt x="750649" y="0"/>
                  <a:pt x="773464" y="22815"/>
                  <a:pt x="773464" y="50959"/>
                </a:cubicBezTo>
                <a:lnTo>
                  <a:pt x="773464" y="50959"/>
                </a:lnTo>
              </a:path>
            </a:pathLst>
          </a:custGeom>
          <a:solidFill>
            <a:schemeClr val="tx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Rounded Corners 21">
            <a:extLst>
              <a:ext uri="{FF2B5EF4-FFF2-40B4-BE49-F238E27FC236}">
                <a16:creationId xmlns:a16="http://schemas.microsoft.com/office/drawing/2014/main" id="{ED8B7C74-678C-4C6C-BDF4-A7A749705A40}"/>
              </a:ext>
            </a:extLst>
          </p:cNvPr>
          <p:cNvSpPr/>
          <p:nvPr/>
        </p:nvSpPr>
        <p:spPr bwMode="auto">
          <a:xfrm>
            <a:off x="3066857" y="2056305"/>
            <a:ext cx="1737360" cy="50959"/>
          </a:xfrm>
          <a:custGeom>
            <a:avLst/>
            <a:gdLst>
              <a:gd name="connsiteX0" fmla="*/ 0 w 773464"/>
              <a:gd name="connsiteY0" fmla="*/ 50959 h 101918"/>
              <a:gd name="connsiteX1" fmla="*/ 50959 w 773464"/>
              <a:gd name="connsiteY1" fmla="*/ 0 h 101918"/>
              <a:gd name="connsiteX2" fmla="*/ 722505 w 773464"/>
              <a:gd name="connsiteY2" fmla="*/ 0 h 101918"/>
              <a:gd name="connsiteX3" fmla="*/ 773464 w 773464"/>
              <a:gd name="connsiteY3" fmla="*/ 50959 h 101918"/>
              <a:gd name="connsiteX4" fmla="*/ 773464 w 773464"/>
              <a:gd name="connsiteY4" fmla="*/ 50959 h 101918"/>
              <a:gd name="connsiteX5" fmla="*/ 722505 w 773464"/>
              <a:gd name="connsiteY5" fmla="*/ 101918 h 101918"/>
              <a:gd name="connsiteX6" fmla="*/ 50959 w 773464"/>
              <a:gd name="connsiteY6" fmla="*/ 101918 h 101918"/>
              <a:gd name="connsiteX7" fmla="*/ 0 w 773464"/>
              <a:gd name="connsiteY7" fmla="*/ 50959 h 101918"/>
              <a:gd name="connsiteX0" fmla="*/ 50959 w 773464"/>
              <a:gd name="connsiteY0" fmla="*/ 101918 h 193358"/>
              <a:gd name="connsiteX1" fmla="*/ 0 w 773464"/>
              <a:gd name="connsiteY1" fmla="*/ 50959 h 193358"/>
              <a:gd name="connsiteX2" fmla="*/ 50959 w 773464"/>
              <a:gd name="connsiteY2" fmla="*/ 0 h 193358"/>
              <a:gd name="connsiteX3" fmla="*/ 722505 w 773464"/>
              <a:gd name="connsiteY3" fmla="*/ 0 h 193358"/>
              <a:gd name="connsiteX4" fmla="*/ 773464 w 773464"/>
              <a:gd name="connsiteY4" fmla="*/ 50959 h 193358"/>
              <a:gd name="connsiteX5" fmla="*/ 773464 w 773464"/>
              <a:gd name="connsiteY5" fmla="*/ 50959 h 193358"/>
              <a:gd name="connsiteX6" fmla="*/ 722505 w 773464"/>
              <a:gd name="connsiteY6" fmla="*/ 101918 h 193358"/>
              <a:gd name="connsiteX7" fmla="*/ 142399 w 773464"/>
              <a:gd name="connsiteY7" fmla="*/ 193358 h 193358"/>
              <a:gd name="connsiteX0" fmla="*/ 50959 w 773464"/>
              <a:gd name="connsiteY0" fmla="*/ 101918 h 101918"/>
              <a:gd name="connsiteX1" fmla="*/ 0 w 773464"/>
              <a:gd name="connsiteY1" fmla="*/ 50959 h 101918"/>
              <a:gd name="connsiteX2" fmla="*/ 50959 w 773464"/>
              <a:gd name="connsiteY2" fmla="*/ 0 h 101918"/>
              <a:gd name="connsiteX3" fmla="*/ 722505 w 773464"/>
              <a:gd name="connsiteY3" fmla="*/ 0 h 101918"/>
              <a:gd name="connsiteX4" fmla="*/ 773464 w 773464"/>
              <a:gd name="connsiteY4" fmla="*/ 50959 h 101918"/>
              <a:gd name="connsiteX5" fmla="*/ 773464 w 773464"/>
              <a:gd name="connsiteY5" fmla="*/ 50959 h 101918"/>
              <a:gd name="connsiteX6" fmla="*/ 722505 w 773464"/>
              <a:gd name="connsiteY6" fmla="*/ 101918 h 101918"/>
              <a:gd name="connsiteX0" fmla="*/ 0 w 773464"/>
              <a:gd name="connsiteY0" fmla="*/ 50959 h 101918"/>
              <a:gd name="connsiteX1" fmla="*/ 50959 w 773464"/>
              <a:gd name="connsiteY1" fmla="*/ 0 h 101918"/>
              <a:gd name="connsiteX2" fmla="*/ 722505 w 773464"/>
              <a:gd name="connsiteY2" fmla="*/ 0 h 101918"/>
              <a:gd name="connsiteX3" fmla="*/ 773464 w 773464"/>
              <a:gd name="connsiteY3" fmla="*/ 50959 h 101918"/>
              <a:gd name="connsiteX4" fmla="*/ 773464 w 773464"/>
              <a:gd name="connsiteY4" fmla="*/ 50959 h 101918"/>
              <a:gd name="connsiteX5" fmla="*/ 722505 w 773464"/>
              <a:gd name="connsiteY5" fmla="*/ 101918 h 101918"/>
              <a:gd name="connsiteX0" fmla="*/ 0 w 773464"/>
              <a:gd name="connsiteY0" fmla="*/ 50959 h 50959"/>
              <a:gd name="connsiteX1" fmla="*/ 50959 w 773464"/>
              <a:gd name="connsiteY1" fmla="*/ 0 h 50959"/>
              <a:gd name="connsiteX2" fmla="*/ 722505 w 773464"/>
              <a:gd name="connsiteY2" fmla="*/ 0 h 50959"/>
              <a:gd name="connsiteX3" fmla="*/ 773464 w 773464"/>
              <a:gd name="connsiteY3" fmla="*/ 50959 h 50959"/>
              <a:gd name="connsiteX4" fmla="*/ 773464 w 773464"/>
              <a:gd name="connsiteY4" fmla="*/ 50959 h 50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464" h="50959">
                <a:moveTo>
                  <a:pt x="0" y="50959"/>
                </a:moveTo>
                <a:cubicBezTo>
                  <a:pt x="0" y="22815"/>
                  <a:pt x="22815" y="0"/>
                  <a:pt x="50959" y="0"/>
                </a:cubicBezTo>
                <a:lnTo>
                  <a:pt x="722505" y="0"/>
                </a:lnTo>
                <a:cubicBezTo>
                  <a:pt x="750649" y="0"/>
                  <a:pt x="773464" y="22815"/>
                  <a:pt x="773464" y="50959"/>
                </a:cubicBezTo>
                <a:lnTo>
                  <a:pt x="773464" y="50959"/>
                </a:lnTo>
              </a:path>
            </a:pathLst>
          </a:custGeom>
          <a:solidFill>
            <a:schemeClr val="tx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E61BFAC5-2D07-408B-A1D1-118716CCBBA9}"/>
              </a:ext>
            </a:extLst>
          </p:cNvPr>
          <p:cNvGrpSpPr/>
          <p:nvPr/>
        </p:nvGrpSpPr>
        <p:grpSpPr>
          <a:xfrm>
            <a:off x="6733103" y="1089350"/>
            <a:ext cx="834019" cy="834017"/>
            <a:chOff x="6719439" y="1175075"/>
            <a:chExt cx="834019" cy="834017"/>
          </a:xfrm>
        </p:grpSpPr>
        <p:sp>
          <p:nvSpPr>
            <p:cNvPr id="101" name="Oval 100">
              <a:extLst>
                <a:ext uri="{FF2B5EF4-FFF2-40B4-BE49-F238E27FC236}">
                  <a16:creationId xmlns:a16="http://schemas.microsoft.com/office/drawing/2014/main" id="{9C273C59-1617-478B-B959-43FCBBD4193A}"/>
                </a:ext>
              </a:extLst>
            </p:cNvPr>
            <p:cNvSpPr>
              <a:spLocks noChangeAspect="1"/>
            </p:cNvSpPr>
            <p:nvPr/>
          </p:nvSpPr>
          <p:spPr bwMode="auto">
            <a:xfrm>
              <a:off x="6719439" y="1175075"/>
              <a:ext cx="834019" cy="834017"/>
            </a:xfrm>
            <a:prstGeom prst="ellipse">
              <a:avLst/>
            </a:prstGeom>
            <a:solidFill>
              <a:srgbClr val="FFFFFF"/>
            </a:solidFill>
            <a:ln w="19050">
              <a:noFill/>
              <a:round/>
              <a:headEnd/>
              <a:tailEnd/>
            </a:ln>
            <a:effectLst>
              <a:outerShdw blurRad="254000" dist="50800" dir="2700000" sx="101000" sy="101000" algn="tl" rotWithShape="0">
                <a:prstClr val="black">
                  <a:alpha val="35000"/>
                </a:prstClr>
              </a:outerShdw>
            </a:effectLst>
            <a:scene3d>
              <a:camera prst="perspectiveAbove">
                <a:rot lat="0" lon="0" rev="0"/>
              </a:camera>
              <a:lightRig rig="threePt" dir="t"/>
            </a:scene3d>
            <a:sp3d>
              <a:bevelB w="139700" prst="softRound"/>
            </a:sp3d>
          </p:spPr>
          <p:txBody>
            <a:bodyPr vert="horz" wrap="square" lIns="0" tIns="45713" rIns="0" bIns="45713" numCol="1" rtlCol="0" anchor="ctr" anchorCtr="0" compatLnSpc="1">
              <a:prstTxWarp prst="textNoShape">
                <a:avLst/>
              </a:prstTxWarp>
            </a:bodyPr>
            <a:lstStyle/>
            <a:p>
              <a:pPr marL="0" marR="0" lvl="0" indent="0" algn="ctr" defTabSz="91389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grpSp>
          <p:nvGrpSpPr>
            <p:cNvPr id="111" name="Group 9">
              <a:extLst>
                <a:ext uri="{FF2B5EF4-FFF2-40B4-BE49-F238E27FC236}">
                  <a16:creationId xmlns:a16="http://schemas.microsoft.com/office/drawing/2014/main" id="{D9CA6FB2-75B0-4FEF-9945-B21F7B3236E0}"/>
                </a:ext>
              </a:extLst>
            </p:cNvPr>
            <p:cNvGrpSpPr>
              <a:grpSpLocks noChangeAspect="1"/>
            </p:cNvGrpSpPr>
            <p:nvPr/>
          </p:nvGrpSpPr>
          <p:grpSpPr bwMode="auto">
            <a:xfrm>
              <a:off x="6927856" y="1408996"/>
              <a:ext cx="417184" cy="366175"/>
              <a:chOff x="3696" y="2681"/>
              <a:chExt cx="229" cy="201"/>
            </a:xfrm>
          </p:grpSpPr>
          <p:sp>
            <p:nvSpPr>
              <p:cNvPr id="105" name="Freeform 10">
                <a:extLst>
                  <a:ext uri="{FF2B5EF4-FFF2-40B4-BE49-F238E27FC236}">
                    <a16:creationId xmlns:a16="http://schemas.microsoft.com/office/drawing/2014/main" id="{2E927BFB-47E1-45DF-BB4D-FE234C983F9A}"/>
                  </a:ext>
                </a:extLst>
              </p:cNvPr>
              <p:cNvSpPr>
                <a:spLocks/>
              </p:cNvSpPr>
              <p:nvPr/>
            </p:nvSpPr>
            <p:spPr bwMode="auto">
              <a:xfrm>
                <a:off x="3696" y="2693"/>
                <a:ext cx="141" cy="42"/>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243A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Freeform 11">
                <a:extLst>
                  <a:ext uri="{FF2B5EF4-FFF2-40B4-BE49-F238E27FC236}">
                    <a16:creationId xmlns:a16="http://schemas.microsoft.com/office/drawing/2014/main" id="{295EE32B-98DE-4561-8321-21EFB869BC30}"/>
                  </a:ext>
                </a:extLst>
              </p:cNvPr>
              <p:cNvSpPr>
                <a:spLocks/>
              </p:cNvSpPr>
              <p:nvPr/>
            </p:nvSpPr>
            <p:spPr bwMode="auto">
              <a:xfrm>
                <a:off x="3696" y="2767"/>
                <a:ext cx="141" cy="41"/>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243A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7" name="Freeform 12">
                <a:extLst>
                  <a:ext uri="{FF2B5EF4-FFF2-40B4-BE49-F238E27FC236}">
                    <a16:creationId xmlns:a16="http://schemas.microsoft.com/office/drawing/2014/main" id="{C7EF6C72-07FB-4F72-B683-FA3C509AEC60}"/>
                  </a:ext>
                </a:extLst>
              </p:cNvPr>
              <p:cNvSpPr>
                <a:spLocks/>
              </p:cNvSpPr>
              <p:nvPr/>
            </p:nvSpPr>
            <p:spPr bwMode="auto">
              <a:xfrm>
                <a:off x="3696" y="2841"/>
                <a:ext cx="141" cy="41"/>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243A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Freeform 13">
                <a:extLst>
                  <a:ext uri="{FF2B5EF4-FFF2-40B4-BE49-F238E27FC236}">
                    <a16:creationId xmlns:a16="http://schemas.microsoft.com/office/drawing/2014/main" id="{73560C4D-F00B-46DB-A958-874694A043E2}"/>
                  </a:ext>
                </a:extLst>
              </p:cNvPr>
              <p:cNvSpPr>
                <a:spLocks/>
              </p:cNvSpPr>
              <p:nvPr/>
            </p:nvSpPr>
            <p:spPr bwMode="auto">
              <a:xfrm>
                <a:off x="3857" y="2754"/>
                <a:ext cx="68" cy="54"/>
              </a:xfrm>
              <a:custGeom>
                <a:avLst/>
                <a:gdLst>
                  <a:gd name="T0" fmla="*/ 96 w 110"/>
                  <a:gd name="T1" fmla="*/ 0 h 88"/>
                  <a:gd name="T2" fmla="*/ 96 w 110"/>
                  <a:gd name="T3" fmla="*/ 0 h 88"/>
                  <a:gd name="T4" fmla="*/ 37 w 110"/>
                  <a:gd name="T5" fmla="*/ 60 h 88"/>
                  <a:gd name="T6" fmla="*/ 14 w 110"/>
                  <a:gd name="T7" fmla="*/ 37 h 88"/>
                  <a:gd name="T8" fmla="*/ 0 w 110"/>
                  <a:gd name="T9" fmla="*/ 51 h 88"/>
                  <a:gd name="T10" fmla="*/ 37 w 110"/>
                  <a:gd name="T11" fmla="*/ 88 h 88"/>
                  <a:gd name="T12" fmla="*/ 110 w 110"/>
                  <a:gd name="T13" fmla="*/ 14 h 88"/>
                  <a:gd name="T14" fmla="*/ 96 w 110"/>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96" y="0"/>
                    </a:moveTo>
                    <a:lnTo>
                      <a:pt x="96" y="0"/>
                    </a:lnTo>
                    <a:lnTo>
                      <a:pt x="37" y="60"/>
                    </a:lnTo>
                    <a:lnTo>
                      <a:pt x="14" y="37"/>
                    </a:lnTo>
                    <a:lnTo>
                      <a:pt x="0" y="51"/>
                    </a:lnTo>
                    <a:lnTo>
                      <a:pt x="37" y="88"/>
                    </a:lnTo>
                    <a:lnTo>
                      <a:pt x="110" y="14"/>
                    </a:lnTo>
                    <a:lnTo>
                      <a:pt x="96" y="0"/>
                    </a:lnTo>
                    <a:close/>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9" name="Freeform 14">
                <a:extLst>
                  <a:ext uri="{FF2B5EF4-FFF2-40B4-BE49-F238E27FC236}">
                    <a16:creationId xmlns:a16="http://schemas.microsoft.com/office/drawing/2014/main" id="{E9E980DB-55B9-439C-BA5E-4312CEB978EC}"/>
                  </a:ext>
                </a:extLst>
              </p:cNvPr>
              <p:cNvSpPr>
                <a:spLocks/>
              </p:cNvSpPr>
              <p:nvPr/>
            </p:nvSpPr>
            <p:spPr bwMode="auto">
              <a:xfrm>
                <a:off x="3857" y="2828"/>
                <a:ext cx="68" cy="54"/>
              </a:xfrm>
              <a:custGeom>
                <a:avLst/>
                <a:gdLst>
                  <a:gd name="T0" fmla="*/ 14 w 110"/>
                  <a:gd name="T1" fmla="*/ 37 h 88"/>
                  <a:gd name="T2" fmla="*/ 14 w 110"/>
                  <a:gd name="T3" fmla="*/ 37 h 88"/>
                  <a:gd name="T4" fmla="*/ 0 w 110"/>
                  <a:gd name="T5" fmla="*/ 51 h 88"/>
                  <a:gd name="T6" fmla="*/ 37 w 110"/>
                  <a:gd name="T7" fmla="*/ 88 h 88"/>
                  <a:gd name="T8" fmla="*/ 110 w 110"/>
                  <a:gd name="T9" fmla="*/ 14 h 88"/>
                  <a:gd name="T10" fmla="*/ 96 w 110"/>
                  <a:gd name="T11" fmla="*/ 0 h 88"/>
                  <a:gd name="T12" fmla="*/ 37 w 110"/>
                  <a:gd name="T13" fmla="*/ 59 h 88"/>
                  <a:gd name="T14" fmla="*/ 14 w 110"/>
                  <a:gd name="T15" fmla="*/ 3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14" y="37"/>
                    </a:moveTo>
                    <a:lnTo>
                      <a:pt x="14" y="37"/>
                    </a:lnTo>
                    <a:lnTo>
                      <a:pt x="0" y="51"/>
                    </a:lnTo>
                    <a:lnTo>
                      <a:pt x="37" y="88"/>
                    </a:lnTo>
                    <a:lnTo>
                      <a:pt x="110" y="14"/>
                    </a:lnTo>
                    <a:lnTo>
                      <a:pt x="96" y="0"/>
                    </a:lnTo>
                    <a:lnTo>
                      <a:pt x="37" y="59"/>
                    </a:lnTo>
                    <a:lnTo>
                      <a:pt x="14" y="37"/>
                    </a:lnTo>
                    <a:close/>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0" name="Freeform 15">
                <a:extLst>
                  <a:ext uri="{FF2B5EF4-FFF2-40B4-BE49-F238E27FC236}">
                    <a16:creationId xmlns:a16="http://schemas.microsoft.com/office/drawing/2014/main" id="{3DB13BD1-2CB7-4CE0-A366-C897421C6CC9}"/>
                  </a:ext>
                </a:extLst>
              </p:cNvPr>
              <p:cNvSpPr>
                <a:spLocks/>
              </p:cNvSpPr>
              <p:nvPr/>
            </p:nvSpPr>
            <p:spPr bwMode="auto">
              <a:xfrm>
                <a:off x="3857" y="2681"/>
                <a:ext cx="68" cy="54"/>
              </a:xfrm>
              <a:custGeom>
                <a:avLst/>
                <a:gdLst>
                  <a:gd name="T0" fmla="*/ 96 w 110"/>
                  <a:gd name="T1" fmla="*/ 0 h 87"/>
                  <a:gd name="T2" fmla="*/ 96 w 110"/>
                  <a:gd name="T3" fmla="*/ 0 h 87"/>
                  <a:gd name="T4" fmla="*/ 37 w 110"/>
                  <a:gd name="T5" fmla="*/ 59 h 87"/>
                  <a:gd name="T6" fmla="*/ 14 w 110"/>
                  <a:gd name="T7" fmla="*/ 36 h 87"/>
                  <a:gd name="T8" fmla="*/ 0 w 110"/>
                  <a:gd name="T9" fmla="*/ 50 h 87"/>
                  <a:gd name="T10" fmla="*/ 37 w 110"/>
                  <a:gd name="T11" fmla="*/ 87 h 87"/>
                  <a:gd name="T12" fmla="*/ 110 w 110"/>
                  <a:gd name="T13" fmla="*/ 14 h 87"/>
                  <a:gd name="T14" fmla="*/ 96 w 110"/>
                  <a:gd name="T15" fmla="*/ 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7">
                    <a:moveTo>
                      <a:pt x="96" y="0"/>
                    </a:moveTo>
                    <a:lnTo>
                      <a:pt x="96" y="0"/>
                    </a:lnTo>
                    <a:lnTo>
                      <a:pt x="37" y="59"/>
                    </a:lnTo>
                    <a:lnTo>
                      <a:pt x="14" y="36"/>
                    </a:lnTo>
                    <a:lnTo>
                      <a:pt x="0" y="50"/>
                    </a:lnTo>
                    <a:lnTo>
                      <a:pt x="37" y="87"/>
                    </a:lnTo>
                    <a:lnTo>
                      <a:pt x="110" y="14"/>
                    </a:lnTo>
                    <a:lnTo>
                      <a:pt x="96" y="0"/>
                    </a:lnTo>
                    <a:close/>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4" name="Group 3">
            <a:extLst>
              <a:ext uri="{FF2B5EF4-FFF2-40B4-BE49-F238E27FC236}">
                <a16:creationId xmlns:a16="http://schemas.microsoft.com/office/drawing/2014/main" id="{1BF56EA3-9994-4159-ACAB-E1E50E7CF8D8}"/>
              </a:ext>
            </a:extLst>
          </p:cNvPr>
          <p:cNvGrpSpPr/>
          <p:nvPr/>
        </p:nvGrpSpPr>
        <p:grpSpPr>
          <a:xfrm>
            <a:off x="9937846" y="1089350"/>
            <a:ext cx="834019" cy="834017"/>
            <a:chOff x="9937846" y="1175075"/>
            <a:chExt cx="834019" cy="834017"/>
          </a:xfrm>
        </p:grpSpPr>
        <p:sp>
          <p:nvSpPr>
            <p:cNvPr id="103" name="Oval 102">
              <a:extLst>
                <a:ext uri="{FF2B5EF4-FFF2-40B4-BE49-F238E27FC236}">
                  <a16:creationId xmlns:a16="http://schemas.microsoft.com/office/drawing/2014/main" id="{2AC742FE-ACAE-4C5A-89D5-05208CDE39FF}"/>
                </a:ext>
              </a:extLst>
            </p:cNvPr>
            <p:cNvSpPr>
              <a:spLocks noChangeAspect="1"/>
            </p:cNvSpPr>
            <p:nvPr/>
          </p:nvSpPr>
          <p:spPr bwMode="auto">
            <a:xfrm>
              <a:off x="9937846" y="1175075"/>
              <a:ext cx="834019" cy="834017"/>
            </a:xfrm>
            <a:prstGeom prst="ellipse">
              <a:avLst/>
            </a:prstGeom>
            <a:solidFill>
              <a:srgbClr val="FFFFFF"/>
            </a:solidFill>
            <a:ln w="19050">
              <a:noFill/>
              <a:round/>
              <a:headEnd/>
              <a:tailEnd/>
            </a:ln>
            <a:effectLst>
              <a:outerShdw blurRad="254000" dist="50800" dir="2700000" sx="101000" sy="101000" algn="tl" rotWithShape="0">
                <a:prstClr val="black">
                  <a:alpha val="35000"/>
                </a:prstClr>
              </a:outerShdw>
            </a:effectLst>
            <a:scene3d>
              <a:camera prst="perspectiveAbove">
                <a:rot lat="0" lon="0" rev="0"/>
              </a:camera>
              <a:lightRig rig="threePt" dir="t"/>
            </a:scene3d>
            <a:sp3d>
              <a:bevelB w="139700" prst="softRound"/>
            </a:sp3d>
          </p:spPr>
          <p:txBody>
            <a:bodyPr vert="horz" wrap="square" lIns="0" tIns="45713" rIns="0" bIns="45713" numCol="1" rtlCol="0" anchor="ctr" anchorCtr="0" compatLnSpc="1">
              <a:prstTxWarp prst="textNoShape">
                <a:avLst/>
              </a:prstTxWarp>
            </a:bodyPr>
            <a:lstStyle/>
            <a:p>
              <a:pPr marL="0" marR="0" lvl="0" indent="0" algn="ctr" defTabSz="91389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grpSp>
          <p:nvGrpSpPr>
            <p:cNvPr id="122" name="Group 160">
              <a:extLst>
                <a:ext uri="{FF2B5EF4-FFF2-40B4-BE49-F238E27FC236}">
                  <a16:creationId xmlns:a16="http://schemas.microsoft.com/office/drawing/2014/main" id="{F9E174CF-CE74-4435-A688-38A511F19E4E}"/>
                </a:ext>
              </a:extLst>
            </p:cNvPr>
            <p:cNvGrpSpPr>
              <a:grpSpLocks noChangeAspect="1"/>
            </p:cNvGrpSpPr>
            <p:nvPr/>
          </p:nvGrpSpPr>
          <p:grpSpPr bwMode="auto">
            <a:xfrm>
              <a:off x="10143293" y="1382322"/>
              <a:ext cx="423125" cy="419523"/>
              <a:chOff x="3425" y="2301"/>
              <a:chExt cx="353" cy="350"/>
            </a:xfrm>
          </p:grpSpPr>
          <p:sp>
            <p:nvSpPr>
              <p:cNvPr id="113" name="Freeform 161">
                <a:extLst>
                  <a:ext uri="{FF2B5EF4-FFF2-40B4-BE49-F238E27FC236}">
                    <a16:creationId xmlns:a16="http://schemas.microsoft.com/office/drawing/2014/main" id="{81FA2CB3-887C-4F20-8A8E-1090486EC9F8}"/>
                  </a:ext>
                </a:extLst>
              </p:cNvPr>
              <p:cNvSpPr>
                <a:spLocks/>
              </p:cNvSpPr>
              <p:nvPr/>
            </p:nvSpPr>
            <p:spPr bwMode="auto">
              <a:xfrm>
                <a:off x="3519" y="2471"/>
                <a:ext cx="23" cy="180"/>
              </a:xfrm>
              <a:custGeom>
                <a:avLst/>
                <a:gdLst>
                  <a:gd name="T0" fmla="*/ 0 w 23"/>
                  <a:gd name="T1" fmla="*/ 23 h 180"/>
                  <a:gd name="T2" fmla="*/ 0 w 23"/>
                  <a:gd name="T3" fmla="*/ 180 h 180"/>
                  <a:gd name="T4" fmla="*/ 23 w 23"/>
                  <a:gd name="T5" fmla="*/ 180 h 180"/>
                  <a:gd name="T6" fmla="*/ 23 w 23"/>
                  <a:gd name="T7" fmla="*/ 0 h 180"/>
                  <a:gd name="T8" fmla="*/ 0 w 23"/>
                  <a:gd name="T9" fmla="*/ 23 h 180"/>
                </a:gdLst>
                <a:ahLst/>
                <a:cxnLst>
                  <a:cxn ang="0">
                    <a:pos x="T0" y="T1"/>
                  </a:cxn>
                  <a:cxn ang="0">
                    <a:pos x="T2" y="T3"/>
                  </a:cxn>
                  <a:cxn ang="0">
                    <a:pos x="T4" y="T5"/>
                  </a:cxn>
                  <a:cxn ang="0">
                    <a:pos x="T6" y="T7"/>
                  </a:cxn>
                  <a:cxn ang="0">
                    <a:pos x="T8" y="T9"/>
                  </a:cxn>
                </a:cxnLst>
                <a:rect l="0" t="0" r="r" b="b"/>
                <a:pathLst>
                  <a:path w="23" h="180">
                    <a:moveTo>
                      <a:pt x="0" y="23"/>
                    </a:moveTo>
                    <a:lnTo>
                      <a:pt x="0" y="180"/>
                    </a:lnTo>
                    <a:lnTo>
                      <a:pt x="23" y="180"/>
                    </a:lnTo>
                    <a:lnTo>
                      <a:pt x="23" y="0"/>
                    </a:lnTo>
                    <a:lnTo>
                      <a:pt x="0" y="23"/>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4" name="Freeform 162">
                <a:extLst>
                  <a:ext uri="{FF2B5EF4-FFF2-40B4-BE49-F238E27FC236}">
                    <a16:creationId xmlns:a16="http://schemas.microsoft.com/office/drawing/2014/main" id="{8FD2B312-67C5-4022-8E2F-FA2FD9E9A050}"/>
                  </a:ext>
                </a:extLst>
              </p:cNvPr>
              <p:cNvSpPr>
                <a:spLocks/>
              </p:cNvSpPr>
              <p:nvPr/>
            </p:nvSpPr>
            <p:spPr bwMode="auto">
              <a:xfrm>
                <a:off x="3425" y="2564"/>
                <a:ext cx="23" cy="87"/>
              </a:xfrm>
              <a:custGeom>
                <a:avLst/>
                <a:gdLst>
                  <a:gd name="T0" fmla="*/ 0 w 23"/>
                  <a:gd name="T1" fmla="*/ 23 h 87"/>
                  <a:gd name="T2" fmla="*/ 0 w 23"/>
                  <a:gd name="T3" fmla="*/ 87 h 87"/>
                  <a:gd name="T4" fmla="*/ 23 w 23"/>
                  <a:gd name="T5" fmla="*/ 87 h 87"/>
                  <a:gd name="T6" fmla="*/ 23 w 23"/>
                  <a:gd name="T7" fmla="*/ 0 h 87"/>
                  <a:gd name="T8" fmla="*/ 0 w 23"/>
                  <a:gd name="T9" fmla="*/ 23 h 87"/>
                </a:gdLst>
                <a:ahLst/>
                <a:cxnLst>
                  <a:cxn ang="0">
                    <a:pos x="T0" y="T1"/>
                  </a:cxn>
                  <a:cxn ang="0">
                    <a:pos x="T2" y="T3"/>
                  </a:cxn>
                  <a:cxn ang="0">
                    <a:pos x="T4" y="T5"/>
                  </a:cxn>
                  <a:cxn ang="0">
                    <a:pos x="T6" y="T7"/>
                  </a:cxn>
                  <a:cxn ang="0">
                    <a:pos x="T8" y="T9"/>
                  </a:cxn>
                </a:cxnLst>
                <a:rect l="0" t="0" r="r" b="b"/>
                <a:pathLst>
                  <a:path w="23" h="87">
                    <a:moveTo>
                      <a:pt x="0" y="23"/>
                    </a:moveTo>
                    <a:lnTo>
                      <a:pt x="0" y="87"/>
                    </a:lnTo>
                    <a:lnTo>
                      <a:pt x="23" y="87"/>
                    </a:lnTo>
                    <a:lnTo>
                      <a:pt x="23" y="0"/>
                    </a:lnTo>
                    <a:lnTo>
                      <a:pt x="0" y="23"/>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5" name="Freeform 163">
                <a:extLst>
                  <a:ext uri="{FF2B5EF4-FFF2-40B4-BE49-F238E27FC236}">
                    <a16:creationId xmlns:a16="http://schemas.microsoft.com/office/drawing/2014/main" id="{01D9255E-A8F2-49C7-9FCD-A2D080E49B46}"/>
                  </a:ext>
                </a:extLst>
              </p:cNvPr>
              <p:cNvSpPr>
                <a:spLocks/>
              </p:cNvSpPr>
              <p:nvPr/>
            </p:nvSpPr>
            <p:spPr bwMode="auto">
              <a:xfrm>
                <a:off x="3566" y="2424"/>
                <a:ext cx="23" cy="227"/>
              </a:xfrm>
              <a:custGeom>
                <a:avLst/>
                <a:gdLst>
                  <a:gd name="T0" fmla="*/ 0 w 23"/>
                  <a:gd name="T1" fmla="*/ 23 h 227"/>
                  <a:gd name="T2" fmla="*/ 0 w 23"/>
                  <a:gd name="T3" fmla="*/ 227 h 227"/>
                  <a:gd name="T4" fmla="*/ 23 w 23"/>
                  <a:gd name="T5" fmla="*/ 227 h 227"/>
                  <a:gd name="T6" fmla="*/ 23 w 23"/>
                  <a:gd name="T7" fmla="*/ 0 h 227"/>
                  <a:gd name="T8" fmla="*/ 0 w 23"/>
                  <a:gd name="T9" fmla="*/ 23 h 227"/>
                </a:gdLst>
                <a:ahLst/>
                <a:cxnLst>
                  <a:cxn ang="0">
                    <a:pos x="T0" y="T1"/>
                  </a:cxn>
                  <a:cxn ang="0">
                    <a:pos x="T2" y="T3"/>
                  </a:cxn>
                  <a:cxn ang="0">
                    <a:pos x="T4" y="T5"/>
                  </a:cxn>
                  <a:cxn ang="0">
                    <a:pos x="T6" y="T7"/>
                  </a:cxn>
                  <a:cxn ang="0">
                    <a:pos x="T8" y="T9"/>
                  </a:cxn>
                </a:cxnLst>
                <a:rect l="0" t="0" r="r" b="b"/>
                <a:pathLst>
                  <a:path w="23" h="227">
                    <a:moveTo>
                      <a:pt x="0" y="23"/>
                    </a:moveTo>
                    <a:lnTo>
                      <a:pt x="0" y="227"/>
                    </a:lnTo>
                    <a:lnTo>
                      <a:pt x="23" y="227"/>
                    </a:lnTo>
                    <a:lnTo>
                      <a:pt x="23" y="0"/>
                    </a:lnTo>
                    <a:lnTo>
                      <a:pt x="0" y="23"/>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6" name="Freeform 164">
                <a:extLst>
                  <a:ext uri="{FF2B5EF4-FFF2-40B4-BE49-F238E27FC236}">
                    <a16:creationId xmlns:a16="http://schemas.microsoft.com/office/drawing/2014/main" id="{3C7EC23B-7020-4F5F-A7AD-CA4CFA3EFBE7}"/>
                  </a:ext>
                </a:extLst>
              </p:cNvPr>
              <p:cNvSpPr>
                <a:spLocks/>
              </p:cNvSpPr>
              <p:nvPr/>
            </p:nvSpPr>
            <p:spPr bwMode="auto">
              <a:xfrm>
                <a:off x="3471" y="2517"/>
                <a:ext cx="25" cy="134"/>
              </a:xfrm>
              <a:custGeom>
                <a:avLst/>
                <a:gdLst>
                  <a:gd name="T0" fmla="*/ 0 w 25"/>
                  <a:gd name="T1" fmla="*/ 24 h 134"/>
                  <a:gd name="T2" fmla="*/ 0 w 25"/>
                  <a:gd name="T3" fmla="*/ 134 h 134"/>
                  <a:gd name="T4" fmla="*/ 25 w 25"/>
                  <a:gd name="T5" fmla="*/ 134 h 134"/>
                  <a:gd name="T6" fmla="*/ 25 w 25"/>
                  <a:gd name="T7" fmla="*/ 0 h 134"/>
                  <a:gd name="T8" fmla="*/ 0 w 25"/>
                  <a:gd name="T9" fmla="*/ 24 h 134"/>
                </a:gdLst>
                <a:ahLst/>
                <a:cxnLst>
                  <a:cxn ang="0">
                    <a:pos x="T0" y="T1"/>
                  </a:cxn>
                  <a:cxn ang="0">
                    <a:pos x="T2" y="T3"/>
                  </a:cxn>
                  <a:cxn ang="0">
                    <a:pos x="T4" y="T5"/>
                  </a:cxn>
                  <a:cxn ang="0">
                    <a:pos x="T6" y="T7"/>
                  </a:cxn>
                  <a:cxn ang="0">
                    <a:pos x="T8" y="T9"/>
                  </a:cxn>
                </a:cxnLst>
                <a:rect l="0" t="0" r="r" b="b"/>
                <a:pathLst>
                  <a:path w="25" h="134">
                    <a:moveTo>
                      <a:pt x="0" y="24"/>
                    </a:moveTo>
                    <a:lnTo>
                      <a:pt x="0" y="134"/>
                    </a:lnTo>
                    <a:lnTo>
                      <a:pt x="25" y="134"/>
                    </a:lnTo>
                    <a:lnTo>
                      <a:pt x="25" y="0"/>
                    </a:lnTo>
                    <a:lnTo>
                      <a:pt x="0" y="24"/>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7" name="Freeform 165">
                <a:extLst>
                  <a:ext uri="{FF2B5EF4-FFF2-40B4-BE49-F238E27FC236}">
                    <a16:creationId xmlns:a16="http://schemas.microsoft.com/office/drawing/2014/main" id="{F8308485-9528-4041-A295-70D38B9BC9F8}"/>
                  </a:ext>
                </a:extLst>
              </p:cNvPr>
              <p:cNvSpPr>
                <a:spLocks/>
              </p:cNvSpPr>
              <p:nvPr/>
            </p:nvSpPr>
            <p:spPr bwMode="auto">
              <a:xfrm>
                <a:off x="3707" y="2402"/>
                <a:ext cx="24" cy="249"/>
              </a:xfrm>
              <a:custGeom>
                <a:avLst/>
                <a:gdLst>
                  <a:gd name="T0" fmla="*/ 0 w 24"/>
                  <a:gd name="T1" fmla="*/ 23 h 249"/>
                  <a:gd name="T2" fmla="*/ 0 w 24"/>
                  <a:gd name="T3" fmla="*/ 249 h 249"/>
                  <a:gd name="T4" fmla="*/ 24 w 24"/>
                  <a:gd name="T5" fmla="*/ 249 h 249"/>
                  <a:gd name="T6" fmla="*/ 24 w 24"/>
                  <a:gd name="T7" fmla="*/ 0 h 249"/>
                  <a:gd name="T8" fmla="*/ 0 w 24"/>
                  <a:gd name="T9" fmla="*/ 23 h 249"/>
                </a:gdLst>
                <a:ahLst/>
                <a:cxnLst>
                  <a:cxn ang="0">
                    <a:pos x="T0" y="T1"/>
                  </a:cxn>
                  <a:cxn ang="0">
                    <a:pos x="T2" y="T3"/>
                  </a:cxn>
                  <a:cxn ang="0">
                    <a:pos x="T4" y="T5"/>
                  </a:cxn>
                  <a:cxn ang="0">
                    <a:pos x="T6" y="T7"/>
                  </a:cxn>
                  <a:cxn ang="0">
                    <a:pos x="T8" y="T9"/>
                  </a:cxn>
                </a:cxnLst>
                <a:rect l="0" t="0" r="r" b="b"/>
                <a:pathLst>
                  <a:path w="24" h="249">
                    <a:moveTo>
                      <a:pt x="0" y="23"/>
                    </a:moveTo>
                    <a:lnTo>
                      <a:pt x="0" y="249"/>
                    </a:lnTo>
                    <a:lnTo>
                      <a:pt x="24" y="249"/>
                    </a:lnTo>
                    <a:lnTo>
                      <a:pt x="24" y="0"/>
                    </a:lnTo>
                    <a:lnTo>
                      <a:pt x="0" y="23"/>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8" name="Freeform 166">
                <a:extLst>
                  <a:ext uri="{FF2B5EF4-FFF2-40B4-BE49-F238E27FC236}">
                    <a16:creationId xmlns:a16="http://schemas.microsoft.com/office/drawing/2014/main" id="{6FF53A92-EABB-4DE0-A647-BFD8FA78E265}"/>
                  </a:ext>
                </a:extLst>
              </p:cNvPr>
              <p:cNvSpPr>
                <a:spLocks/>
              </p:cNvSpPr>
              <p:nvPr/>
            </p:nvSpPr>
            <p:spPr bwMode="auto">
              <a:xfrm>
                <a:off x="3660" y="2449"/>
                <a:ext cx="23" cy="202"/>
              </a:xfrm>
              <a:custGeom>
                <a:avLst/>
                <a:gdLst>
                  <a:gd name="T0" fmla="*/ 0 w 23"/>
                  <a:gd name="T1" fmla="*/ 23 h 202"/>
                  <a:gd name="T2" fmla="*/ 0 w 23"/>
                  <a:gd name="T3" fmla="*/ 202 h 202"/>
                  <a:gd name="T4" fmla="*/ 23 w 23"/>
                  <a:gd name="T5" fmla="*/ 202 h 202"/>
                  <a:gd name="T6" fmla="*/ 23 w 23"/>
                  <a:gd name="T7" fmla="*/ 0 h 202"/>
                  <a:gd name="T8" fmla="*/ 0 w 23"/>
                  <a:gd name="T9" fmla="*/ 23 h 202"/>
                </a:gdLst>
                <a:ahLst/>
                <a:cxnLst>
                  <a:cxn ang="0">
                    <a:pos x="T0" y="T1"/>
                  </a:cxn>
                  <a:cxn ang="0">
                    <a:pos x="T2" y="T3"/>
                  </a:cxn>
                  <a:cxn ang="0">
                    <a:pos x="T4" y="T5"/>
                  </a:cxn>
                  <a:cxn ang="0">
                    <a:pos x="T6" y="T7"/>
                  </a:cxn>
                  <a:cxn ang="0">
                    <a:pos x="T8" y="T9"/>
                  </a:cxn>
                </a:cxnLst>
                <a:rect l="0" t="0" r="r" b="b"/>
                <a:pathLst>
                  <a:path w="23" h="202">
                    <a:moveTo>
                      <a:pt x="0" y="23"/>
                    </a:moveTo>
                    <a:lnTo>
                      <a:pt x="0" y="202"/>
                    </a:lnTo>
                    <a:lnTo>
                      <a:pt x="23" y="202"/>
                    </a:lnTo>
                    <a:lnTo>
                      <a:pt x="23" y="0"/>
                    </a:lnTo>
                    <a:lnTo>
                      <a:pt x="0" y="23"/>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9" name="Freeform 167">
                <a:extLst>
                  <a:ext uri="{FF2B5EF4-FFF2-40B4-BE49-F238E27FC236}">
                    <a16:creationId xmlns:a16="http://schemas.microsoft.com/office/drawing/2014/main" id="{79DF1F0D-65F7-4929-AC75-195BA1EE6301}"/>
                  </a:ext>
                </a:extLst>
              </p:cNvPr>
              <p:cNvSpPr>
                <a:spLocks/>
              </p:cNvSpPr>
              <p:nvPr/>
            </p:nvSpPr>
            <p:spPr bwMode="auto">
              <a:xfrm>
                <a:off x="3613" y="2425"/>
                <a:ext cx="24" cy="226"/>
              </a:xfrm>
              <a:custGeom>
                <a:avLst/>
                <a:gdLst>
                  <a:gd name="T0" fmla="*/ 0 w 24"/>
                  <a:gd name="T1" fmla="*/ 0 h 226"/>
                  <a:gd name="T2" fmla="*/ 0 w 24"/>
                  <a:gd name="T3" fmla="*/ 226 h 226"/>
                  <a:gd name="T4" fmla="*/ 24 w 24"/>
                  <a:gd name="T5" fmla="*/ 226 h 226"/>
                  <a:gd name="T6" fmla="*/ 24 w 24"/>
                  <a:gd name="T7" fmla="*/ 24 h 226"/>
                  <a:gd name="T8" fmla="*/ 0 w 24"/>
                  <a:gd name="T9" fmla="*/ 0 h 226"/>
                </a:gdLst>
                <a:ahLst/>
                <a:cxnLst>
                  <a:cxn ang="0">
                    <a:pos x="T0" y="T1"/>
                  </a:cxn>
                  <a:cxn ang="0">
                    <a:pos x="T2" y="T3"/>
                  </a:cxn>
                  <a:cxn ang="0">
                    <a:pos x="T4" y="T5"/>
                  </a:cxn>
                  <a:cxn ang="0">
                    <a:pos x="T6" y="T7"/>
                  </a:cxn>
                  <a:cxn ang="0">
                    <a:pos x="T8" y="T9"/>
                  </a:cxn>
                </a:cxnLst>
                <a:rect l="0" t="0" r="r" b="b"/>
                <a:pathLst>
                  <a:path w="24" h="226">
                    <a:moveTo>
                      <a:pt x="0" y="0"/>
                    </a:moveTo>
                    <a:lnTo>
                      <a:pt x="0" y="226"/>
                    </a:lnTo>
                    <a:lnTo>
                      <a:pt x="24" y="226"/>
                    </a:lnTo>
                    <a:lnTo>
                      <a:pt x="24" y="24"/>
                    </a:lnTo>
                    <a:lnTo>
                      <a:pt x="0" y="0"/>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0" name="Freeform 168">
                <a:extLst>
                  <a:ext uri="{FF2B5EF4-FFF2-40B4-BE49-F238E27FC236}">
                    <a16:creationId xmlns:a16="http://schemas.microsoft.com/office/drawing/2014/main" id="{53972557-6605-44EE-8FD6-0B8A55E3B046}"/>
                  </a:ext>
                </a:extLst>
              </p:cNvPr>
              <p:cNvSpPr>
                <a:spLocks/>
              </p:cNvSpPr>
              <p:nvPr/>
            </p:nvSpPr>
            <p:spPr bwMode="auto">
              <a:xfrm>
                <a:off x="3754" y="2395"/>
                <a:ext cx="24" cy="256"/>
              </a:xfrm>
              <a:custGeom>
                <a:avLst/>
                <a:gdLst>
                  <a:gd name="T0" fmla="*/ 0 w 24"/>
                  <a:gd name="T1" fmla="*/ 0 h 256"/>
                  <a:gd name="T2" fmla="*/ 0 w 24"/>
                  <a:gd name="T3" fmla="*/ 256 h 256"/>
                  <a:gd name="T4" fmla="*/ 24 w 24"/>
                  <a:gd name="T5" fmla="*/ 256 h 256"/>
                  <a:gd name="T6" fmla="*/ 24 w 24"/>
                  <a:gd name="T7" fmla="*/ 24 h 256"/>
                  <a:gd name="T8" fmla="*/ 0 w 24"/>
                  <a:gd name="T9" fmla="*/ 0 h 256"/>
                </a:gdLst>
                <a:ahLst/>
                <a:cxnLst>
                  <a:cxn ang="0">
                    <a:pos x="T0" y="T1"/>
                  </a:cxn>
                  <a:cxn ang="0">
                    <a:pos x="T2" y="T3"/>
                  </a:cxn>
                  <a:cxn ang="0">
                    <a:pos x="T4" y="T5"/>
                  </a:cxn>
                  <a:cxn ang="0">
                    <a:pos x="T6" y="T7"/>
                  </a:cxn>
                  <a:cxn ang="0">
                    <a:pos x="T8" y="T9"/>
                  </a:cxn>
                </a:cxnLst>
                <a:rect l="0" t="0" r="r" b="b"/>
                <a:pathLst>
                  <a:path w="24" h="256">
                    <a:moveTo>
                      <a:pt x="0" y="0"/>
                    </a:moveTo>
                    <a:lnTo>
                      <a:pt x="0" y="256"/>
                    </a:lnTo>
                    <a:lnTo>
                      <a:pt x="24" y="256"/>
                    </a:lnTo>
                    <a:lnTo>
                      <a:pt x="24" y="24"/>
                    </a:lnTo>
                    <a:lnTo>
                      <a:pt x="0" y="0"/>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1" name="Freeform 169">
                <a:extLst>
                  <a:ext uri="{FF2B5EF4-FFF2-40B4-BE49-F238E27FC236}">
                    <a16:creationId xmlns:a16="http://schemas.microsoft.com/office/drawing/2014/main" id="{CFDCBD69-C8FA-4916-AB86-C173961EED23}"/>
                  </a:ext>
                </a:extLst>
              </p:cNvPr>
              <p:cNvSpPr>
                <a:spLocks/>
              </p:cNvSpPr>
              <p:nvPr/>
            </p:nvSpPr>
            <p:spPr bwMode="auto">
              <a:xfrm>
                <a:off x="3425" y="2301"/>
                <a:ext cx="353" cy="248"/>
              </a:xfrm>
              <a:custGeom>
                <a:avLst/>
                <a:gdLst>
                  <a:gd name="T0" fmla="*/ 353 w 353"/>
                  <a:gd name="T1" fmla="*/ 0 h 248"/>
                  <a:gd name="T2" fmla="*/ 270 w 353"/>
                  <a:gd name="T3" fmla="*/ 0 h 248"/>
                  <a:gd name="T4" fmla="*/ 303 w 353"/>
                  <a:gd name="T5" fmla="*/ 33 h 248"/>
                  <a:gd name="T6" fmla="*/ 235 w 353"/>
                  <a:gd name="T7" fmla="*/ 101 h 248"/>
                  <a:gd name="T8" fmla="*/ 175 w 353"/>
                  <a:gd name="T9" fmla="*/ 42 h 248"/>
                  <a:gd name="T10" fmla="*/ 0 w 353"/>
                  <a:gd name="T11" fmla="*/ 216 h 248"/>
                  <a:gd name="T12" fmla="*/ 0 w 353"/>
                  <a:gd name="T13" fmla="*/ 248 h 248"/>
                  <a:gd name="T14" fmla="*/ 175 w 353"/>
                  <a:gd name="T15" fmla="*/ 74 h 248"/>
                  <a:gd name="T16" fmla="*/ 235 w 353"/>
                  <a:gd name="T17" fmla="*/ 133 h 248"/>
                  <a:gd name="T18" fmla="*/ 320 w 353"/>
                  <a:gd name="T19" fmla="*/ 49 h 248"/>
                  <a:gd name="T20" fmla="*/ 353 w 353"/>
                  <a:gd name="T21" fmla="*/ 82 h 248"/>
                  <a:gd name="T22" fmla="*/ 353 w 353"/>
                  <a:gd name="T23"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248">
                    <a:moveTo>
                      <a:pt x="353" y="0"/>
                    </a:moveTo>
                    <a:lnTo>
                      <a:pt x="270" y="0"/>
                    </a:lnTo>
                    <a:lnTo>
                      <a:pt x="303" y="33"/>
                    </a:lnTo>
                    <a:lnTo>
                      <a:pt x="235" y="101"/>
                    </a:lnTo>
                    <a:lnTo>
                      <a:pt x="175" y="42"/>
                    </a:lnTo>
                    <a:lnTo>
                      <a:pt x="0" y="216"/>
                    </a:lnTo>
                    <a:lnTo>
                      <a:pt x="0" y="248"/>
                    </a:lnTo>
                    <a:lnTo>
                      <a:pt x="175" y="74"/>
                    </a:lnTo>
                    <a:lnTo>
                      <a:pt x="235" y="133"/>
                    </a:lnTo>
                    <a:lnTo>
                      <a:pt x="320" y="49"/>
                    </a:lnTo>
                    <a:lnTo>
                      <a:pt x="353" y="82"/>
                    </a:lnTo>
                    <a:lnTo>
                      <a:pt x="353" y="0"/>
                    </a:ln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6" name="Group 5">
            <a:extLst>
              <a:ext uri="{FF2B5EF4-FFF2-40B4-BE49-F238E27FC236}">
                <a16:creationId xmlns:a16="http://schemas.microsoft.com/office/drawing/2014/main" id="{83AA8CFD-A93A-47AC-AEBB-ED0EAD202B3F}"/>
              </a:ext>
            </a:extLst>
          </p:cNvPr>
          <p:cNvGrpSpPr/>
          <p:nvPr/>
        </p:nvGrpSpPr>
        <p:grpSpPr>
          <a:xfrm>
            <a:off x="3528360" y="1089350"/>
            <a:ext cx="834019" cy="834017"/>
            <a:chOff x="3528360" y="1175075"/>
            <a:chExt cx="834019" cy="834017"/>
          </a:xfrm>
        </p:grpSpPr>
        <p:sp>
          <p:nvSpPr>
            <p:cNvPr id="99" name="Oval 98">
              <a:extLst>
                <a:ext uri="{FF2B5EF4-FFF2-40B4-BE49-F238E27FC236}">
                  <a16:creationId xmlns:a16="http://schemas.microsoft.com/office/drawing/2014/main" id="{921A6C66-91F3-43DC-BD8A-0BF2C9375426}"/>
                </a:ext>
              </a:extLst>
            </p:cNvPr>
            <p:cNvSpPr>
              <a:spLocks noChangeAspect="1"/>
            </p:cNvSpPr>
            <p:nvPr/>
          </p:nvSpPr>
          <p:spPr bwMode="auto">
            <a:xfrm>
              <a:off x="3528360" y="1175075"/>
              <a:ext cx="834019" cy="834017"/>
            </a:xfrm>
            <a:prstGeom prst="ellipse">
              <a:avLst/>
            </a:prstGeom>
            <a:solidFill>
              <a:srgbClr val="FFFFFF"/>
            </a:solidFill>
            <a:ln w="19050">
              <a:noFill/>
              <a:round/>
              <a:headEnd/>
              <a:tailEnd/>
            </a:ln>
            <a:effectLst>
              <a:outerShdw blurRad="254000" dist="50800" dir="2700000" sx="101000" sy="101000" algn="tl" rotWithShape="0">
                <a:prstClr val="black">
                  <a:alpha val="35000"/>
                </a:prstClr>
              </a:outerShdw>
            </a:effectLst>
            <a:scene3d>
              <a:camera prst="perspectiveAbove">
                <a:rot lat="0" lon="0" rev="0"/>
              </a:camera>
              <a:lightRig rig="threePt" dir="t"/>
            </a:scene3d>
            <a:sp3d>
              <a:bevelB w="139700" prst="softRound"/>
            </a:sp3d>
          </p:spPr>
          <p:txBody>
            <a:bodyPr vert="horz" wrap="square" lIns="0" tIns="45713" rIns="0" bIns="45713" numCol="1" rtlCol="0" anchor="ctr" anchorCtr="0" compatLnSpc="1">
              <a:prstTxWarp prst="textNoShape">
                <a:avLst/>
              </a:prstTxWarp>
            </a:bodyPr>
            <a:lstStyle/>
            <a:p>
              <a:pPr marL="0" marR="0" lvl="0" indent="0" algn="ctr" defTabSz="91389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UI"/>
                <a:ea typeface="+mn-ea"/>
                <a:cs typeface="+mn-cs"/>
              </a:endParaRPr>
            </a:p>
          </p:txBody>
        </p:sp>
        <p:grpSp>
          <p:nvGrpSpPr>
            <p:cNvPr id="129" name="Group 152">
              <a:extLst>
                <a:ext uri="{FF2B5EF4-FFF2-40B4-BE49-F238E27FC236}">
                  <a16:creationId xmlns:a16="http://schemas.microsoft.com/office/drawing/2014/main" id="{98E47785-AE57-49C1-9F2B-7438CC2B5E3D}"/>
                </a:ext>
              </a:extLst>
            </p:cNvPr>
            <p:cNvGrpSpPr>
              <a:grpSpLocks noChangeAspect="1"/>
            </p:cNvGrpSpPr>
            <p:nvPr/>
          </p:nvGrpSpPr>
          <p:grpSpPr bwMode="auto">
            <a:xfrm>
              <a:off x="3663132" y="1313842"/>
              <a:ext cx="564474" cy="565910"/>
              <a:chOff x="4138" y="2244"/>
              <a:chExt cx="394" cy="395"/>
            </a:xfrm>
          </p:grpSpPr>
          <p:sp>
            <p:nvSpPr>
              <p:cNvPr id="124" name="Freeform 153">
                <a:extLst>
                  <a:ext uri="{FF2B5EF4-FFF2-40B4-BE49-F238E27FC236}">
                    <a16:creationId xmlns:a16="http://schemas.microsoft.com/office/drawing/2014/main" id="{D36F9FAE-8A3A-4785-A3ED-14642EB9B076}"/>
                  </a:ext>
                </a:extLst>
              </p:cNvPr>
              <p:cNvSpPr>
                <a:spLocks/>
              </p:cNvSpPr>
              <p:nvPr/>
            </p:nvSpPr>
            <p:spPr bwMode="auto">
              <a:xfrm>
                <a:off x="4138" y="2355"/>
                <a:ext cx="105" cy="173"/>
              </a:xfrm>
              <a:custGeom>
                <a:avLst/>
                <a:gdLst>
                  <a:gd name="T0" fmla="*/ 104 w 105"/>
                  <a:gd name="T1" fmla="*/ 16 h 173"/>
                  <a:gd name="T2" fmla="*/ 87 w 105"/>
                  <a:gd name="T3" fmla="*/ 0 h 173"/>
                  <a:gd name="T4" fmla="*/ 15 w 105"/>
                  <a:gd name="T5" fmla="*/ 72 h 173"/>
                  <a:gd name="T6" fmla="*/ 0 w 105"/>
                  <a:gd name="T7" fmla="*/ 87 h 173"/>
                  <a:gd name="T8" fmla="*/ 0 w 105"/>
                  <a:gd name="T9" fmla="*/ 87 h 173"/>
                  <a:gd name="T10" fmla="*/ 0 w 105"/>
                  <a:gd name="T11" fmla="*/ 87 h 173"/>
                  <a:gd name="T12" fmla="*/ 17 w 105"/>
                  <a:gd name="T13" fmla="*/ 104 h 173"/>
                  <a:gd name="T14" fmla="*/ 17 w 105"/>
                  <a:gd name="T15" fmla="*/ 104 h 173"/>
                  <a:gd name="T16" fmla="*/ 87 w 105"/>
                  <a:gd name="T17" fmla="*/ 173 h 173"/>
                  <a:gd name="T18" fmla="*/ 105 w 105"/>
                  <a:gd name="T19" fmla="*/ 156 h 173"/>
                  <a:gd name="T20" fmla="*/ 35 w 105"/>
                  <a:gd name="T21" fmla="*/ 85 h 173"/>
                  <a:gd name="T22" fmla="*/ 104 w 105"/>
                  <a:gd name="T23" fmla="*/ 1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73">
                    <a:moveTo>
                      <a:pt x="104" y="16"/>
                    </a:moveTo>
                    <a:lnTo>
                      <a:pt x="87" y="0"/>
                    </a:lnTo>
                    <a:lnTo>
                      <a:pt x="15" y="72"/>
                    </a:lnTo>
                    <a:lnTo>
                      <a:pt x="0" y="87"/>
                    </a:lnTo>
                    <a:lnTo>
                      <a:pt x="0" y="87"/>
                    </a:lnTo>
                    <a:lnTo>
                      <a:pt x="0" y="87"/>
                    </a:lnTo>
                    <a:lnTo>
                      <a:pt x="17" y="104"/>
                    </a:lnTo>
                    <a:lnTo>
                      <a:pt x="17" y="104"/>
                    </a:lnTo>
                    <a:lnTo>
                      <a:pt x="87" y="173"/>
                    </a:lnTo>
                    <a:lnTo>
                      <a:pt x="105" y="156"/>
                    </a:lnTo>
                    <a:lnTo>
                      <a:pt x="35" y="85"/>
                    </a:lnTo>
                    <a:lnTo>
                      <a:pt x="104" y="16"/>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5" name="Freeform 154">
                <a:extLst>
                  <a:ext uri="{FF2B5EF4-FFF2-40B4-BE49-F238E27FC236}">
                    <a16:creationId xmlns:a16="http://schemas.microsoft.com/office/drawing/2014/main" id="{AB8F4FCB-6C67-4AD5-9135-A3A0F73D1580}"/>
                  </a:ext>
                </a:extLst>
              </p:cNvPr>
              <p:cNvSpPr>
                <a:spLocks/>
              </p:cNvSpPr>
              <p:nvPr/>
            </p:nvSpPr>
            <p:spPr bwMode="auto">
              <a:xfrm>
                <a:off x="4428" y="2355"/>
                <a:ext cx="104" cy="173"/>
              </a:xfrm>
              <a:custGeom>
                <a:avLst/>
                <a:gdLst>
                  <a:gd name="T0" fmla="*/ 104 w 104"/>
                  <a:gd name="T1" fmla="*/ 87 h 173"/>
                  <a:gd name="T2" fmla="*/ 104 w 104"/>
                  <a:gd name="T3" fmla="*/ 87 h 173"/>
                  <a:gd name="T4" fmla="*/ 88 w 104"/>
                  <a:gd name="T5" fmla="*/ 69 h 173"/>
                  <a:gd name="T6" fmla="*/ 88 w 104"/>
                  <a:gd name="T7" fmla="*/ 69 h 173"/>
                  <a:gd name="T8" fmla="*/ 17 w 104"/>
                  <a:gd name="T9" fmla="*/ 0 h 173"/>
                  <a:gd name="T10" fmla="*/ 0 w 104"/>
                  <a:gd name="T11" fmla="*/ 17 h 173"/>
                  <a:gd name="T12" fmla="*/ 69 w 104"/>
                  <a:gd name="T13" fmla="*/ 88 h 173"/>
                  <a:gd name="T14" fmla="*/ 0 w 104"/>
                  <a:gd name="T15" fmla="*/ 157 h 173"/>
                  <a:gd name="T16" fmla="*/ 17 w 104"/>
                  <a:gd name="T17" fmla="*/ 173 h 173"/>
                  <a:gd name="T18" fmla="*/ 90 w 104"/>
                  <a:gd name="T19" fmla="*/ 102 h 173"/>
                  <a:gd name="T20" fmla="*/ 104 w 104"/>
                  <a:gd name="T21" fmla="*/ 87 h 173"/>
                  <a:gd name="T22" fmla="*/ 104 w 104"/>
                  <a:gd name="T23"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 h="173">
                    <a:moveTo>
                      <a:pt x="104" y="87"/>
                    </a:moveTo>
                    <a:lnTo>
                      <a:pt x="104" y="87"/>
                    </a:lnTo>
                    <a:lnTo>
                      <a:pt x="88" y="69"/>
                    </a:lnTo>
                    <a:lnTo>
                      <a:pt x="88" y="69"/>
                    </a:lnTo>
                    <a:lnTo>
                      <a:pt x="17" y="0"/>
                    </a:lnTo>
                    <a:lnTo>
                      <a:pt x="0" y="17"/>
                    </a:lnTo>
                    <a:lnTo>
                      <a:pt x="69" y="88"/>
                    </a:lnTo>
                    <a:lnTo>
                      <a:pt x="0" y="157"/>
                    </a:lnTo>
                    <a:lnTo>
                      <a:pt x="17" y="173"/>
                    </a:lnTo>
                    <a:lnTo>
                      <a:pt x="90" y="102"/>
                    </a:lnTo>
                    <a:lnTo>
                      <a:pt x="104" y="87"/>
                    </a:lnTo>
                    <a:lnTo>
                      <a:pt x="104" y="87"/>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6" name="Freeform 155">
                <a:extLst>
                  <a:ext uri="{FF2B5EF4-FFF2-40B4-BE49-F238E27FC236}">
                    <a16:creationId xmlns:a16="http://schemas.microsoft.com/office/drawing/2014/main" id="{6637DEE2-9D77-4B1D-AC90-F4987C0C9ECF}"/>
                  </a:ext>
                </a:extLst>
              </p:cNvPr>
              <p:cNvSpPr>
                <a:spLocks/>
              </p:cNvSpPr>
              <p:nvPr/>
            </p:nvSpPr>
            <p:spPr bwMode="auto">
              <a:xfrm>
                <a:off x="4247" y="2244"/>
                <a:ext cx="174" cy="105"/>
              </a:xfrm>
              <a:custGeom>
                <a:avLst/>
                <a:gdLst>
                  <a:gd name="T0" fmla="*/ 87 w 174"/>
                  <a:gd name="T1" fmla="*/ 0 h 105"/>
                  <a:gd name="T2" fmla="*/ 70 w 174"/>
                  <a:gd name="T3" fmla="*/ 17 h 105"/>
                  <a:gd name="T4" fmla="*/ 70 w 174"/>
                  <a:gd name="T5" fmla="*/ 17 h 105"/>
                  <a:gd name="T6" fmla="*/ 0 w 174"/>
                  <a:gd name="T7" fmla="*/ 88 h 105"/>
                  <a:gd name="T8" fmla="*/ 18 w 174"/>
                  <a:gd name="T9" fmla="*/ 105 h 105"/>
                  <a:gd name="T10" fmla="*/ 89 w 174"/>
                  <a:gd name="T11" fmla="*/ 35 h 105"/>
                  <a:gd name="T12" fmla="*/ 158 w 174"/>
                  <a:gd name="T13" fmla="*/ 104 h 105"/>
                  <a:gd name="T14" fmla="*/ 174 w 174"/>
                  <a:gd name="T15" fmla="*/ 88 h 105"/>
                  <a:gd name="T16" fmla="*/ 105 w 174"/>
                  <a:gd name="T17" fmla="*/ 19 h 105"/>
                  <a:gd name="T18" fmla="*/ 87 w 174"/>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105">
                    <a:moveTo>
                      <a:pt x="87" y="0"/>
                    </a:moveTo>
                    <a:lnTo>
                      <a:pt x="70" y="17"/>
                    </a:lnTo>
                    <a:lnTo>
                      <a:pt x="70" y="17"/>
                    </a:lnTo>
                    <a:lnTo>
                      <a:pt x="0" y="88"/>
                    </a:lnTo>
                    <a:lnTo>
                      <a:pt x="18" y="105"/>
                    </a:lnTo>
                    <a:lnTo>
                      <a:pt x="89" y="35"/>
                    </a:lnTo>
                    <a:lnTo>
                      <a:pt x="158" y="104"/>
                    </a:lnTo>
                    <a:lnTo>
                      <a:pt x="174" y="88"/>
                    </a:lnTo>
                    <a:lnTo>
                      <a:pt x="105" y="19"/>
                    </a:lnTo>
                    <a:lnTo>
                      <a:pt x="87" y="0"/>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7" name="Freeform 156">
                <a:extLst>
                  <a:ext uri="{FF2B5EF4-FFF2-40B4-BE49-F238E27FC236}">
                    <a16:creationId xmlns:a16="http://schemas.microsoft.com/office/drawing/2014/main" id="{723170E1-F52C-4F64-9506-8B47F2D2F164}"/>
                  </a:ext>
                </a:extLst>
              </p:cNvPr>
              <p:cNvSpPr>
                <a:spLocks/>
              </p:cNvSpPr>
              <p:nvPr/>
            </p:nvSpPr>
            <p:spPr bwMode="auto">
              <a:xfrm>
                <a:off x="4247" y="2534"/>
                <a:ext cx="174" cy="105"/>
              </a:xfrm>
              <a:custGeom>
                <a:avLst/>
                <a:gdLst>
                  <a:gd name="T0" fmla="*/ 157 w 174"/>
                  <a:gd name="T1" fmla="*/ 0 h 105"/>
                  <a:gd name="T2" fmla="*/ 86 w 174"/>
                  <a:gd name="T3" fmla="*/ 70 h 105"/>
                  <a:gd name="T4" fmla="*/ 17 w 174"/>
                  <a:gd name="T5" fmla="*/ 1 h 105"/>
                  <a:gd name="T6" fmla="*/ 0 w 174"/>
                  <a:gd name="T7" fmla="*/ 17 h 105"/>
                  <a:gd name="T8" fmla="*/ 70 w 174"/>
                  <a:gd name="T9" fmla="*/ 87 h 105"/>
                  <a:gd name="T10" fmla="*/ 70 w 174"/>
                  <a:gd name="T11" fmla="*/ 87 h 105"/>
                  <a:gd name="T12" fmla="*/ 72 w 174"/>
                  <a:gd name="T13" fmla="*/ 90 h 105"/>
                  <a:gd name="T14" fmla="*/ 87 w 174"/>
                  <a:gd name="T15" fmla="*/ 105 h 105"/>
                  <a:gd name="T16" fmla="*/ 105 w 174"/>
                  <a:gd name="T17" fmla="*/ 88 h 105"/>
                  <a:gd name="T18" fmla="*/ 105 w 174"/>
                  <a:gd name="T19" fmla="*/ 88 h 105"/>
                  <a:gd name="T20" fmla="*/ 174 w 174"/>
                  <a:gd name="T21" fmla="*/ 17 h 105"/>
                  <a:gd name="T22" fmla="*/ 157 w 174"/>
                  <a:gd name="T2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4" h="105">
                    <a:moveTo>
                      <a:pt x="157" y="0"/>
                    </a:moveTo>
                    <a:lnTo>
                      <a:pt x="86" y="70"/>
                    </a:lnTo>
                    <a:lnTo>
                      <a:pt x="17" y="1"/>
                    </a:lnTo>
                    <a:lnTo>
                      <a:pt x="0" y="17"/>
                    </a:lnTo>
                    <a:lnTo>
                      <a:pt x="70" y="87"/>
                    </a:lnTo>
                    <a:lnTo>
                      <a:pt x="70" y="87"/>
                    </a:lnTo>
                    <a:lnTo>
                      <a:pt x="72" y="90"/>
                    </a:lnTo>
                    <a:lnTo>
                      <a:pt x="87" y="105"/>
                    </a:lnTo>
                    <a:lnTo>
                      <a:pt x="105" y="88"/>
                    </a:lnTo>
                    <a:lnTo>
                      <a:pt x="105" y="88"/>
                    </a:lnTo>
                    <a:lnTo>
                      <a:pt x="174" y="17"/>
                    </a:lnTo>
                    <a:lnTo>
                      <a:pt x="157" y="0"/>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8" name="Freeform 157">
                <a:extLst>
                  <a:ext uri="{FF2B5EF4-FFF2-40B4-BE49-F238E27FC236}">
                    <a16:creationId xmlns:a16="http://schemas.microsoft.com/office/drawing/2014/main" id="{0FCE30F5-4B24-42AB-A8FC-9419E846B16D}"/>
                  </a:ext>
                </a:extLst>
              </p:cNvPr>
              <p:cNvSpPr>
                <a:spLocks/>
              </p:cNvSpPr>
              <p:nvPr/>
            </p:nvSpPr>
            <p:spPr bwMode="auto">
              <a:xfrm>
                <a:off x="4286" y="2392"/>
                <a:ext cx="98" cy="99"/>
              </a:xfrm>
              <a:custGeom>
                <a:avLst/>
                <a:gdLst>
                  <a:gd name="T0" fmla="*/ 80 w 85"/>
                  <a:gd name="T1" fmla="*/ 86 h 86"/>
                  <a:gd name="T2" fmla="*/ 5 w 85"/>
                  <a:gd name="T3" fmla="*/ 86 h 86"/>
                  <a:gd name="T4" fmla="*/ 0 w 85"/>
                  <a:gd name="T5" fmla="*/ 80 h 86"/>
                  <a:gd name="T6" fmla="*/ 0 w 85"/>
                  <a:gd name="T7" fmla="*/ 6 h 86"/>
                  <a:gd name="T8" fmla="*/ 5 w 85"/>
                  <a:gd name="T9" fmla="*/ 0 h 86"/>
                  <a:gd name="T10" fmla="*/ 80 w 85"/>
                  <a:gd name="T11" fmla="*/ 0 h 86"/>
                  <a:gd name="T12" fmla="*/ 85 w 85"/>
                  <a:gd name="T13" fmla="*/ 6 h 86"/>
                  <a:gd name="T14" fmla="*/ 85 w 85"/>
                  <a:gd name="T15" fmla="*/ 80 h 86"/>
                  <a:gd name="T16" fmla="*/ 80 w 85"/>
                  <a:gd name="T1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86">
                    <a:moveTo>
                      <a:pt x="80" y="86"/>
                    </a:moveTo>
                    <a:cubicBezTo>
                      <a:pt x="5" y="86"/>
                      <a:pt x="5" y="86"/>
                      <a:pt x="5" y="86"/>
                    </a:cubicBezTo>
                    <a:cubicBezTo>
                      <a:pt x="2" y="86"/>
                      <a:pt x="0" y="83"/>
                      <a:pt x="0" y="80"/>
                    </a:cubicBezTo>
                    <a:cubicBezTo>
                      <a:pt x="0" y="6"/>
                      <a:pt x="0" y="6"/>
                      <a:pt x="0" y="6"/>
                    </a:cubicBezTo>
                    <a:cubicBezTo>
                      <a:pt x="0" y="3"/>
                      <a:pt x="2" y="0"/>
                      <a:pt x="5" y="0"/>
                    </a:cubicBezTo>
                    <a:cubicBezTo>
                      <a:pt x="80" y="0"/>
                      <a:pt x="80" y="0"/>
                      <a:pt x="80" y="0"/>
                    </a:cubicBezTo>
                    <a:cubicBezTo>
                      <a:pt x="83" y="0"/>
                      <a:pt x="85" y="3"/>
                      <a:pt x="85" y="6"/>
                    </a:cubicBezTo>
                    <a:cubicBezTo>
                      <a:pt x="85" y="80"/>
                      <a:pt x="85" y="80"/>
                      <a:pt x="85" y="80"/>
                    </a:cubicBezTo>
                    <a:cubicBezTo>
                      <a:pt x="85" y="83"/>
                      <a:pt x="83" y="86"/>
                      <a:pt x="80" y="86"/>
                    </a:cubicBez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pic>
        <p:nvPicPr>
          <p:cNvPr id="131" name="Picture 130" descr="A picture containing drawing&#10;&#10;Description automatically generated">
            <a:extLst>
              <a:ext uri="{FF2B5EF4-FFF2-40B4-BE49-F238E27FC236}">
                <a16:creationId xmlns:a16="http://schemas.microsoft.com/office/drawing/2014/main" id="{59F9FD67-8D8F-4F9A-9F14-B178DB95A4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535" y="4292986"/>
            <a:ext cx="1627451" cy="859485"/>
          </a:xfrm>
          <a:prstGeom prst="rect">
            <a:avLst/>
          </a:prstGeom>
        </p:spPr>
      </p:pic>
      <p:pic>
        <p:nvPicPr>
          <p:cNvPr id="133" name="Picture 132" descr="A picture containing drawing&#10;&#10;Description automatically generated">
            <a:extLst>
              <a:ext uri="{FF2B5EF4-FFF2-40B4-BE49-F238E27FC236}">
                <a16:creationId xmlns:a16="http://schemas.microsoft.com/office/drawing/2014/main" id="{6B8C9D6C-1696-412C-94E1-7F7F838BF3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095" y="3654407"/>
            <a:ext cx="2169935" cy="797535"/>
          </a:xfrm>
          <a:prstGeom prst="rect">
            <a:avLst/>
          </a:prstGeom>
        </p:spPr>
      </p:pic>
      <p:cxnSp>
        <p:nvCxnSpPr>
          <p:cNvPr id="3" name="Straight Connector 2">
            <a:extLst>
              <a:ext uri="{FF2B5EF4-FFF2-40B4-BE49-F238E27FC236}">
                <a16:creationId xmlns:a16="http://schemas.microsoft.com/office/drawing/2014/main" id="{2FFCF552-6445-4E79-95CF-548DCDF0884E}"/>
              </a:ext>
            </a:extLst>
          </p:cNvPr>
          <p:cNvCxnSpPr>
            <a:cxnSpLocks/>
          </p:cNvCxnSpPr>
          <p:nvPr/>
        </p:nvCxnSpPr>
        <p:spPr>
          <a:xfrm>
            <a:off x="0" y="887767"/>
            <a:ext cx="12192000" cy="0"/>
          </a:xfrm>
          <a:prstGeom prst="line">
            <a:avLst/>
          </a:prstGeom>
          <a:ln w="127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1561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98B20-7C73-403A-A938-F2C51F7DE73E}"/>
              </a:ext>
            </a:extLst>
          </p:cNvPr>
          <p:cNvSpPr>
            <a:spLocks noGrp="1"/>
          </p:cNvSpPr>
          <p:nvPr>
            <p:ph type="title"/>
          </p:nvPr>
        </p:nvSpPr>
        <p:spPr>
          <a:xfrm>
            <a:off x="290370" y="146270"/>
            <a:ext cx="11655840" cy="899665"/>
          </a:xfrm>
        </p:spPr>
        <p:txBody>
          <a:bodyPr/>
          <a:lstStyle/>
          <a:p>
            <a:r>
              <a:rPr kumimoji="0" lang="en-US" sz="4000" b="0" i="0" u="none" strike="noStrike" kern="1200" cap="none" spc="-100" normalizeH="0" baseline="0" noProof="0">
                <a:ln w="3175">
                  <a:noFill/>
                </a:ln>
                <a:solidFill>
                  <a:srgbClr val="0078D7"/>
                </a:solidFill>
                <a:effectLst/>
                <a:uLnTx/>
                <a:uFillTx/>
                <a:latin typeface="Segoe UI Light"/>
                <a:ea typeface="+mn-ea"/>
                <a:cs typeface="Segoe UI" pitchFamily="34" charset="0"/>
              </a:rPr>
              <a:t>FY21 Modern Work GTM strategy</a:t>
            </a:r>
            <a:endParaRPr lang="en-US" sz="4000"/>
          </a:p>
        </p:txBody>
      </p:sp>
      <p:cxnSp>
        <p:nvCxnSpPr>
          <p:cNvPr id="3" name="Straight Connector 2">
            <a:extLst>
              <a:ext uri="{FF2B5EF4-FFF2-40B4-BE49-F238E27FC236}">
                <a16:creationId xmlns:a16="http://schemas.microsoft.com/office/drawing/2014/main" id="{2FFCF552-6445-4E79-95CF-548DCDF0884E}"/>
              </a:ext>
            </a:extLst>
          </p:cNvPr>
          <p:cNvCxnSpPr>
            <a:cxnSpLocks/>
          </p:cNvCxnSpPr>
          <p:nvPr/>
        </p:nvCxnSpPr>
        <p:spPr>
          <a:xfrm>
            <a:off x="0" y="887767"/>
            <a:ext cx="12192000" cy="0"/>
          </a:xfrm>
          <a:prstGeom prst="line">
            <a:avLst/>
          </a:prstGeom>
          <a:ln w="12700">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1990F79B-046B-4185-89FA-6D9DEA01AD61}"/>
              </a:ext>
            </a:extLst>
          </p:cNvPr>
          <p:cNvGraphicFramePr>
            <a:graphicFrameLocks noGrp="1"/>
          </p:cNvGraphicFramePr>
          <p:nvPr>
            <p:extLst>
              <p:ext uri="{D42A27DB-BD31-4B8C-83A1-F6EECF244321}">
                <p14:modId xmlns:p14="http://schemas.microsoft.com/office/powerpoint/2010/main" val="2020716702"/>
              </p:ext>
            </p:extLst>
          </p:nvPr>
        </p:nvGraphicFramePr>
        <p:xfrm>
          <a:off x="374876" y="1787432"/>
          <a:ext cx="11442247" cy="3286332"/>
        </p:xfrm>
        <a:graphic>
          <a:graphicData uri="http://schemas.openxmlformats.org/drawingml/2006/table">
            <a:tbl>
              <a:tblPr firstRow="1" bandRow="1">
                <a:tableStyleId>{6E25E649-3F16-4E02-A733-19D2CDBF48F0}</a:tableStyleId>
              </a:tblPr>
              <a:tblGrid>
                <a:gridCol w="2332323">
                  <a:extLst>
                    <a:ext uri="{9D8B030D-6E8A-4147-A177-3AD203B41FA5}">
                      <a16:colId xmlns:a16="http://schemas.microsoft.com/office/drawing/2014/main" val="494925782"/>
                    </a:ext>
                  </a:extLst>
                </a:gridCol>
                <a:gridCol w="4554962">
                  <a:extLst>
                    <a:ext uri="{9D8B030D-6E8A-4147-A177-3AD203B41FA5}">
                      <a16:colId xmlns:a16="http://schemas.microsoft.com/office/drawing/2014/main" val="3641117822"/>
                    </a:ext>
                  </a:extLst>
                </a:gridCol>
                <a:gridCol w="4554962">
                  <a:extLst>
                    <a:ext uri="{9D8B030D-6E8A-4147-A177-3AD203B41FA5}">
                      <a16:colId xmlns:a16="http://schemas.microsoft.com/office/drawing/2014/main" val="1099559733"/>
                    </a:ext>
                  </a:extLst>
                </a:gridCol>
              </a:tblGrid>
              <a:tr h="469476">
                <a:tc>
                  <a:txBody>
                    <a:bodyPr/>
                    <a:lstStyle/>
                    <a:p>
                      <a:pPr algn="ctr"/>
                      <a:endParaRPr lang="en-US" b="1"/>
                    </a:p>
                  </a:txBody>
                  <a:tcPr anchor="ctr"/>
                </a:tc>
                <a:tc>
                  <a:txBody>
                    <a:bodyPr/>
                    <a:lstStyle/>
                    <a:p>
                      <a:pPr algn="ctr"/>
                      <a:r>
                        <a:rPr lang="en-US" b="1"/>
                        <a:t>1:many GTM activities</a:t>
                      </a:r>
                    </a:p>
                  </a:txBody>
                  <a:tcPr anchor="ctr"/>
                </a:tc>
                <a:tc>
                  <a:txBody>
                    <a:bodyPr/>
                    <a:lstStyle/>
                    <a:p>
                      <a:pPr algn="ctr"/>
                      <a:r>
                        <a:rPr lang="en-US" b="1"/>
                        <a:t>1:1 GTM activities</a:t>
                      </a:r>
                    </a:p>
                  </a:txBody>
                  <a:tcPr anchor="ctr"/>
                </a:tc>
                <a:extLst>
                  <a:ext uri="{0D108BD9-81ED-4DB2-BD59-A6C34878D82A}">
                    <a16:rowId xmlns:a16="http://schemas.microsoft.com/office/drawing/2014/main" val="456698815"/>
                  </a:ext>
                </a:extLst>
              </a:tr>
              <a:tr h="469476">
                <a:tc>
                  <a:txBody>
                    <a:bodyPr/>
                    <a:lstStyle/>
                    <a:p>
                      <a:r>
                        <a:rPr lang="en-US"/>
                        <a:t>Customers to target</a:t>
                      </a:r>
                    </a:p>
                  </a:txBody>
                  <a:tcPr anchor="ctr"/>
                </a:tc>
                <a:tc>
                  <a:txBody>
                    <a:bodyPr/>
                    <a:lstStyle/>
                    <a:p>
                      <a:r>
                        <a:rPr lang="en-US"/>
                        <a:t>Midmarket customers (20+ seats)</a:t>
                      </a:r>
                    </a:p>
                  </a:txBody>
                  <a:tcPr anchor="ctr"/>
                </a:tc>
                <a:tc>
                  <a:txBody>
                    <a:bodyPr/>
                    <a:lstStyle/>
                    <a:p>
                      <a:r>
                        <a:rPr lang="en-US"/>
                        <a:t>Big customers (100+, 300+, 1000+ seats)</a:t>
                      </a:r>
                    </a:p>
                  </a:txBody>
                  <a:tcPr anchor="ctr"/>
                </a:tc>
                <a:extLst>
                  <a:ext uri="{0D108BD9-81ED-4DB2-BD59-A6C34878D82A}">
                    <a16:rowId xmlns:a16="http://schemas.microsoft.com/office/drawing/2014/main" val="1696100502"/>
                  </a:ext>
                </a:extLst>
              </a:tr>
              <a:tr h="469476">
                <a:tc>
                  <a:txBody>
                    <a:bodyPr/>
                    <a:lstStyle/>
                    <a:p>
                      <a:r>
                        <a:rPr lang="en-US"/>
                        <a:t>Partner requirement</a:t>
                      </a:r>
                    </a:p>
                  </a:txBody>
                  <a:tcPr anchor="ctr"/>
                </a:tc>
                <a:tc>
                  <a:txBody>
                    <a:bodyPr/>
                    <a:lstStyle/>
                    <a:p>
                      <a:r>
                        <a:rPr lang="en-US"/>
                        <a:t>CSP Direct or Indirect Provider</a:t>
                      </a:r>
                    </a:p>
                  </a:txBody>
                  <a:tcPr anchor="ctr"/>
                </a:tc>
                <a:tc>
                  <a:txBody>
                    <a:bodyPr/>
                    <a:lstStyle/>
                    <a:p>
                      <a:r>
                        <a:rPr lang="en-US"/>
                        <a:t>Cosell Ready MW or Fasttrack MW partners</a:t>
                      </a:r>
                    </a:p>
                  </a:txBody>
                  <a:tcPr anchor="ctr"/>
                </a:tc>
                <a:extLst>
                  <a:ext uri="{0D108BD9-81ED-4DB2-BD59-A6C34878D82A}">
                    <a16:rowId xmlns:a16="http://schemas.microsoft.com/office/drawing/2014/main" val="3073285481"/>
                  </a:ext>
                </a:extLst>
              </a:tr>
              <a:tr h="469476">
                <a:tc>
                  <a:txBody>
                    <a:bodyPr/>
                    <a:lstStyle/>
                    <a:p>
                      <a:r>
                        <a:rPr lang="en-US"/>
                        <a:t>Delivery format</a:t>
                      </a:r>
                    </a:p>
                  </a:txBody>
                  <a:tcPr anchor="ctr"/>
                </a:tc>
                <a:tc>
                  <a:txBody>
                    <a:bodyPr/>
                    <a:lstStyle/>
                    <a:p>
                      <a:r>
                        <a:rPr lang="en-US"/>
                        <a:t>All type of Marketing activities</a:t>
                      </a:r>
                    </a:p>
                  </a:txBody>
                  <a:tcPr anchor="ctr"/>
                </a:tc>
                <a:tc>
                  <a:txBody>
                    <a:bodyPr/>
                    <a:lstStyle/>
                    <a:p>
                      <a:r>
                        <a:rPr lang="en-US"/>
                        <a:t>Only 1:1 using the official content</a:t>
                      </a:r>
                    </a:p>
                  </a:txBody>
                  <a:tcPr anchor="ctr"/>
                </a:tc>
                <a:extLst>
                  <a:ext uri="{0D108BD9-81ED-4DB2-BD59-A6C34878D82A}">
                    <a16:rowId xmlns:a16="http://schemas.microsoft.com/office/drawing/2014/main" val="4262817933"/>
                  </a:ext>
                </a:extLst>
              </a:tr>
              <a:tr h="469476">
                <a:tc>
                  <a:txBody>
                    <a:bodyPr/>
                    <a:lstStyle/>
                    <a:p>
                      <a:r>
                        <a:rPr lang="en-US"/>
                        <a:t>Content to use</a:t>
                      </a:r>
                    </a:p>
                  </a:txBody>
                  <a:tcPr anchor="ctr"/>
                </a:tc>
                <a:tc>
                  <a:txBody>
                    <a:bodyPr/>
                    <a:lstStyle/>
                    <a:p>
                      <a:r>
                        <a:rPr lang="en-US"/>
                        <a:t>Teamwork/Security/Adoption</a:t>
                      </a:r>
                    </a:p>
                  </a:txBody>
                  <a:tcPr anchor="ctr"/>
                </a:tc>
                <a:tc>
                  <a:txBody>
                    <a:bodyPr/>
                    <a:lstStyle/>
                    <a:p>
                      <a:r>
                        <a:rPr lang="en-US"/>
                        <a:t>Teamwork/Security/Adoption </a:t>
                      </a:r>
                      <a:r>
                        <a:rPr lang="en-US">
                          <a:hlinkClick r:id="rId2"/>
                        </a:rPr>
                        <a:t>assessments</a:t>
                      </a:r>
                      <a:r>
                        <a:rPr lang="en-US"/>
                        <a:t> </a:t>
                      </a:r>
                    </a:p>
                  </a:txBody>
                  <a:tcPr anchor="ctr"/>
                </a:tc>
                <a:extLst>
                  <a:ext uri="{0D108BD9-81ED-4DB2-BD59-A6C34878D82A}">
                    <a16:rowId xmlns:a16="http://schemas.microsoft.com/office/drawing/2014/main" val="4025262167"/>
                  </a:ext>
                </a:extLst>
              </a:tr>
              <a:tr h="469476">
                <a:tc>
                  <a:txBody>
                    <a:bodyPr/>
                    <a:lstStyle/>
                    <a:p>
                      <a:r>
                        <a:rPr lang="en-US"/>
                        <a:t>Goal </a:t>
                      </a:r>
                    </a:p>
                  </a:txBody>
                  <a:tcPr anchor="ctr"/>
                </a:tc>
                <a:tc>
                  <a:txBody>
                    <a:bodyPr/>
                    <a:lstStyle/>
                    <a:p>
                      <a:r>
                        <a:rPr lang="en-US"/>
                        <a:t>Generate 0-20% leads and opportunities</a:t>
                      </a:r>
                    </a:p>
                  </a:txBody>
                  <a:tcPr anchor="ctr"/>
                </a:tc>
                <a:tc>
                  <a:txBody>
                    <a:bodyPr/>
                    <a:lstStyle/>
                    <a:p>
                      <a:r>
                        <a:rPr lang="en-US"/>
                        <a:t>Generate 20% BANT qualified opportunities</a:t>
                      </a:r>
                    </a:p>
                  </a:txBody>
                  <a:tcPr anchor="ctr"/>
                </a:tc>
                <a:extLst>
                  <a:ext uri="{0D108BD9-81ED-4DB2-BD59-A6C34878D82A}">
                    <a16:rowId xmlns:a16="http://schemas.microsoft.com/office/drawing/2014/main" val="1249968276"/>
                  </a:ext>
                </a:extLst>
              </a:tr>
              <a:tr h="469476">
                <a:tc>
                  <a:txBody>
                    <a:bodyPr/>
                    <a:lstStyle/>
                    <a:p>
                      <a:r>
                        <a:rPr lang="en-US"/>
                        <a:t>Start date</a:t>
                      </a:r>
                    </a:p>
                  </a:txBody>
                  <a:tcPr anchor="ctr"/>
                </a:tc>
                <a:tc>
                  <a:txBody>
                    <a:bodyPr/>
                    <a:lstStyle/>
                    <a:p>
                      <a:r>
                        <a:rPr lang="en-US"/>
                        <a:t>July 2020</a:t>
                      </a:r>
                    </a:p>
                  </a:txBody>
                  <a:tcPr anchor="ctr"/>
                </a:tc>
                <a:tc>
                  <a:txBody>
                    <a:bodyPr/>
                    <a:lstStyle/>
                    <a:p>
                      <a:r>
                        <a:rPr lang="en-US"/>
                        <a:t>July 2020</a:t>
                      </a:r>
                    </a:p>
                  </a:txBody>
                  <a:tcPr anchor="ctr"/>
                </a:tc>
                <a:extLst>
                  <a:ext uri="{0D108BD9-81ED-4DB2-BD59-A6C34878D82A}">
                    <a16:rowId xmlns:a16="http://schemas.microsoft.com/office/drawing/2014/main" val="726085142"/>
                  </a:ext>
                </a:extLst>
              </a:tr>
            </a:tbl>
          </a:graphicData>
        </a:graphic>
      </p:graphicFrame>
    </p:spTree>
    <p:extLst>
      <p:ext uri="{BB962C8B-B14F-4D97-AF65-F5344CB8AC3E}">
        <p14:creationId xmlns:p14="http://schemas.microsoft.com/office/powerpoint/2010/main" val="361824781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98B20-7C73-403A-A938-F2C51F7DE73E}"/>
              </a:ext>
            </a:extLst>
          </p:cNvPr>
          <p:cNvSpPr>
            <a:spLocks noGrp="1"/>
          </p:cNvSpPr>
          <p:nvPr>
            <p:ph type="title"/>
          </p:nvPr>
        </p:nvSpPr>
        <p:spPr>
          <a:xfrm>
            <a:off x="290370" y="146270"/>
            <a:ext cx="11655840" cy="899665"/>
          </a:xfrm>
        </p:spPr>
        <p:txBody>
          <a:bodyPr/>
          <a:lstStyle/>
          <a:p>
            <a:r>
              <a:rPr kumimoji="0" lang="en-US" sz="4000" b="0" i="0" u="none" strike="noStrike" kern="1200" cap="none" spc="-100" normalizeH="0" baseline="0" noProof="0">
                <a:ln w="3175">
                  <a:noFill/>
                </a:ln>
                <a:solidFill>
                  <a:srgbClr val="0078D7"/>
                </a:solidFill>
                <a:effectLst/>
                <a:uLnTx/>
                <a:uFillTx/>
                <a:latin typeface="Segoe UI Light"/>
                <a:ea typeface="+mn-ea"/>
                <a:cs typeface="Segoe UI" pitchFamily="34" charset="0"/>
              </a:rPr>
              <a:t>Partner readiness</a:t>
            </a:r>
            <a:endParaRPr lang="en-US" sz="4000"/>
          </a:p>
        </p:txBody>
      </p:sp>
      <p:cxnSp>
        <p:nvCxnSpPr>
          <p:cNvPr id="3" name="Straight Connector 2">
            <a:extLst>
              <a:ext uri="{FF2B5EF4-FFF2-40B4-BE49-F238E27FC236}">
                <a16:creationId xmlns:a16="http://schemas.microsoft.com/office/drawing/2014/main" id="{2FFCF552-6445-4E79-95CF-548DCDF0884E}"/>
              </a:ext>
            </a:extLst>
          </p:cNvPr>
          <p:cNvCxnSpPr>
            <a:cxnSpLocks/>
          </p:cNvCxnSpPr>
          <p:nvPr/>
        </p:nvCxnSpPr>
        <p:spPr>
          <a:xfrm>
            <a:off x="0" y="887767"/>
            <a:ext cx="12192000" cy="0"/>
          </a:xfrm>
          <a:prstGeom prst="line">
            <a:avLst/>
          </a:prstGeom>
          <a:ln w="127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6C1DD3E0-64E8-4C70-999E-4768826D9B16}"/>
              </a:ext>
            </a:extLst>
          </p:cNvPr>
          <p:cNvSpPr>
            <a:spLocks noGrp="1"/>
          </p:cNvSpPr>
          <p:nvPr>
            <p:ph type="body" sz="quarter" idx="10"/>
          </p:nvPr>
        </p:nvSpPr>
        <p:spPr>
          <a:xfrm>
            <a:off x="476968" y="1232505"/>
            <a:ext cx="11282643" cy="4817335"/>
          </a:xfrm>
        </p:spPr>
        <p:txBody>
          <a:bodyPr>
            <a:noAutofit/>
          </a:bodyPr>
          <a:lstStyle/>
          <a:p>
            <a:pPr marL="171450" marR="0" lvl="0" indent="-171450" algn="l" defTabSz="914400">
              <a:lnSpc>
                <a:spcPct val="90000"/>
              </a:lnSpc>
              <a:spcBef>
                <a:spcPts val="0"/>
              </a:spcBef>
              <a:spcAft>
                <a:spcPts val="600"/>
              </a:spcAft>
              <a:buClrTx/>
              <a:buSzTx/>
              <a:buFont typeface="Arial" panose="020B0604020202020204" pitchFamily="34" charset="0"/>
              <a:buChar char="•"/>
              <a:tabLst/>
              <a:defRPr/>
            </a:pPr>
            <a:r>
              <a:rPr lang="en-US" sz="1600" b="1"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cs typeface="Segoe UI" panose="020B0502040204020203" pitchFamily="34" charset="0"/>
              </a:rPr>
              <a:t>Digital Hybrid Learning Workshops </a:t>
            </a:r>
          </a:p>
          <a:p>
            <a:pPr marL="628650" lvl="1" indent="-171450">
              <a:spcBef>
                <a:spcPts val="0"/>
              </a:spcBef>
              <a:spcAft>
                <a:spcPts val="600"/>
              </a:spcAft>
              <a:defRPr/>
            </a:pPr>
            <a:r>
              <a:rPr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cs typeface="Segoe UI" panose="020B0502040204020203" pitchFamily="34" charset="0"/>
              </a:rPr>
              <a:t>Executed with Learning Partners to increase the number of MCP certifications, </a:t>
            </a:r>
          </a:p>
          <a:p>
            <a:pPr marL="628650" lvl="1" indent="-171450">
              <a:spcBef>
                <a:spcPts val="0"/>
              </a:spcBef>
              <a:spcAft>
                <a:spcPts val="600"/>
              </a:spcAft>
              <a:defRPr/>
            </a:pPr>
            <a:r>
              <a:rPr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cs typeface="Segoe UI" panose="020B0502040204020203" pitchFamily="34" charset="0"/>
              </a:rPr>
              <a:t>Focus on prioritized advanced Security and Teamwork certifications. </a:t>
            </a:r>
            <a:endParaRPr lang="en-US" sz="1400">
              <a:gradFill>
                <a:gsLst>
                  <a:gs pos="2917">
                    <a:srgbClr val="505050"/>
                  </a:gs>
                  <a:gs pos="30000">
                    <a:srgbClr val="505050"/>
                  </a:gs>
                </a:gsLst>
                <a:lin ang="5400000" scaled="0"/>
              </a:gradFill>
              <a:latin typeface="Segoe UI" panose="020B0502040204020203" pitchFamily="34" charset="0"/>
              <a:cs typeface="Segoe UI" panose="020B0502040204020203" pitchFamily="34" charset="0"/>
            </a:endParaRPr>
          </a:p>
          <a:p>
            <a:pPr marL="171450" marR="0" lvl="0" indent="-171450" algn="l" defTabSz="914400">
              <a:lnSpc>
                <a:spcPct val="90000"/>
              </a:lnSpc>
              <a:spcBef>
                <a:spcPts val="0"/>
              </a:spcBef>
              <a:spcAft>
                <a:spcPts val="600"/>
              </a:spcAft>
              <a:buClrTx/>
              <a:buSzTx/>
              <a:buFont typeface="Arial" panose="020B0604020202020204" pitchFamily="34" charset="0"/>
              <a:buChar char="•"/>
              <a:tabLst/>
              <a:defRPr/>
            </a:pPr>
            <a:r>
              <a:rPr lang="en-US" sz="1600" b="1"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cs typeface="Segoe UI" panose="020B0502040204020203" pitchFamily="34" charset="0"/>
              </a:rPr>
              <a:t>L300+ Deep Tech Trainings for managed partners</a:t>
            </a:r>
            <a:r>
              <a:rPr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cs typeface="Segoe UI" panose="020B0502040204020203" pitchFamily="34" charset="0"/>
              </a:rPr>
              <a:t> </a:t>
            </a:r>
            <a:r>
              <a:rPr lang="en-US" sz="1600" b="1"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cs typeface="Segoe UI" panose="020B0502040204020203" pitchFamily="34" charset="0"/>
              </a:rPr>
              <a:t>and managed Distributors</a:t>
            </a:r>
            <a:r>
              <a:rPr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cs typeface="Segoe UI" panose="020B0502040204020203" pitchFamily="34" charset="0"/>
              </a:rPr>
              <a:t> </a:t>
            </a:r>
          </a:p>
          <a:p>
            <a:pPr marL="628650" lvl="1" indent="-171450">
              <a:spcBef>
                <a:spcPts val="0"/>
              </a:spcBef>
              <a:spcAft>
                <a:spcPts val="600"/>
              </a:spcAft>
              <a:defRPr/>
            </a:pPr>
            <a:r>
              <a:rPr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cs typeface="Segoe UI" panose="020B0502040204020203" pitchFamily="34" charset="0"/>
              </a:rPr>
              <a:t>Focus on Security, Teams Meetings &amp; Calling and Power Platform. </a:t>
            </a:r>
          </a:p>
          <a:p>
            <a:pPr marL="628650" lvl="1" indent="-171450">
              <a:spcBef>
                <a:spcPts val="0"/>
              </a:spcBef>
              <a:spcAft>
                <a:spcPts val="600"/>
              </a:spcAft>
              <a:defRPr/>
            </a:pPr>
            <a:r>
              <a:rPr lang="en-US" sz="1400">
                <a:gradFill>
                  <a:gsLst>
                    <a:gs pos="2917">
                      <a:srgbClr val="505050"/>
                    </a:gs>
                    <a:gs pos="30000">
                      <a:srgbClr val="505050"/>
                    </a:gs>
                  </a:gsLst>
                  <a:lin ang="5400000" scaled="0"/>
                </a:gradFill>
                <a:latin typeface="Segoe UI" panose="020B0502040204020203" pitchFamily="34" charset="0"/>
                <a:cs typeface="Segoe UI" panose="020B0502040204020203" pitchFamily="34" charset="0"/>
              </a:rPr>
              <a:t>3days-5days trainings delivered by experts</a:t>
            </a:r>
            <a:endParaRPr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cs typeface="Segoe UI" panose="020B0502040204020203" pitchFamily="34" charset="0"/>
            </a:endParaRPr>
          </a:p>
          <a:p>
            <a:pPr marL="171450" marR="0" lvl="0" indent="-171450" algn="l" defTabSz="914400">
              <a:lnSpc>
                <a:spcPct val="90000"/>
              </a:lnSpc>
              <a:spcBef>
                <a:spcPts val="0"/>
              </a:spcBef>
              <a:spcAft>
                <a:spcPts val="600"/>
              </a:spcAft>
              <a:buClrTx/>
              <a:buSzTx/>
              <a:buFont typeface="Arial" panose="020B0604020202020204" pitchFamily="34" charset="0"/>
              <a:buChar char="•"/>
              <a:tabLst/>
              <a:defRPr/>
            </a:pPr>
            <a:r>
              <a:rPr lang="en-US" sz="1600" b="1">
                <a:gradFill>
                  <a:gsLst>
                    <a:gs pos="2917">
                      <a:srgbClr val="505050"/>
                    </a:gs>
                    <a:gs pos="30000">
                      <a:srgbClr val="505050"/>
                    </a:gs>
                  </a:gsLst>
                  <a:lin ang="5400000" scaled="0"/>
                </a:gradFill>
                <a:latin typeface="Segoe UI" panose="020B0502040204020203" pitchFamily="34" charset="0"/>
                <a:cs typeface="Segoe UI" panose="020B0502040204020203" pitchFamily="34" charset="0"/>
              </a:rPr>
              <a:t>SMB Fundamentals + M365 Workshops</a:t>
            </a:r>
            <a:r>
              <a:rPr lang="en-US" sz="1600">
                <a:gradFill>
                  <a:gsLst>
                    <a:gs pos="2917">
                      <a:srgbClr val="505050"/>
                    </a:gs>
                    <a:gs pos="30000">
                      <a:srgbClr val="505050"/>
                    </a:gs>
                  </a:gsLst>
                  <a:lin ang="5400000" scaled="0"/>
                </a:gradFill>
                <a:latin typeface="Segoe UI" panose="020B0502040204020203" pitchFamily="34" charset="0"/>
                <a:cs typeface="Segoe UI" panose="020B0502040204020203" pitchFamily="34" charset="0"/>
              </a:rPr>
              <a:t> </a:t>
            </a:r>
          </a:p>
          <a:p>
            <a:pPr marL="628650" lvl="1" indent="-171450">
              <a:spcBef>
                <a:spcPts val="0"/>
              </a:spcBef>
              <a:spcAft>
                <a:spcPts val="600"/>
              </a:spcAft>
              <a:defRPr/>
            </a:pPr>
            <a:r>
              <a:rPr lang="en-US" sz="1400">
                <a:gradFill>
                  <a:gsLst>
                    <a:gs pos="2917">
                      <a:srgbClr val="505050"/>
                    </a:gs>
                    <a:gs pos="30000">
                      <a:srgbClr val="505050"/>
                    </a:gs>
                  </a:gsLst>
                  <a:lin ang="5400000" scaled="0"/>
                </a:gradFill>
                <a:latin typeface="Segoe UI" panose="020B0502040204020203" pitchFamily="34" charset="0"/>
                <a:cs typeface="Segoe UI" panose="020B0502040204020203" pitchFamily="34" charset="0"/>
              </a:rPr>
              <a:t>Continued online enablement in Q1 and Q2, executed by Indirect Providers to resellers, </a:t>
            </a:r>
          </a:p>
          <a:p>
            <a:pPr marL="628650" lvl="1" indent="-171450">
              <a:spcBef>
                <a:spcPts val="0"/>
              </a:spcBef>
              <a:defRPr/>
            </a:pPr>
            <a:r>
              <a:rPr lang="en-US" sz="1400">
                <a:gradFill>
                  <a:gsLst>
                    <a:gs pos="2917">
                      <a:srgbClr val="505050"/>
                    </a:gs>
                    <a:gs pos="30000">
                      <a:srgbClr val="505050"/>
                    </a:gs>
                  </a:gsLst>
                  <a:lin ang="5400000" scaled="0"/>
                </a:gradFill>
                <a:latin typeface="Segoe UI" panose="020B0502040204020203" pitchFamily="34" charset="0"/>
                <a:cs typeface="Segoe UI" panose="020B0502040204020203" pitchFamily="34" charset="0"/>
              </a:rPr>
              <a:t>Focusing on Teams and Security. </a:t>
            </a:r>
          </a:p>
          <a:p>
            <a:pPr marL="171450" indent="-171450">
              <a:lnSpc>
                <a:spcPct val="90000"/>
              </a:lnSpc>
              <a:spcBef>
                <a:spcPts val="0"/>
              </a:spcBef>
              <a:buFont typeface="Arial" panose="020B0604020202020204" pitchFamily="34" charset="0"/>
              <a:buChar char="•"/>
              <a:defRPr/>
            </a:pPr>
            <a:r>
              <a:rPr lang="en-US" sz="1600" b="1">
                <a:gradFill>
                  <a:gsLst>
                    <a:gs pos="2917">
                      <a:srgbClr val="505050"/>
                    </a:gs>
                    <a:gs pos="30000">
                      <a:srgbClr val="505050"/>
                    </a:gs>
                  </a:gsLst>
                  <a:lin ang="5400000" scaled="0"/>
                </a:gradFill>
                <a:latin typeface="Segoe UI" panose="020B0502040204020203" pitchFamily="34" charset="0"/>
                <a:cs typeface="Segoe UI" panose="020B0502040204020203" pitchFamily="34" charset="0"/>
              </a:rPr>
              <a:t>Adoption and Change Management workshops</a:t>
            </a:r>
          </a:p>
          <a:p>
            <a:pPr marL="628650" lvl="1" indent="-171450">
              <a:spcBef>
                <a:spcPts val="0"/>
              </a:spcBef>
              <a:defRPr/>
            </a:pPr>
            <a:r>
              <a:rPr lang="en-US" sz="1400">
                <a:gradFill>
                  <a:gsLst>
                    <a:gs pos="2917">
                      <a:srgbClr val="505050"/>
                    </a:gs>
                    <a:gs pos="30000">
                      <a:srgbClr val="505050"/>
                    </a:gs>
                  </a:gsLst>
                  <a:lin ang="5400000" scaled="0"/>
                </a:gradFill>
                <a:latin typeface="Segoe UI" panose="020B0502040204020203" pitchFamily="34" charset="0"/>
                <a:cs typeface="Segoe UI" panose="020B0502040204020203" pitchFamily="34" charset="0"/>
              </a:rPr>
              <a:t>Continuing our </a:t>
            </a:r>
            <a:r>
              <a:rPr lang="en-US" sz="1400" err="1">
                <a:gradFill>
                  <a:gsLst>
                    <a:gs pos="2917">
                      <a:srgbClr val="505050"/>
                    </a:gs>
                    <a:gs pos="30000">
                      <a:srgbClr val="505050"/>
                    </a:gs>
                  </a:gsLst>
                  <a:lin ang="5400000" scaled="0"/>
                </a:gradFill>
                <a:latin typeface="Segoe UI" panose="020B0502040204020203" pitchFamily="34" charset="0"/>
                <a:cs typeface="Segoe UI" panose="020B0502040204020203" pitchFamily="34" charset="0"/>
              </a:rPr>
              <a:t>Prosci</a:t>
            </a:r>
            <a:r>
              <a:rPr lang="en-US" sz="1400">
                <a:gradFill>
                  <a:gsLst>
                    <a:gs pos="2917">
                      <a:srgbClr val="505050"/>
                    </a:gs>
                    <a:gs pos="30000">
                      <a:srgbClr val="505050"/>
                    </a:gs>
                  </a:gsLst>
                  <a:lin ang="5400000" scaled="0"/>
                </a:gradFill>
                <a:latin typeface="Segoe UI" panose="020B0502040204020203" pitchFamily="34" charset="0"/>
                <a:cs typeface="Segoe UI" panose="020B0502040204020203" pitchFamily="34" charset="0"/>
              </a:rPr>
              <a:t> certification workshops to support partners focusing on corporate and enterprise accounts</a:t>
            </a:r>
            <a:endParaRPr lang="hu-HU" sz="1400">
              <a:gradFill>
                <a:gsLst>
                  <a:gs pos="2917">
                    <a:srgbClr val="505050"/>
                  </a:gs>
                  <a:gs pos="30000">
                    <a:srgbClr val="505050"/>
                  </a:gs>
                </a:gsLst>
                <a:lin ang="5400000" scaled="0"/>
              </a:gradFill>
              <a:latin typeface="Segoe UI" panose="020B0502040204020203" pitchFamily="34" charset="0"/>
              <a:cs typeface="Segoe UI" panose="020B0502040204020203" pitchFamily="34" charset="0"/>
            </a:endParaRPr>
          </a:p>
          <a:p>
            <a:pPr marL="628650" lvl="1" indent="-171450">
              <a:spcBef>
                <a:spcPts val="0"/>
              </a:spcBef>
              <a:defRPr/>
            </a:pPr>
            <a:endParaRPr lang="en-US" sz="1400">
              <a:gradFill>
                <a:gsLst>
                  <a:gs pos="2917">
                    <a:srgbClr val="505050"/>
                  </a:gs>
                  <a:gs pos="30000">
                    <a:srgbClr val="505050"/>
                  </a:gs>
                </a:gsLst>
                <a:lin ang="5400000" scaled="0"/>
              </a:gradFill>
              <a:latin typeface="Segoe UI" panose="020B0502040204020203" pitchFamily="34" charset="0"/>
              <a:cs typeface="Segoe UI" panose="020B0502040204020203" pitchFamily="34" charset="0"/>
            </a:endParaRPr>
          </a:p>
          <a:p>
            <a:pPr marL="0" indent="0">
              <a:lnSpc>
                <a:spcPct val="90000"/>
              </a:lnSpc>
              <a:spcBef>
                <a:spcPts val="0"/>
              </a:spcBef>
              <a:buNone/>
              <a:defRPr/>
            </a:pPr>
            <a:endParaRPr lang="hu-HU" sz="1600" b="1">
              <a:gradFill>
                <a:gsLst>
                  <a:gs pos="2917">
                    <a:srgbClr val="505050"/>
                  </a:gs>
                  <a:gs pos="30000">
                    <a:srgbClr val="505050"/>
                  </a:gs>
                </a:gsLst>
                <a:lin ang="5400000" scaled="0"/>
              </a:gradFill>
              <a:latin typeface="Segoe UI" panose="020B0502040204020203" pitchFamily="34" charset="0"/>
              <a:cs typeface="Segoe UI" panose="020B0502040204020203" pitchFamily="34" charset="0"/>
            </a:endParaRPr>
          </a:p>
          <a:p>
            <a:pPr marL="0" indent="0">
              <a:lnSpc>
                <a:spcPct val="90000"/>
              </a:lnSpc>
              <a:spcBef>
                <a:spcPts val="0"/>
              </a:spcBef>
              <a:buNone/>
              <a:defRPr/>
            </a:pPr>
            <a:r>
              <a:rPr lang="en-US" sz="1600" b="1">
                <a:gradFill>
                  <a:gsLst>
                    <a:gs pos="2917">
                      <a:srgbClr val="505050"/>
                    </a:gs>
                    <a:gs pos="30000">
                      <a:srgbClr val="505050"/>
                    </a:gs>
                  </a:gsLst>
                  <a:lin ang="5400000" scaled="0"/>
                </a:gradFill>
                <a:latin typeface="Segoe UI" panose="020B0502040204020203" pitchFamily="34" charset="0"/>
                <a:cs typeface="Segoe UI" panose="020B0502040204020203" pitchFamily="34" charset="0"/>
              </a:rPr>
              <a:t>Resources supporting the delivery of the 1:1 assessments</a:t>
            </a:r>
          </a:p>
          <a:p>
            <a:pPr>
              <a:spcBef>
                <a:spcPts val="0"/>
              </a:spcBef>
              <a:defRPr/>
            </a:pPr>
            <a:r>
              <a:rPr lang="en-US" sz="1400">
                <a:gradFill>
                  <a:gsLst>
                    <a:gs pos="2917">
                      <a:srgbClr val="505050"/>
                    </a:gs>
                    <a:gs pos="30000">
                      <a:srgbClr val="505050"/>
                    </a:gs>
                  </a:gsLst>
                  <a:lin ang="5400000" scaled="0"/>
                </a:gradFill>
                <a:latin typeface="Segoe UI" panose="020B0502040204020203" pitchFamily="34" charset="0"/>
                <a:cs typeface="Segoe UI" panose="020B0502040204020203" pitchFamily="34" charset="0"/>
                <a:hlinkClick r:id="rId2"/>
              </a:rPr>
              <a:t>Train the trainer materials and the assessment itself</a:t>
            </a:r>
            <a:endParaRPr lang="en-US" sz="1400" u="sng">
              <a:solidFill>
                <a:srgbClr val="0563C1"/>
              </a:solidFill>
              <a:latin typeface="Segoe UI" panose="020B0502040204020203" pitchFamily="34" charset="0"/>
              <a:cs typeface="Segoe UI" panose="020B0502040204020203" pitchFamily="34" charset="0"/>
            </a:endParaRPr>
          </a:p>
          <a:p>
            <a:pPr marL="0" indent="0" fontAlgn="base">
              <a:spcBef>
                <a:spcPts val="0"/>
              </a:spcBef>
              <a:buNone/>
            </a:pPr>
            <a:endParaRPr lang="hu-HU" sz="1600" b="1">
              <a:gradFill>
                <a:gsLst>
                  <a:gs pos="2917">
                    <a:srgbClr val="505050"/>
                  </a:gs>
                  <a:gs pos="30000">
                    <a:srgbClr val="505050"/>
                  </a:gs>
                </a:gsLst>
                <a:lin ang="5400000" scaled="0"/>
              </a:gradFill>
              <a:latin typeface="Segoe UI" panose="020B0502040204020203" pitchFamily="34" charset="0"/>
              <a:cs typeface="Segoe UI" panose="020B0502040204020203" pitchFamily="34" charset="0"/>
            </a:endParaRPr>
          </a:p>
          <a:p>
            <a:pPr marL="0" indent="0" fontAlgn="base">
              <a:spcBef>
                <a:spcPts val="0"/>
              </a:spcBef>
              <a:buNone/>
            </a:pPr>
            <a:r>
              <a:rPr lang="en-US" sz="1600" b="1">
                <a:gradFill>
                  <a:gsLst>
                    <a:gs pos="2917">
                      <a:srgbClr val="505050"/>
                    </a:gs>
                    <a:gs pos="30000">
                      <a:srgbClr val="505050"/>
                    </a:gs>
                  </a:gsLst>
                  <a:lin ang="5400000" scaled="0"/>
                </a:gradFill>
                <a:latin typeface="Segoe UI" panose="020B0502040204020203" pitchFamily="34" charset="0"/>
                <a:cs typeface="Segoe UI" panose="020B0502040204020203" pitchFamily="34" charset="0"/>
              </a:rPr>
              <a:t>Other resources available</a:t>
            </a:r>
            <a:endParaRPr lang="en-US" sz="1600" b="1" u="sng">
              <a:solidFill>
                <a:srgbClr val="0563C1"/>
              </a:solidFill>
              <a:latin typeface="Segoe UI" panose="020B0502040204020203" pitchFamily="34" charset="0"/>
              <a:cs typeface="Segoe UI" panose="020B0502040204020203" pitchFamily="34" charset="0"/>
            </a:endParaRPr>
          </a:p>
          <a:p>
            <a:pPr fontAlgn="base">
              <a:spcBef>
                <a:spcPts val="0"/>
              </a:spcBef>
            </a:pPr>
            <a:r>
              <a:rPr lang="en-US" sz="1400" b="0" i="0" u="sng" strike="noStrike">
                <a:solidFill>
                  <a:srgbClr val="0563C1"/>
                </a:solidFill>
                <a:effectLst/>
                <a:latin typeface="Segoe UI" panose="020B0502040204020203" pitchFamily="34" charset="0"/>
                <a:cs typeface="Segoe UI" panose="020B0502040204020203" pitchFamily="34" charset="0"/>
              </a:rPr>
              <a:t>M365 For Partner Technical Readiness</a:t>
            </a:r>
            <a:r>
              <a:rPr lang="en-US" sz="1400" b="0" i="0">
                <a:solidFill>
                  <a:srgbClr val="000000"/>
                </a:solidFill>
                <a:effectLst/>
                <a:latin typeface="Segoe UI" panose="020B0502040204020203" pitchFamily="34" charset="0"/>
                <a:cs typeface="Segoe UI" panose="020B0502040204020203" pitchFamily="34" charset="0"/>
              </a:rPr>
              <a:t>​</a:t>
            </a:r>
          </a:p>
          <a:p>
            <a:pPr algn="l" rtl="0" fontAlgn="base">
              <a:spcBef>
                <a:spcPts val="0"/>
              </a:spcBef>
            </a:pPr>
            <a:r>
              <a:rPr lang="en-US" sz="1400" b="0" i="0">
                <a:solidFill>
                  <a:srgbClr val="000000"/>
                </a:solidFill>
                <a:effectLst/>
                <a:latin typeface="Segoe UI" panose="020B0502040204020203" pitchFamily="34" charset="0"/>
                <a:cs typeface="Segoe UI" panose="020B0502040204020203" pitchFamily="34" charset="0"/>
                <a:hlinkClick r:id="rId3"/>
              </a:rPr>
              <a:t>M365 For Partners Sales Readiness</a:t>
            </a:r>
            <a:endParaRPr lang="en-US" sz="1400" b="0" i="0">
              <a:solidFill>
                <a:srgbClr val="000000"/>
              </a:solidFill>
              <a:effectLst/>
              <a:latin typeface="Segoe UI" panose="020B0502040204020203" pitchFamily="34" charset="0"/>
              <a:cs typeface="Segoe UI" panose="020B0502040204020203" pitchFamily="34" charset="0"/>
            </a:endParaRPr>
          </a:p>
          <a:p>
            <a:endParaRPr lang="en-US" sz="16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5844493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98B20-7C73-403A-A938-F2C51F7DE73E}"/>
              </a:ext>
            </a:extLst>
          </p:cNvPr>
          <p:cNvSpPr>
            <a:spLocks noGrp="1"/>
          </p:cNvSpPr>
          <p:nvPr>
            <p:ph type="title"/>
          </p:nvPr>
        </p:nvSpPr>
        <p:spPr>
          <a:xfrm>
            <a:off x="290370" y="146270"/>
            <a:ext cx="11655840" cy="899665"/>
          </a:xfrm>
        </p:spPr>
        <p:txBody>
          <a:bodyPr/>
          <a:lstStyle/>
          <a:p>
            <a:r>
              <a:rPr kumimoji="0" lang="en-US" sz="4000" b="0" i="0" u="none" strike="noStrike" kern="1200" cap="none" spc="-100" normalizeH="0" baseline="0" noProof="0">
                <a:ln w="3175">
                  <a:noFill/>
                </a:ln>
                <a:solidFill>
                  <a:srgbClr val="0078D7"/>
                </a:solidFill>
                <a:effectLst/>
                <a:uLnTx/>
                <a:uFillTx/>
                <a:latin typeface="Segoe UI Light"/>
                <a:ea typeface="+mn-ea"/>
                <a:cs typeface="Segoe UI" pitchFamily="34" charset="0"/>
              </a:rPr>
              <a:t>Next steps (on top of doing the readiness)</a:t>
            </a:r>
            <a:endParaRPr lang="en-US" sz="4000"/>
          </a:p>
        </p:txBody>
      </p:sp>
      <p:cxnSp>
        <p:nvCxnSpPr>
          <p:cNvPr id="3" name="Straight Connector 2">
            <a:extLst>
              <a:ext uri="{FF2B5EF4-FFF2-40B4-BE49-F238E27FC236}">
                <a16:creationId xmlns:a16="http://schemas.microsoft.com/office/drawing/2014/main" id="{2FFCF552-6445-4E79-95CF-548DCDF0884E}"/>
              </a:ext>
            </a:extLst>
          </p:cNvPr>
          <p:cNvCxnSpPr>
            <a:cxnSpLocks/>
          </p:cNvCxnSpPr>
          <p:nvPr/>
        </p:nvCxnSpPr>
        <p:spPr>
          <a:xfrm>
            <a:off x="0" y="887767"/>
            <a:ext cx="12192000" cy="0"/>
          </a:xfrm>
          <a:prstGeom prst="line">
            <a:avLst/>
          </a:prstGeom>
          <a:ln w="12700">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F3FD5A28-D27F-415C-869C-C982CE3702F1}"/>
              </a:ext>
            </a:extLst>
          </p:cNvPr>
          <p:cNvSpPr txBox="1">
            <a:spLocks/>
          </p:cNvSpPr>
          <p:nvPr/>
        </p:nvSpPr>
        <p:spPr>
          <a:xfrm>
            <a:off x="358800" y="1384259"/>
            <a:ext cx="11208564" cy="60882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t>If you are a</a:t>
            </a:r>
          </a:p>
          <a:p>
            <a:pPr marL="0" indent="0">
              <a:buFont typeface="Arial" panose="020B0604020202020204" pitchFamily="34" charset="0"/>
              <a:buNone/>
            </a:pPr>
            <a:endParaRPr lang="en-US"/>
          </a:p>
        </p:txBody>
      </p:sp>
      <p:graphicFrame>
        <p:nvGraphicFramePr>
          <p:cNvPr id="9" name="Table 4">
            <a:extLst>
              <a:ext uri="{FF2B5EF4-FFF2-40B4-BE49-F238E27FC236}">
                <a16:creationId xmlns:a16="http://schemas.microsoft.com/office/drawing/2014/main" id="{0A17F402-B704-4143-A9D1-EB50FF8883ED}"/>
              </a:ext>
            </a:extLst>
          </p:cNvPr>
          <p:cNvGraphicFramePr>
            <a:graphicFrameLocks noGrp="1"/>
          </p:cNvGraphicFramePr>
          <p:nvPr>
            <p:extLst>
              <p:ext uri="{D42A27DB-BD31-4B8C-83A1-F6EECF244321}">
                <p14:modId xmlns:p14="http://schemas.microsoft.com/office/powerpoint/2010/main" val="1639950092"/>
              </p:ext>
            </p:extLst>
          </p:nvPr>
        </p:nvGraphicFramePr>
        <p:xfrm>
          <a:off x="1657126" y="2223410"/>
          <a:ext cx="8922328" cy="3893612"/>
        </p:xfrm>
        <a:graphic>
          <a:graphicData uri="http://schemas.openxmlformats.org/drawingml/2006/table">
            <a:tbl>
              <a:tblPr firstRow="1" bandRow="1">
                <a:tableStyleId>{2D5ABB26-0587-4C30-8999-92F81FD0307C}</a:tableStyleId>
              </a:tblPr>
              <a:tblGrid>
                <a:gridCol w="4461164">
                  <a:extLst>
                    <a:ext uri="{9D8B030D-6E8A-4147-A177-3AD203B41FA5}">
                      <a16:colId xmlns:a16="http://schemas.microsoft.com/office/drawing/2014/main" val="2380150914"/>
                    </a:ext>
                  </a:extLst>
                </a:gridCol>
                <a:gridCol w="4461164">
                  <a:extLst>
                    <a:ext uri="{9D8B030D-6E8A-4147-A177-3AD203B41FA5}">
                      <a16:colId xmlns:a16="http://schemas.microsoft.com/office/drawing/2014/main" val="218270537"/>
                    </a:ext>
                  </a:extLst>
                </a:gridCol>
              </a:tblGrid>
              <a:tr h="973403">
                <a:tc>
                  <a:txBody>
                    <a:bodyPr/>
                    <a:lstStyle/>
                    <a:p>
                      <a:r>
                        <a:rPr lang="en-US" b="1"/>
                        <a:t>CSP Direct or Indirect provider</a:t>
                      </a:r>
                    </a:p>
                  </a:txBody>
                  <a:tcPr/>
                </a:tc>
                <a:tc>
                  <a:txBody>
                    <a:bodyPr/>
                    <a:lstStyle/>
                    <a:p>
                      <a:r>
                        <a:rPr lang="en-US"/>
                        <a:t>Contact you Partner Development Manager and start a conversation about a possible midmarket campaign</a:t>
                      </a:r>
                    </a:p>
                  </a:txBody>
                  <a:tcPr/>
                </a:tc>
                <a:extLst>
                  <a:ext uri="{0D108BD9-81ED-4DB2-BD59-A6C34878D82A}">
                    <a16:rowId xmlns:a16="http://schemas.microsoft.com/office/drawing/2014/main" val="2466580492"/>
                  </a:ext>
                </a:extLst>
              </a:tr>
              <a:tr h="973403">
                <a:tc>
                  <a:txBody>
                    <a:bodyPr/>
                    <a:lstStyle/>
                    <a:p>
                      <a:r>
                        <a:rPr lang="en-US" b="1"/>
                        <a:t>CSP reseller</a:t>
                      </a:r>
                    </a:p>
                  </a:txBody>
                  <a:tcPr/>
                </a:tc>
                <a:tc>
                  <a:txBody>
                    <a:bodyPr/>
                    <a:lstStyle/>
                    <a:p>
                      <a:r>
                        <a:rPr lang="en-US"/>
                        <a:t>Contact your Indirect Provider (Distributor) and join to the lead generation campaign as reseller</a:t>
                      </a:r>
                    </a:p>
                  </a:txBody>
                  <a:tcPr/>
                </a:tc>
                <a:extLst>
                  <a:ext uri="{0D108BD9-81ED-4DB2-BD59-A6C34878D82A}">
                    <a16:rowId xmlns:a16="http://schemas.microsoft.com/office/drawing/2014/main" val="1046884785"/>
                  </a:ext>
                </a:extLst>
              </a:tr>
              <a:tr h="973403">
                <a:tc>
                  <a:txBody>
                    <a:bodyPr/>
                    <a:lstStyle/>
                    <a:p>
                      <a:r>
                        <a:rPr lang="en-US" b="1"/>
                        <a:t>Cosell Ready/Fasttrack ready Partner with big Corporate and Enterprise customer base</a:t>
                      </a:r>
                    </a:p>
                  </a:txBody>
                  <a:tcPr/>
                </a:tc>
                <a:tc>
                  <a:txBody>
                    <a:bodyPr/>
                    <a:lstStyle/>
                    <a:p>
                      <a:r>
                        <a:rPr lang="en-US"/>
                        <a:t>Contact your Partner Development Manager or/and visit the Cloud Accelerator portal and nominate(from July) customers</a:t>
                      </a:r>
                    </a:p>
                  </a:txBody>
                  <a:tcPr/>
                </a:tc>
                <a:extLst>
                  <a:ext uri="{0D108BD9-81ED-4DB2-BD59-A6C34878D82A}">
                    <a16:rowId xmlns:a16="http://schemas.microsoft.com/office/drawing/2014/main" val="1404725265"/>
                  </a:ext>
                </a:extLst>
              </a:tr>
              <a:tr h="973403">
                <a:tc>
                  <a:txBody>
                    <a:bodyPr/>
                    <a:lstStyle/>
                    <a:p>
                      <a:r>
                        <a:rPr lang="en-US" b="1"/>
                        <a:t>Registered MPN Partner with no MW competency or Cosell ready status</a:t>
                      </a:r>
                    </a:p>
                  </a:txBody>
                  <a:tcPr/>
                </a:tc>
                <a:tc>
                  <a:txBody>
                    <a:bodyPr/>
                    <a:lstStyle/>
                    <a:p>
                      <a:r>
                        <a:rPr lang="en-US"/>
                        <a:t>Use the readiness materials and build competency, get the </a:t>
                      </a:r>
                      <a:r>
                        <a:rPr lang="en-US" err="1"/>
                        <a:t>cosell</a:t>
                      </a:r>
                      <a:r>
                        <a:rPr lang="en-US"/>
                        <a:t> ready status and join to the campaign </a:t>
                      </a:r>
                      <a:r>
                        <a:rPr lang="en-US">
                          <a:sym typeface="Wingdings" panose="05000000000000000000" pitchFamily="2" charset="2"/>
                        </a:rPr>
                        <a:t></a:t>
                      </a:r>
                      <a:endParaRPr lang="en-US"/>
                    </a:p>
                  </a:txBody>
                  <a:tcPr/>
                </a:tc>
                <a:extLst>
                  <a:ext uri="{0D108BD9-81ED-4DB2-BD59-A6C34878D82A}">
                    <a16:rowId xmlns:a16="http://schemas.microsoft.com/office/drawing/2014/main" val="2750865482"/>
                  </a:ext>
                </a:extLst>
              </a:tr>
            </a:tbl>
          </a:graphicData>
        </a:graphic>
      </p:graphicFrame>
    </p:spTree>
    <p:extLst>
      <p:ext uri="{BB962C8B-B14F-4D97-AF65-F5344CB8AC3E}">
        <p14:creationId xmlns:p14="http://schemas.microsoft.com/office/powerpoint/2010/main" val="90887101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2.potx" id="{71CFA071-08EA-4004-A754-9AD9BABBE25A}" vid="{670BEAA2-408A-4DDD-8F96-585C23CC66F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4.potx" id="{F8F49DAB-493D-4F75-A0D1-F71F195D3E66}" vid="{9DB34945-6D52-439B-845E-B1CB34CFA3B4}"/>
    </a:ext>
  </a:extLst>
</a:theme>
</file>

<file path=ppt/theme/theme12.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3.xml><?xml version="1.0" encoding="utf-8"?>
<a:theme xmlns:a="http://schemas.openxmlformats.org/drawingml/2006/main" name="8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2_OCP">
  <a:themeElements>
    <a:clrScheme name="OCP Palette">
      <a:dk1>
        <a:srgbClr val="353535"/>
      </a:dk1>
      <a:lt1>
        <a:srgbClr val="FFFFFF"/>
      </a:lt1>
      <a:dk2>
        <a:srgbClr val="0078D7"/>
      </a:dk2>
      <a:lt2>
        <a:srgbClr val="EAEAEA"/>
      </a:lt2>
      <a:accent1>
        <a:srgbClr val="0177D6"/>
      </a:accent1>
      <a:accent2>
        <a:srgbClr val="001F50"/>
      </a:accent2>
      <a:accent3>
        <a:srgbClr val="00BCF2"/>
      </a:accent3>
      <a:accent4>
        <a:srgbClr val="FF8C00"/>
      </a:accent4>
      <a:accent5>
        <a:srgbClr val="737373"/>
      </a:accent5>
      <a:accent6>
        <a:srgbClr val="E6E6E6"/>
      </a:accent6>
      <a:hlink>
        <a:srgbClr val="0078D7"/>
      </a:hlink>
      <a:folHlink>
        <a:srgbClr val="5C2C9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CP" id="{8BFF3460-678D-47B6-B1BD-3D918D4CE9E8}" vid="{D06B0333-78B3-4074-A6B0-5808B2A2E900}"/>
    </a:ext>
  </a:extLst>
</a:theme>
</file>

<file path=ppt/theme/theme4.xml><?xml version="1.0" encoding="utf-8"?>
<a:theme xmlns:a="http://schemas.openxmlformats.org/drawingml/2006/main" name="OCP FY18 Template">
  <a:themeElements>
    <a:clrScheme name="OCP Palette">
      <a:dk1>
        <a:srgbClr val="353535"/>
      </a:dk1>
      <a:lt1>
        <a:srgbClr val="FFFFFF"/>
      </a:lt1>
      <a:dk2>
        <a:srgbClr val="0078D7"/>
      </a:dk2>
      <a:lt2>
        <a:srgbClr val="EAEAEA"/>
      </a:lt2>
      <a:accent1>
        <a:srgbClr val="0177D6"/>
      </a:accent1>
      <a:accent2>
        <a:srgbClr val="001F50"/>
      </a:accent2>
      <a:accent3>
        <a:srgbClr val="00BCF2"/>
      </a:accent3>
      <a:accent4>
        <a:srgbClr val="FF8C00"/>
      </a:accent4>
      <a:accent5>
        <a:srgbClr val="737373"/>
      </a:accent5>
      <a:accent6>
        <a:srgbClr val="E6E6E6"/>
      </a:accent6>
      <a:hlink>
        <a:srgbClr val="0078D7"/>
      </a:hlink>
      <a:folHlink>
        <a:srgbClr val="5C2C9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CP FY18 Template" id="{65B29E02-25C7-40E6-A796-F2D1A2A5BC98}" vid="{434CC508-A546-44A6-8FE1-D67CBFC24386}"/>
    </a:ext>
  </a:extLst>
</a:theme>
</file>

<file path=ppt/theme/theme5.xml><?xml version="1.0" encoding="utf-8"?>
<a:theme xmlns:a="http://schemas.openxmlformats.org/drawingml/2006/main" name="5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8.potx" id="{724AF5A5-E2F9-4637-AA52-CF3C494E3E17}" vid="{80DD2ED2-4D50-46D7-9953-BFE52DABBA29}"/>
    </a:ext>
  </a:extLst>
</a:theme>
</file>

<file path=ppt/theme/theme6.xml><?xml version="1.0" encoding="utf-8"?>
<a:theme xmlns:a="http://schemas.openxmlformats.org/drawingml/2006/main" name="1_MYR_2013_PPT_Template_8_5x14_final">
  <a:themeElements>
    <a:clrScheme name="MYR template">
      <a:dk1>
        <a:srgbClr val="505050"/>
      </a:dk1>
      <a:lt1>
        <a:srgbClr val="FFFFFF"/>
      </a:lt1>
      <a:dk2>
        <a:srgbClr val="0072C6"/>
      </a:dk2>
      <a:lt2>
        <a:srgbClr val="DDDDDD"/>
      </a:lt2>
      <a:accent1>
        <a:srgbClr val="4668C5"/>
      </a:accent1>
      <a:accent2>
        <a:srgbClr val="FF8C00"/>
      </a:accent2>
      <a:accent3>
        <a:srgbClr val="0072C6"/>
      </a:accent3>
      <a:accent4>
        <a:srgbClr val="7FBA00"/>
      </a:accent4>
      <a:accent5>
        <a:srgbClr val="002050"/>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5715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MYR_2013_PPT_Template_8_5x14_170320">
  <a:themeElements>
    <a:clrScheme name="MYR template">
      <a:dk1>
        <a:srgbClr val="505050"/>
      </a:dk1>
      <a:lt1>
        <a:srgbClr val="FFFFFF"/>
      </a:lt1>
      <a:dk2>
        <a:srgbClr val="0072C6"/>
      </a:dk2>
      <a:lt2>
        <a:srgbClr val="DDDDDD"/>
      </a:lt2>
      <a:accent1>
        <a:srgbClr val="4668C5"/>
      </a:accent1>
      <a:accent2>
        <a:srgbClr val="FF8C00"/>
      </a:accent2>
      <a:accent3>
        <a:srgbClr val="0072C6"/>
      </a:accent3>
      <a:accent4>
        <a:srgbClr val="7FBA00"/>
      </a:accent4>
      <a:accent5>
        <a:srgbClr val="002050"/>
      </a:accent5>
      <a:accent6>
        <a:srgbClr val="008272"/>
      </a:accent6>
      <a:hlink>
        <a:srgbClr val="0072C6"/>
      </a:hlink>
      <a:folHlink>
        <a:srgbClr val="0072C6"/>
      </a:folHlink>
    </a:clrScheme>
    <a:fontScheme name="Custom 11">
      <a:majorFont>
        <a:latin typeface="Segoe UI Semibold"/>
        <a:ea typeface=""/>
        <a:cs typeface=""/>
      </a:majorFont>
      <a:minorFont>
        <a:latin typeface="Segoe UI 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bg1">
              <a:lumMod val="85000"/>
            </a:schemeClr>
          </a:solid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5715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13_MYR_2013_PPT_Template_8_5x14_final">
  <a:themeElements>
    <a:clrScheme name="MYR template">
      <a:dk1>
        <a:srgbClr val="505050"/>
      </a:dk1>
      <a:lt1>
        <a:srgbClr val="FFFFFF"/>
      </a:lt1>
      <a:dk2>
        <a:srgbClr val="0072C6"/>
      </a:dk2>
      <a:lt2>
        <a:srgbClr val="DDDDDD"/>
      </a:lt2>
      <a:accent1>
        <a:srgbClr val="4668C5"/>
      </a:accent1>
      <a:accent2>
        <a:srgbClr val="FF8C00"/>
      </a:accent2>
      <a:accent3>
        <a:srgbClr val="0072C6"/>
      </a:accent3>
      <a:accent4>
        <a:srgbClr val="7FBA00"/>
      </a:accent4>
      <a:accent5>
        <a:srgbClr val="002050"/>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5715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10_WHITE TEMPLATE">
  <a:themeElements>
    <a:clrScheme name="BT - Blue on white - 2">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22225">
          <a:solidFill>
            <a:schemeClr val="bg1">
              <a:lumMod val="8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MediaServiceKeyPoints xmlns="3d3ddbec-c63e-4f0d-8854-ebb967939da8"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B03ACC4A352C8489C330D9F82767555" ma:contentTypeVersion="16" ma:contentTypeDescription="Create a new document." ma:contentTypeScope="" ma:versionID="b19ec8f872336e56969517e8c6f52a6e">
  <xsd:schema xmlns:xsd="http://www.w3.org/2001/XMLSchema" xmlns:xs="http://www.w3.org/2001/XMLSchema" xmlns:p="http://schemas.microsoft.com/office/2006/metadata/properties" xmlns:ns1="http://schemas.microsoft.com/sharepoint/v3" xmlns:ns2="3d3ddbec-c63e-4f0d-8854-ebb967939da8" xmlns:ns3="f1bc4937-dc4b-452c-a4f9-e1b6dfebf199" targetNamespace="http://schemas.microsoft.com/office/2006/metadata/properties" ma:root="true" ma:fieldsID="70194f7dd5d48f6fd31b59bb8196abc7" ns1:_="" ns2:_="" ns3:_="">
    <xsd:import namespace="http://schemas.microsoft.com/sharepoint/v3"/>
    <xsd:import namespace="3d3ddbec-c63e-4f0d-8854-ebb967939da8"/>
    <xsd:import namespace="f1bc4937-dc4b-452c-a4f9-e1b6dfebf19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DateTaken" minOccurs="0"/>
                <xsd:element ref="ns2:MediaServiceAutoTags" minOccurs="0"/>
                <xsd:element ref="ns2:MediaServiceLocation" minOccurs="0"/>
                <xsd:element ref="ns2:MediaServiceEventHashCode" minOccurs="0"/>
                <xsd:element ref="ns2:MediaServiceGenerationTime" minOccurs="0"/>
                <xsd:element ref="ns2:MediaServiceOCR" minOccurs="0"/>
                <xsd:element ref="ns1:_ip_UnifiedCompliancePolicyProperties" minOccurs="0"/>
                <xsd:element ref="ns1:_ip_UnifiedCompliancePolicyUIAc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d3ddbec-c63e-4f0d-8854-ebb967939da8"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1bc4937-dc4b-452c-a4f9-e1b6dfebf199"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hidden="true" ma:internalName="LastSharedByUser" ma:readOnly="true">
      <xsd:simpleType>
        <xsd:restriction base="dms:Note"/>
      </xsd:simpleType>
    </xsd:element>
    <xsd:element name="LastSharedByTime" ma:index="13"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A8149D-6E02-45ED-867B-BF87936206C5}">
  <ds:schemaRefs>
    <ds:schemaRef ds:uri="3d3ddbec-c63e-4f0d-8854-ebb967939da8"/>
    <ds:schemaRef ds:uri="f1bc4937-dc4b-452c-a4f9-e1b6dfebf19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30AE6F6-E50F-4B36-89EC-B126CC189CF1}">
  <ds:schemaRefs>
    <ds:schemaRef ds:uri="http://schemas.microsoft.com/sharepoint/v3/contenttype/forms"/>
  </ds:schemaRefs>
</ds:datastoreItem>
</file>

<file path=customXml/itemProps3.xml><?xml version="1.0" encoding="utf-8"?>
<ds:datastoreItem xmlns:ds="http://schemas.openxmlformats.org/officeDocument/2006/customXml" ds:itemID="{7B420C2C-F486-4632-9E3B-0772D809C04D}">
  <ds:schemaRefs>
    <ds:schemaRef ds:uri="3d3ddbec-c63e-4f0d-8854-ebb967939da8"/>
    <ds:schemaRef ds:uri="f1bc4937-dc4b-452c-a4f9-e1b6dfebf1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24</Slides>
  <Notes>17</Notes>
  <HiddenSlides>0</HiddenSlides>
  <ScaleCrop>false</ScaleCrop>
  <HeadingPairs>
    <vt:vector size="4" baseType="variant">
      <vt:variant>
        <vt:lpstr>Theme</vt:lpstr>
      </vt:variant>
      <vt:variant>
        <vt:i4>13</vt:i4>
      </vt:variant>
      <vt:variant>
        <vt:lpstr>Slide Titles</vt:lpstr>
      </vt:variant>
      <vt:variant>
        <vt:i4>24</vt:i4>
      </vt:variant>
    </vt:vector>
  </HeadingPairs>
  <TitlesOfParts>
    <vt:vector size="37" baseType="lpstr">
      <vt:lpstr>1_White Template</vt:lpstr>
      <vt:lpstr>Black Template</vt:lpstr>
      <vt:lpstr>2_OCP</vt:lpstr>
      <vt:lpstr>OCP FY18 Template</vt:lpstr>
      <vt:lpstr>5_White Template</vt:lpstr>
      <vt:lpstr>1_MYR_2013_PPT_Template_8_5x14_final</vt:lpstr>
      <vt:lpstr>MYR_2013_PPT_Template_8_5x14_170320</vt:lpstr>
      <vt:lpstr>13_MYR_2013_PPT_Template_8_5x14_final</vt:lpstr>
      <vt:lpstr>10_WHITE TEMPLATE</vt:lpstr>
      <vt:lpstr>Office Theme</vt:lpstr>
      <vt:lpstr>2_White Template</vt:lpstr>
      <vt:lpstr>1_Azure PPT Template - 2018</vt:lpstr>
      <vt:lpstr>8_WHITE TEMPLATE</vt:lpstr>
      <vt:lpstr>CEE Partner Readiness series  June edition  Go-To-Market update </vt:lpstr>
      <vt:lpstr>Today we will talk about </vt:lpstr>
      <vt:lpstr>How do we work with partners? </vt:lpstr>
      <vt:lpstr>PowerPoint Presentation</vt:lpstr>
      <vt:lpstr>Modern Work  Szabolcs Lippé</vt:lpstr>
      <vt:lpstr>FY21 Objectives, Priorities and Sales Plays</vt:lpstr>
      <vt:lpstr>FY21 Modern Work GTM strategy</vt:lpstr>
      <vt:lpstr>Partner readiness</vt:lpstr>
      <vt:lpstr>Next steps (on top of doing the readiness)</vt:lpstr>
      <vt:lpstr>Business Applications  Peter Kuna</vt:lpstr>
      <vt:lpstr>Microsoft Fiscal Year 2021 priorities – Business Applications</vt:lpstr>
      <vt:lpstr>Learning options for you</vt:lpstr>
      <vt:lpstr>Through Partner Activities and “in-a-day” offers</vt:lpstr>
      <vt:lpstr>Power Platform Partner Program</vt:lpstr>
      <vt:lpstr>Dynamics Migration Program</vt:lpstr>
      <vt:lpstr>Azure Applications, Infrastructure, Data, AI   Tomas Pavlu</vt:lpstr>
      <vt:lpstr>PowerPoint Presentation</vt:lpstr>
      <vt:lpstr>PowerPoint Presentation</vt:lpstr>
      <vt:lpstr>PowerPoint Presentation</vt:lpstr>
      <vt:lpstr>PowerPoint Presentation</vt:lpstr>
      <vt:lpstr>PowerPoint Presentation</vt:lpstr>
      <vt:lpstr>PowerPoint Presentation</vt:lpstr>
      <vt:lpstr>Access presentation &amp; recording at aka.ms/AA8t54z  Subscribe to our newsletter: aka.ms/AA8t56p </vt:lpstr>
      <vt:lpstr>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1</cp:revision>
  <dcterms:created xsi:type="dcterms:W3CDTF">2020-06-16T11:04:05Z</dcterms:created>
  <dcterms:modified xsi:type="dcterms:W3CDTF">2020-06-26T08:0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03ACC4A352C8489C330D9F82767555</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ActionId">
    <vt:lpwstr>8f17507f-0b8e-4d53-aa52-1e11eafb6911</vt:lpwstr>
  </property>
  <property fmtid="{D5CDD505-2E9C-101B-9397-08002B2CF9AE}" pid="6" name="MSIP_Label_f42aa342-8706-4288-bd11-ebb85995028c_Method">
    <vt:lpwstr>Standard</vt:lpwstr>
  </property>
  <property fmtid="{D5CDD505-2E9C-101B-9397-08002B2CF9AE}" pid="7" name="MSIP_Label_f42aa342-8706-4288-bd11-ebb85995028c_SetDate">
    <vt:lpwstr>2020-06-16T11:04:13Z</vt:lpwstr>
  </property>
  <property fmtid="{D5CDD505-2E9C-101B-9397-08002B2CF9AE}" pid="8" name="MSIP_Label_f42aa342-8706-4288-bd11-ebb85995028c_Name">
    <vt:lpwstr>Internal</vt:lpwstr>
  </property>
  <property fmtid="{D5CDD505-2E9C-101B-9397-08002B2CF9AE}" pid="9" name="MSIP_Label_f42aa342-8706-4288-bd11-ebb85995028c_ContentBits">
    <vt:lpwstr>0</vt:lpwstr>
  </property>
</Properties>
</file>